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9" r:id="rId1"/>
    <p:sldMasterId id="2147483672" r:id="rId2"/>
    <p:sldMasterId id="2147483685" r:id="rId3"/>
  </p:sldMasterIdLst>
  <p:notesMasterIdLst>
    <p:notesMasterId r:id="rId12"/>
  </p:notesMasterIdLst>
  <p:handoutMasterIdLst>
    <p:handoutMasterId r:id="rId13"/>
  </p:handoutMasterIdLst>
  <p:sldIdLst>
    <p:sldId id="293" r:id="rId4"/>
    <p:sldId id="350" r:id="rId5"/>
    <p:sldId id="322" r:id="rId6"/>
    <p:sldId id="359" r:id="rId7"/>
    <p:sldId id="358" r:id="rId8"/>
    <p:sldId id="360" r:id="rId9"/>
    <p:sldId id="335" r:id="rId10"/>
    <p:sldId id="320" r:id="rId11"/>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DCD"/>
    <a:srgbClr val="FFEDE7"/>
    <a:srgbClr val="FFC2AF"/>
    <a:srgbClr val="292929"/>
    <a:srgbClr val="FFCC00"/>
    <a:srgbClr val="008BD2"/>
    <a:srgbClr val="E3061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956" autoAdjust="0"/>
    <p:restoredTop sz="94660"/>
  </p:normalViewPr>
  <p:slideViewPr>
    <p:cSldViewPr showGuides="1">
      <p:cViewPr>
        <p:scale>
          <a:sx n="110" d="100"/>
          <a:sy n="110" d="100"/>
        </p:scale>
        <p:origin x="432" y="-144"/>
      </p:cViewPr>
      <p:guideLst>
        <p:guide orient="horz" pos="2820"/>
        <p:guide pos="2880"/>
      </p:guideLst>
    </p:cSldViewPr>
  </p:slideViewPr>
  <p:notesTextViewPr>
    <p:cViewPr>
      <p:scale>
        <a:sx n="1" d="1"/>
        <a:sy n="1" d="1"/>
      </p:scale>
      <p:origin x="0" y="0"/>
    </p:cViewPr>
  </p:notesTextViewPr>
  <p:sorterViewPr>
    <p:cViewPr varScale="1">
      <p:scale>
        <a:sx n="1" d="1"/>
        <a:sy n="1" d="1"/>
      </p:scale>
      <p:origin x="0" y="0"/>
    </p:cViewPr>
  </p:sorterViewPr>
  <p:notesViewPr>
    <p:cSldViewPr>
      <p:cViewPr varScale="1">
        <p:scale>
          <a:sx n="86" d="100"/>
          <a:sy n="86" d="100"/>
        </p:scale>
        <p:origin x="2928"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handoutMaster" Target="handoutMasters/handoutMaster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8F61687-57D5-4E6C-822F-84E05586A8B5}" type="datetimeFigureOut">
              <a:rPr lang="en-IN" smtClean="0"/>
              <a:t>04-04-2017</a:t>
            </a:fld>
            <a:endParaRPr lang="en-IN"/>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0E9ADE-53D2-4433-9DAD-9B9B5860187A}" type="slidenum">
              <a:rPr lang="en-IN" smtClean="0"/>
              <a:t>‹#›</a:t>
            </a:fld>
            <a:endParaRPr lang="en-IN"/>
          </a:p>
        </p:txBody>
      </p:sp>
    </p:spTree>
    <p:extLst>
      <p:ext uri="{BB962C8B-B14F-4D97-AF65-F5344CB8AC3E}">
        <p14:creationId xmlns:p14="http://schemas.microsoft.com/office/powerpoint/2010/main" val="1476910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4276BD6-7A1C-40E7-B855-F08D5BF31D21}" type="datetimeFigureOut">
              <a:rPr lang="en-US" smtClean="0"/>
              <a:t>4/4/2017</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B3BFAD2-D676-432E-8C85-BCA14B260EA4}" type="slidenum">
              <a:rPr lang="en-US" smtClean="0"/>
              <a:t>‹#›</a:t>
            </a:fld>
            <a:endParaRPr lang="en-US"/>
          </a:p>
        </p:txBody>
      </p:sp>
    </p:spTree>
    <p:extLst>
      <p:ext uri="{BB962C8B-B14F-4D97-AF65-F5344CB8AC3E}">
        <p14:creationId xmlns:p14="http://schemas.microsoft.com/office/powerpoint/2010/main" val="33856719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CB3BFAD2-D676-432E-8C85-BCA14B260EA4}" type="slidenum">
              <a:rPr lang="en-US" smtClean="0"/>
              <a:t>1</a:t>
            </a:fld>
            <a:endParaRPr lang="en-US"/>
          </a:p>
        </p:txBody>
      </p:sp>
    </p:spTree>
    <p:extLst>
      <p:ext uri="{BB962C8B-B14F-4D97-AF65-F5344CB8AC3E}">
        <p14:creationId xmlns:p14="http://schemas.microsoft.com/office/powerpoint/2010/main" val="3812412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CB3BFAD2-D676-432E-8C85-BCA14B260EA4}" type="slidenum">
              <a:rPr lang="en-US" smtClean="0"/>
              <a:t>2</a:t>
            </a:fld>
            <a:endParaRPr lang="en-US"/>
          </a:p>
        </p:txBody>
      </p:sp>
    </p:spTree>
    <p:extLst>
      <p:ext uri="{BB962C8B-B14F-4D97-AF65-F5344CB8AC3E}">
        <p14:creationId xmlns:p14="http://schemas.microsoft.com/office/powerpoint/2010/main" val="1189717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CB3BFAD2-D676-432E-8C85-BCA14B260EA4}" type="slidenum">
              <a:rPr lang="en-US" smtClean="0"/>
              <a:t>3</a:t>
            </a:fld>
            <a:endParaRPr lang="en-US"/>
          </a:p>
        </p:txBody>
      </p:sp>
    </p:spTree>
    <p:extLst>
      <p:ext uri="{BB962C8B-B14F-4D97-AF65-F5344CB8AC3E}">
        <p14:creationId xmlns:p14="http://schemas.microsoft.com/office/powerpoint/2010/main" val="11897171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CB3BFAD2-D676-432E-8C85-BCA14B260EA4}" type="slidenum">
              <a:rPr lang="en-US" smtClean="0"/>
              <a:t>4</a:t>
            </a:fld>
            <a:endParaRPr lang="en-US"/>
          </a:p>
        </p:txBody>
      </p:sp>
    </p:spTree>
    <p:extLst>
      <p:ext uri="{BB962C8B-B14F-4D97-AF65-F5344CB8AC3E}">
        <p14:creationId xmlns:p14="http://schemas.microsoft.com/office/powerpoint/2010/main" val="1160989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CB3BFAD2-D676-432E-8C85-BCA14B260EA4}" type="slidenum">
              <a:rPr lang="en-US" smtClean="0"/>
              <a:t>5</a:t>
            </a:fld>
            <a:endParaRPr lang="en-US"/>
          </a:p>
        </p:txBody>
      </p:sp>
    </p:spTree>
    <p:extLst>
      <p:ext uri="{BB962C8B-B14F-4D97-AF65-F5344CB8AC3E}">
        <p14:creationId xmlns:p14="http://schemas.microsoft.com/office/powerpoint/2010/main" val="316334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CB3BFAD2-D676-432E-8C85-BCA14B260EA4}"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17694447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B3BFAD2-D676-432E-8C85-BCA14B260EA4}" type="slidenum">
              <a:rPr lang="en-US" smtClean="0"/>
              <a:t>7</a:t>
            </a:fld>
            <a:endParaRPr lang="en-US" dirty="0"/>
          </a:p>
        </p:txBody>
      </p:sp>
    </p:spTree>
    <p:extLst>
      <p:ext uri="{BB962C8B-B14F-4D97-AF65-F5344CB8AC3E}">
        <p14:creationId xmlns:p14="http://schemas.microsoft.com/office/powerpoint/2010/main" val="38874246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CB3BFAD2-D676-432E-8C85-BCA14B260EA4}" type="slidenum">
              <a:rPr lang="en-US" smtClean="0"/>
              <a:t>8</a:t>
            </a:fld>
            <a:endParaRPr lang="en-US"/>
          </a:p>
        </p:txBody>
      </p:sp>
    </p:spTree>
    <p:extLst>
      <p:ext uri="{BB962C8B-B14F-4D97-AF65-F5344CB8AC3E}">
        <p14:creationId xmlns:p14="http://schemas.microsoft.com/office/powerpoint/2010/main" val="39225078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375"/>
            <a:ext cx="6858000" cy="1790700"/>
          </a:xfrm>
          <a:prstGeom prst="rect">
            <a:avLst/>
          </a:prstGeo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143000" y="2701925"/>
            <a:ext cx="6858000" cy="124142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8" name="Slide Number Placeholder 3"/>
          <p:cNvSpPr>
            <a:spLocks noGrp="1"/>
          </p:cNvSpPr>
          <p:nvPr>
            <p:ph type="sldNum" sz="quarter" idx="4"/>
          </p:nvPr>
        </p:nvSpPr>
        <p:spPr>
          <a:xfrm>
            <a:off x="4038600" y="4863217"/>
            <a:ext cx="457200" cy="274637"/>
          </a:xfrm>
          <a:prstGeom prst="rect">
            <a:avLst/>
          </a:prstGeom>
        </p:spPr>
        <p:txBody>
          <a:bodyPr vert="horz" lIns="91440" tIns="45720" rIns="91440" bIns="45720" rtlCol="0" anchor="ctr"/>
          <a:lstStyle>
            <a:lvl1pPr algn="ctr">
              <a:defRPr sz="800" b="1">
                <a:solidFill>
                  <a:schemeClr val="bg1">
                    <a:lumMod val="75000"/>
                  </a:schemeClr>
                </a:solidFill>
              </a:defRPr>
            </a:lvl1pPr>
          </a:lstStyle>
          <a:p>
            <a:fld id="{C9C9E5A2-E050-4219-93F8-78B0C7250E7B}" type="slidenum">
              <a:rPr lang="en-US" smtClean="0"/>
              <a:pPr/>
              <a:t>‹#›</a:t>
            </a:fld>
            <a:endParaRPr lang="en-US" dirty="0"/>
          </a:p>
        </p:txBody>
      </p:sp>
      <p:cxnSp>
        <p:nvCxnSpPr>
          <p:cNvPr id="9" name="Straight Connector 8"/>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97697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5467350" cy="477365"/>
          </a:xfrm>
          <a:prstGeom prst="rect">
            <a:avLst/>
          </a:prstGeom>
        </p:spPr>
        <p:txBody>
          <a:bodyPr/>
          <a:lstStyle/>
          <a:p>
            <a:r>
              <a:rPr lang="en-US"/>
              <a:t>Click to edit Master title style</a:t>
            </a:r>
            <a:endParaRPr lang="en-IN"/>
          </a:p>
        </p:txBody>
      </p:sp>
      <p:sp>
        <p:nvSpPr>
          <p:cNvPr id="3" name="Vertical Text Placeholder 2"/>
          <p:cNvSpPr>
            <a:spLocks noGrp="1"/>
          </p:cNvSpPr>
          <p:nvPr>
            <p:ph type="body" orient="vert" idx="1"/>
          </p:nvPr>
        </p:nvSpPr>
        <p:spPr>
          <a:xfrm>
            <a:off x="457200" y="971550"/>
            <a:ext cx="8058150" cy="366077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Slide Number Placeholder 3"/>
          <p:cNvSpPr txBox="1">
            <a:spLocks/>
          </p:cNvSpPr>
          <p:nvPr userDrawn="1"/>
        </p:nvSpPr>
        <p:spPr>
          <a:xfrm>
            <a:off x="4038600" y="4863217"/>
            <a:ext cx="457200" cy="274637"/>
          </a:xfrm>
          <a:prstGeom prst="rect">
            <a:avLst/>
          </a:prstGeom>
        </p:spPr>
        <p:txBody>
          <a:bodyPr vert="horz" lIns="91440" tIns="45720" rIns="91440" bIns="45720" rtlCol="0" anchor="ctr"/>
          <a:lstStyle>
            <a:defPPr>
              <a:defRPr lang="en-US"/>
            </a:defPPr>
            <a:lvl1pPr marL="0" algn="ctr" defTabSz="914400" rtl="0" eaLnBrk="1" latinLnBrk="0" hangingPunct="1">
              <a:defRPr sz="8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C9E5A2-E050-4219-93F8-78B0C7250E7B}" type="slidenum">
              <a:rPr lang="en-US" smtClean="0"/>
              <a:pPr/>
              <a:t>‹#›</a:t>
            </a:fld>
            <a:endParaRPr lang="en-US" dirty="0"/>
          </a:p>
        </p:txBody>
      </p:sp>
      <p:cxnSp>
        <p:nvCxnSpPr>
          <p:cNvPr id="9" name="Straight Connector 8"/>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Slide Number Placeholder 10"/>
          <p:cNvSpPr>
            <a:spLocks noGrp="1"/>
          </p:cNvSpPr>
          <p:nvPr>
            <p:ph type="sldNum" sz="quarter" idx="11"/>
          </p:nvPr>
        </p:nvSpPr>
        <p:spPr/>
        <p:txBody>
          <a:bodyPr/>
          <a:lstStyle/>
          <a:p>
            <a:fld id="{372B14DA-0725-441A-AF20-5A85B13C0C19}" type="slidenum">
              <a:rPr lang="en-IN" smtClean="0"/>
              <a:t>‹#›</a:t>
            </a:fld>
            <a:endParaRPr lang="en-IN"/>
          </a:p>
        </p:txBody>
      </p:sp>
    </p:spTree>
    <p:extLst>
      <p:ext uri="{BB962C8B-B14F-4D97-AF65-F5344CB8AC3E}">
        <p14:creationId xmlns:p14="http://schemas.microsoft.com/office/powerpoint/2010/main" val="35007210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895350"/>
            <a:ext cx="1971675" cy="3736975"/>
          </a:xfrm>
          <a:prstGeom prst="rect">
            <a:avLst/>
          </a:prstGeo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628650" y="895350"/>
            <a:ext cx="5762625" cy="373697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Slide Number Placeholder 3"/>
          <p:cNvSpPr txBox="1">
            <a:spLocks/>
          </p:cNvSpPr>
          <p:nvPr userDrawn="1"/>
        </p:nvSpPr>
        <p:spPr>
          <a:xfrm>
            <a:off x="4038600" y="4863217"/>
            <a:ext cx="457200" cy="274637"/>
          </a:xfrm>
          <a:prstGeom prst="rect">
            <a:avLst/>
          </a:prstGeom>
        </p:spPr>
        <p:txBody>
          <a:bodyPr vert="horz" lIns="91440" tIns="45720" rIns="91440" bIns="45720" rtlCol="0" anchor="ctr"/>
          <a:lstStyle>
            <a:defPPr>
              <a:defRPr lang="en-US"/>
            </a:defPPr>
            <a:lvl1pPr marL="0" algn="ctr" defTabSz="914400" rtl="0" eaLnBrk="1" latinLnBrk="0" hangingPunct="1">
              <a:defRPr sz="8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C9E5A2-E050-4219-93F8-78B0C7250E7B}" type="slidenum">
              <a:rPr lang="en-US" smtClean="0"/>
              <a:pPr/>
              <a:t>‹#›</a:t>
            </a:fld>
            <a:endParaRPr lang="en-US" dirty="0"/>
          </a:p>
        </p:txBody>
      </p:sp>
      <p:cxnSp>
        <p:nvCxnSpPr>
          <p:cNvPr id="9" name="Straight Connector 8"/>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Slide Number Placeholder 10"/>
          <p:cNvSpPr>
            <a:spLocks noGrp="1"/>
          </p:cNvSpPr>
          <p:nvPr>
            <p:ph type="sldNum" sz="quarter" idx="11"/>
          </p:nvPr>
        </p:nvSpPr>
        <p:spPr/>
        <p:txBody>
          <a:bodyPr/>
          <a:lstStyle/>
          <a:p>
            <a:fld id="{372B14DA-0725-441A-AF20-5A85B13C0C19}" type="slidenum">
              <a:rPr lang="en-IN" smtClean="0"/>
              <a:t>‹#›</a:t>
            </a:fld>
            <a:endParaRPr lang="en-IN"/>
          </a:p>
        </p:txBody>
      </p:sp>
    </p:spTree>
    <p:extLst>
      <p:ext uri="{BB962C8B-B14F-4D97-AF65-F5344CB8AC3E}">
        <p14:creationId xmlns:p14="http://schemas.microsoft.com/office/powerpoint/2010/main" val="23884369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375"/>
            <a:ext cx="6858000" cy="1790700"/>
          </a:xfrm>
          <a:prstGeom prst="rect">
            <a:avLst/>
          </a:prstGeo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143000" y="2701925"/>
            <a:ext cx="6858000" cy="124142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8" name="Slide Number Placeholder 3"/>
          <p:cNvSpPr>
            <a:spLocks noGrp="1"/>
          </p:cNvSpPr>
          <p:nvPr>
            <p:ph type="sldNum" sz="quarter" idx="4"/>
          </p:nvPr>
        </p:nvSpPr>
        <p:spPr>
          <a:xfrm>
            <a:off x="4038600" y="4863217"/>
            <a:ext cx="457200" cy="274637"/>
          </a:xfrm>
          <a:prstGeom prst="rect">
            <a:avLst/>
          </a:prstGeom>
        </p:spPr>
        <p:txBody>
          <a:bodyPr vert="horz" lIns="91440" tIns="45720" rIns="91440" bIns="45720" rtlCol="0" anchor="ctr"/>
          <a:lstStyle>
            <a:lvl1pPr algn="ctr">
              <a:defRPr sz="800" b="1">
                <a:solidFill>
                  <a:schemeClr val="bg1">
                    <a:lumMod val="75000"/>
                  </a:schemeClr>
                </a:solidFill>
              </a:defRPr>
            </a:lvl1pPr>
          </a:lstStyle>
          <a:p>
            <a:fld id="{C9C9E5A2-E050-4219-93F8-78B0C7250E7B}" type="slidenum">
              <a:rPr lang="en-US" smtClean="0">
                <a:solidFill>
                  <a:prstClr val="white">
                    <a:lumMod val="75000"/>
                  </a:prstClr>
                </a:solidFill>
              </a:rPr>
              <a:pPr/>
              <a:t>‹#›</a:t>
            </a:fld>
            <a:endParaRPr lang="en-US" dirty="0">
              <a:solidFill>
                <a:prstClr val="white">
                  <a:lumMod val="75000"/>
                </a:prstClr>
              </a:solidFill>
            </a:endParaRPr>
          </a:p>
        </p:txBody>
      </p:sp>
      <p:cxnSp>
        <p:nvCxnSpPr>
          <p:cNvPr id="9" name="Straight Connector 8"/>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02547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5467350" cy="477365"/>
          </a:xfrm>
          <a:prstGeom prst="rect">
            <a:avLst/>
          </a:prstGeom>
        </p:spPr>
        <p:txBody>
          <a:bodyPr/>
          <a:lstStyle/>
          <a:p>
            <a:r>
              <a:rPr lang="en-US"/>
              <a:t>Click to edit Master title style</a:t>
            </a:r>
            <a:endParaRPr lang="en-IN"/>
          </a:p>
        </p:txBody>
      </p:sp>
      <p:sp>
        <p:nvSpPr>
          <p:cNvPr id="3" name="Content Placeholder 2"/>
          <p:cNvSpPr>
            <a:spLocks noGrp="1"/>
          </p:cNvSpPr>
          <p:nvPr>
            <p:ph idx="1"/>
          </p:nvPr>
        </p:nvSpPr>
        <p:spPr>
          <a:xfrm>
            <a:off x="628650" y="971550"/>
            <a:ext cx="7886700" cy="36607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Slide Number Placeholder 3"/>
          <p:cNvSpPr txBox="1">
            <a:spLocks/>
          </p:cNvSpPr>
          <p:nvPr userDrawn="1"/>
        </p:nvSpPr>
        <p:spPr>
          <a:xfrm>
            <a:off x="4038600" y="4863217"/>
            <a:ext cx="457200" cy="274637"/>
          </a:xfrm>
          <a:prstGeom prst="rect">
            <a:avLst/>
          </a:prstGeom>
        </p:spPr>
        <p:txBody>
          <a:bodyPr vert="horz" lIns="91440" tIns="45720" rIns="91440" bIns="45720" rtlCol="0" anchor="ctr"/>
          <a:lstStyle>
            <a:defPPr>
              <a:defRPr lang="en-US"/>
            </a:defPPr>
            <a:lvl1pPr marL="0" algn="ctr" defTabSz="914400" rtl="0" eaLnBrk="1" latinLnBrk="0" hangingPunct="1">
              <a:defRPr sz="8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C9E5A2-E050-4219-93F8-78B0C7250E7B}" type="slidenum">
              <a:rPr lang="en-US" smtClean="0">
                <a:solidFill>
                  <a:prstClr val="white">
                    <a:lumMod val="75000"/>
                  </a:prstClr>
                </a:solidFill>
              </a:rPr>
              <a:pPr/>
              <a:t>‹#›</a:t>
            </a:fld>
            <a:endParaRPr lang="en-US" dirty="0">
              <a:solidFill>
                <a:prstClr val="white">
                  <a:lumMod val="75000"/>
                </a:prstClr>
              </a:solidFill>
            </a:endParaRPr>
          </a:p>
        </p:txBody>
      </p:sp>
      <p:cxnSp>
        <p:nvCxnSpPr>
          <p:cNvPr id="9" name="Straight Connector 8"/>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06223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39950"/>
          </a:xfrm>
          <a:prstGeom prst="rect">
            <a:avLst/>
          </a:prstGeo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623888" y="3441700"/>
            <a:ext cx="7886700" cy="1125538"/>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Slide Number Placeholder 3"/>
          <p:cNvSpPr txBox="1">
            <a:spLocks/>
          </p:cNvSpPr>
          <p:nvPr userDrawn="1"/>
        </p:nvSpPr>
        <p:spPr>
          <a:xfrm>
            <a:off x="4038600" y="4863217"/>
            <a:ext cx="457200" cy="274637"/>
          </a:xfrm>
          <a:prstGeom prst="rect">
            <a:avLst/>
          </a:prstGeom>
        </p:spPr>
        <p:txBody>
          <a:bodyPr vert="horz" lIns="91440" tIns="45720" rIns="91440" bIns="45720" rtlCol="0" anchor="ctr"/>
          <a:lstStyle>
            <a:defPPr>
              <a:defRPr lang="en-US"/>
            </a:defPPr>
            <a:lvl1pPr marL="0" algn="ctr" defTabSz="914400" rtl="0" eaLnBrk="1" latinLnBrk="0" hangingPunct="1">
              <a:defRPr sz="8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C9E5A2-E050-4219-93F8-78B0C7250E7B}" type="slidenum">
              <a:rPr lang="en-US" smtClean="0">
                <a:solidFill>
                  <a:prstClr val="white">
                    <a:lumMod val="75000"/>
                  </a:prstClr>
                </a:solidFill>
              </a:rPr>
              <a:pPr/>
              <a:t>‹#›</a:t>
            </a:fld>
            <a:endParaRPr lang="en-US" dirty="0">
              <a:solidFill>
                <a:prstClr val="white">
                  <a:lumMod val="75000"/>
                </a:prstClr>
              </a:solidFill>
            </a:endParaRPr>
          </a:p>
        </p:txBody>
      </p:sp>
      <p:cxnSp>
        <p:nvCxnSpPr>
          <p:cNvPr id="9" name="Straight Connector 8"/>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76476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5467350" cy="477365"/>
          </a:xfrm>
          <a:prstGeom prst="rect">
            <a:avLst/>
          </a:prstGeom>
        </p:spPr>
        <p:txBody>
          <a:bodyPr/>
          <a:lstStyle/>
          <a:p>
            <a:r>
              <a:rPr lang="en-US"/>
              <a:t>Click to edit Master title style</a:t>
            </a:r>
            <a:endParaRPr lang="en-IN"/>
          </a:p>
        </p:txBody>
      </p:sp>
      <p:sp>
        <p:nvSpPr>
          <p:cNvPr id="3" name="Content Placeholder 2"/>
          <p:cNvSpPr>
            <a:spLocks noGrp="1"/>
          </p:cNvSpPr>
          <p:nvPr>
            <p:ph sz="half" idx="1"/>
          </p:nvPr>
        </p:nvSpPr>
        <p:spPr>
          <a:xfrm>
            <a:off x="628650" y="1370013"/>
            <a:ext cx="3867150" cy="32623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370013"/>
            <a:ext cx="3867150" cy="32623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Slide Number Placeholder 6"/>
          <p:cNvSpPr>
            <a:spLocks noGrp="1"/>
          </p:cNvSpPr>
          <p:nvPr>
            <p:ph type="sldNum" sz="quarter" idx="12"/>
          </p:nvPr>
        </p:nvSpPr>
        <p:spPr>
          <a:xfrm>
            <a:off x="6421736" y="4230187"/>
            <a:ext cx="2057400" cy="274637"/>
          </a:xfrm>
          <a:prstGeom prst="rect">
            <a:avLst/>
          </a:prstGeom>
        </p:spPr>
        <p:txBody>
          <a:bodyPr/>
          <a:lstStyle/>
          <a:p>
            <a:fld id="{FDAD43D5-129F-4869-9B4F-0097813E4B0C}" type="slidenum">
              <a:rPr lang="en-IN" smtClean="0">
                <a:solidFill>
                  <a:prstClr val="black">
                    <a:tint val="75000"/>
                  </a:prstClr>
                </a:solidFill>
              </a:rPr>
              <a:pPr/>
              <a:t>‹#›</a:t>
            </a:fld>
            <a:endParaRPr lang="en-IN">
              <a:solidFill>
                <a:prstClr val="black">
                  <a:tint val="75000"/>
                </a:prstClr>
              </a:solidFill>
            </a:endParaRPr>
          </a:p>
        </p:txBody>
      </p:sp>
      <p:sp>
        <p:nvSpPr>
          <p:cNvPr id="9" name="Slide Number Placeholder 3"/>
          <p:cNvSpPr txBox="1">
            <a:spLocks/>
          </p:cNvSpPr>
          <p:nvPr userDrawn="1"/>
        </p:nvSpPr>
        <p:spPr>
          <a:xfrm>
            <a:off x="4038600" y="4863217"/>
            <a:ext cx="457200" cy="274637"/>
          </a:xfrm>
          <a:prstGeom prst="rect">
            <a:avLst/>
          </a:prstGeom>
        </p:spPr>
        <p:txBody>
          <a:bodyPr vert="horz" lIns="91440" tIns="45720" rIns="91440" bIns="45720" rtlCol="0" anchor="ctr"/>
          <a:lstStyle>
            <a:defPPr>
              <a:defRPr lang="en-US"/>
            </a:defPPr>
            <a:lvl1pPr marL="0" algn="ctr" defTabSz="914400" rtl="0" eaLnBrk="1" latinLnBrk="0" hangingPunct="1">
              <a:defRPr sz="8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C9E5A2-E050-4219-93F8-78B0C7250E7B}" type="slidenum">
              <a:rPr lang="en-US" smtClean="0">
                <a:solidFill>
                  <a:prstClr val="white">
                    <a:lumMod val="75000"/>
                  </a:prstClr>
                </a:solidFill>
              </a:rPr>
              <a:pPr/>
              <a:t>‹#›</a:t>
            </a:fld>
            <a:endParaRPr lang="en-US" dirty="0">
              <a:solidFill>
                <a:prstClr val="white">
                  <a:lumMod val="75000"/>
                </a:prstClr>
              </a:solidFill>
            </a:endParaRPr>
          </a:p>
        </p:txBody>
      </p:sp>
      <p:cxnSp>
        <p:nvCxnSpPr>
          <p:cNvPr id="10" name="Straight Connector 9"/>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7546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32827" y="274639"/>
            <a:ext cx="8084111" cy="468312"/>
          </a:xfrm>
          <a:prstGeom prst="rect">
            <a:avLst/>
          </a:prstGeom>
        </p:spPr>
        <p:txBody>
          <a:bodyPr/>
          <a:lstStyle/>
          <a:p>
            <a:r>
              <a:rPr lang="en-US" dirty="0"/>
              <a:t>Click to edit Master title style</a:t>
            </a:r>
            <a:endParaRPr lang="en-IN" dirty="0"/>
          </a:p>
        </p:txBody>
      </p:sp>
      <p:sp>
        <p:nvSpPr>
          <p:cNvPr id="3" name="Text Placeholder 2"/>
          <p:cNvSpPr>
            <a:spLocks noGrp="1"/>
          </p:cNvSpPr>
          <p:nvPr>
            <p:ph type="body" idx="1"/>
          </p:nvPr>
        </p:nvSpPr>
        <p:spPr>
          <a:xfrm>
            <a:off x="533400" y="1260475"/>
            <a:ext cx="3965575" cy="619125"/>
          </a:xfrm>
          <a:prstGeom prst="rect">
            <a:avLst/>
          </a:prstGeo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3400" y="1879600"/>
            <a:ext cx="3965575" cy="276225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5" name="Text Placeholder 4"/>
          <p:cNvSpPr>
            <a:spLocks noGrp="1"/>
          </p:cNvSpPr>
          <p:nvPr>
            <p:ph type="body" sz="quarter" idx="3"/>
          </p:nvPr>
        </p:nvSpPr>
        <p:spPr>
          <a:xfrm>
            <a:off x="4629150" y="1260475"/>
            <a:ext cx="3887788" cy="619125"/>
          </a:xfrm>
          <a:prstGeom prst="rect">
            <a:avLst/>
          </a:prstGeo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29150" y="1879600"/>
            <a:ext cx="3887788" cy="27622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1" name="Slide Number Placeholder 3"/>
          <p:cNvSpPr txBox="1">
            <a:spLocks/>
          </p:cNvSpPr>
          <p:nvPr userDrawn="1"/>
        </p:nvSpPr>
        <p:spPr>
          <a:xfrm>
            <a:off x="4038600" y="4863217"/>
            <a:ext cx="457200" cy="274637"/>
          </a:xfrm>
          <a:prstGeom prst="rect">
            <a:avLst/>
          </a:prstGeom>
        </p:spPr>
        <p:txBody>
          <a:bodyPr vert="horz" lIns="91440" tIns="45720" rIns="91440" bIns="45720" rtlCol="0" anchor="ctr"/>
          <a:lstStyle>
            <a:defPPr>
              <a:defRPr lang="en-US"/>
            </a:defPPr>
            <a:lvl1pPr marL="0" algn="ctr" defTabSz="914400" rtl="0" eaLnBrk="1" latinLnBrk="0" hangingPunct="1">
              <a:defRPr sz="8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C9E5A2-E050-4219-93F8-78B0C7250E7B}" type="slidenum">
              <a:rPr lang="en-US" smtClean="0">
                <a:solidFill>
                  <a:prstClr val="white">
                    <a:lumMod val="75000"/>
                  </a:prstClr>
                </a:solidFill>
              </a:rPr>
              <a:pPr/>
              <a:t>‹#›</a:t>
            </a:fld>
            <a:endParaRPr lang="en-US" dirty="0">
              <a:solidFill>
                <a:prstClr val="white">
                  <a:lumMod val="75000"/>
                </a:prstClr>
              </a:solidFill>
            </a:endParaRPr>
          </a:p>
        </p:txBody>
      </p:sp>
      <p:cxnSp>
        <p:nvCxnSpPr>
          <p:cNvPr id="12" name="Straight Connector 11"/>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07937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Title 11"/>
          <p:cNvSpPr>
            <a:spLocks noGrp="1"/>
          </p:cNvSpPr>
          <p:nvPr>
            <p:ph type="title"/>
          </p:nvPr>
        </p:nvSpPr>
        <p:spPr>
          <a:xfrm>
            <a:off x="628650" y="274638"/>
            <a:ext cx="7886700" cy="993775"/>
          </a:xfrm>
          <a:prstGeom prst="rect">
            <a:avLst/>
          </a:prstGeom>
        </p:spPr>
        <p:txBody>
          <a:bodyPr/>
          <a:lstStyle/>
          <a:p>
            <a:r>
              <a:rPr lang="en-US"/>
              <a:t>Click to edit Master title style</a:t>
            </a:r>
            <a:endParaRPr lang="en-IN"/>
          </a:p>
        </p:txBody>
      </p:sp>
      <p:cxnSp>
        <p:nvCxnSpPr>
          <p:cNvPr id="3" name="Straight Connector 2"/>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01258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cxnSp>
        <p:nvCxnSpPr>
          <p:cNvPr id="7" name="Straight Connector 6"/>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11"/>
          </p:nvPr>
        </p:nvSpPr>
        <p:spPr/>
        <p:txBody>
          <a:bodyPr/>
          <a:lstStyle/>
          <a:p>
            <a:fld id="{372B14DA-0725-441A-AF20-5A85B13C0C19}" type="slidenum">
              <a:rPr lang="en-IN" smtClean="0">
                <a:solidFill>
                  <a:prstClr val="black">
                    <a:tint val="75000"/>
                  </a:prstClr>
                </a:solidFill>
              </a:rPr>
              <a:pPr/>
              <a:t>‹#›</a:t>
            </a:fld>
            <a:endParaRPr lang="en-IN">
              <a:solidFill>
                <a:prstClr val="black">
                  <a:tint val="75000"/>
                </a:prstClr>
              </a:solidFill>
            </a:endParaRPr>
          </a:p>
        </p:txBody>
      </p:sp>
      <p:sp>
        <p:nvSpPr>
          <p:cNvPr id="11" name="Freeform 33"/>
          <p:cNvSpPr>
            <a:spLocks noEditPoints="1"/>
          </p:cNvSpPr>
          <p:nvPr userDrawn="1"/>
        </p:nvSpPr>
        <p:spPr bwMode="auto">
          <a:xfrm>
            <a:off x="879553" y="837809"/>
            <a:ext cx="5292648" cy="3425831"/>
          </a:xfrm>
          <a:custGeom>
            <a:avLst/>
            <a:gdLst>
              <a:gd name="T0" fmla="*/ 2948 w 7941"/>
              <a:gd name="T1" fmla="*/ 3873 h 5142"/>
              <a:gd name="T2" fmla="*/ 2020 w 7941"/>
              <a:gd name="T3" fmla="*/ 3426 h 5142"/>
              <a:gd name="T4" fmla="*/ 2196 w 7941"/>
              <a:gd name="T5" fmla="*/ 2645 h 5142"/>
              <a:gd name="T6" fmla="*/ 2542 w 7941"/>
              <a:gd name="T7" fmla="*/ 2318 h 5142"/>
              <a:gd name="T8" fmla="*/ 1863 w 7941"/>
              <a:gd name="T9" fmla="*/ 2083 h 5142"/>
              <a:gd name="T10" fmla="*/ 2142 w 7941"/>
              <a:gd name="T11" fmla="*/ 1651 h 5142"/>
              <a:gd name="T12" fmla="*/ 2171 w 7941"/>
              <a:gd name="T13" fmla="*/ 1385 h 5142"/>
              <a:gd name="T14" fmla="*/ 1885 w 7941"/>
              <a:gd name="T15" fmla="*/ 1531 h 5142"/>
              <a:gd name="T16" fmla="*/ 1620 w 7941"/>
              <a:gd name="T17" fmla="*/ 1556 h 5142"/>
              <a:gd name="T18" fmla="*/ 803 w 7941"/>
              <a:gd name="T19" fmla="*/ 1505 h 5142"/>
              <a:gd name="T20" fmla="*/ 158 w 7941"/>
              <a:gd name="T21" fmla="*/ 1840 h 5142"/>
              <a:gd name="T22" fmla="*/ 444 w 7941"/>
              <a:gd name="T23" fmla="*/ 1924 h 5142"/>
              <a:gd name="T24" fmla="*/ 1239 w 7941"/>
              <a:gd name="T25" fmla="*/ 2974 h 5142"/>
              <a:gd name="T26" fmla="*/ 2046 w 7941"/>
              <a:gd name="T27" fmla="*/ 3886 h 5142"/>
              <a:gd name="T28" fmla="*/ 7753 w 7941"/>
              <a:gd name="T29" fmla="*/ 1345 h 5142"/>
              <a:gd name="T30" fmla="*/ 5969 w 7941"/>
              <a:gd name="T31" fmla="*/ 723 h 5142"/>
              <a:gd name="T32" fmla="*/ 4937 w 7941"/>
              <a:gd name="T33" fmla="*/ 535 h 5142"/>
              <a:gd name="T34" fmla="*/ 4783 w 7941"/>
              <a:gd name="T35" fmla="*/ 514 h 5142"/>
              <a:gd name="T36" fmla="*/ 4275 w 7941"/>
              <a:gd name="T37" fmla="*/ 863 h 5142"/>
              <a:gd name="T38" fmla="*/ 2008 w 7941"/>
              <a:gd name="T39" fmla="*/ 1868 h 5142"/>
              <a:gd name="T40" fmla="*/ 1666 w 7941"/>
              <a:gd name="T41" fmla="*/ 491 h 5142"/>
              <a:gd name="T42" fmla="*/ 1665 w 7941"/>
              <a:gd name="T43" fmla="*/ 1125 h 5142"/>
              <a:gd name="T44" fmla="*/ 1891 w 7941"/>
              <a:gd name="T45" fmla="*/ 957 h 5142"/>
              <a:gd name="T46" fmla="*/ 2325 w 7941"/>
              <a:gd name="T47" fmla="*/ 367 h 5142"/>
              <a:gd name="T48" fmla="*/ 1926 w 7941"/>
              <a:gd name="T49" fmla="*/ 273 h 5142"/>
              <a:gd name="T50" fmla="*/ 2008 w 7941"/>
              <a:gd name="T51" fmla="*/ 402 h 5142"/>
              <a:gd name="T52" fmla="*/ 1844 w 7941"/>
              <a:gd name="T53" fmla="*/ 819 h 5142"/>
              <a:gd name="T54" fmla="*/ 1449 w 7941"/>
              <a:gd name="T55" fmla="*/ 758 h 5142"/>
              <a:gd name="T56" fmla="*/ 1158 w 7941"/>
              <a:gd name="T57" fmla="*/ 997 h 5142"/>
              <a:gd name="T58" fmla="*/ 1521 w 7941"/>
              <a:gd name="T59" fmla="*/ 1287 h 5142"/>
              <a:gd name="T60" fmla="*/ 1482 w 7941"/>
              <a:gd name="T61" fmla="*/ 1476 h 5142"/>
              <a:gd name="T62" fmla="*/ 1492 w 7941"/>
              <a:gd name="T63" fmla="*/ 1524 h 5142"/>
              <a:gd name="T64" fmla="*/ 5555 w 7941"/>
              <a:gd name="T65" fmla="*/ 3445 h 5142"/>
              <a:gd name="T66" fmla="*/ 6836 w 7941"/>
              <a:gd name="T67" fmla="*/ 2664 h 5142"/>
              <a:gd name="T68" fmla="*/ 6358 w 7941"/>
              <a:gd name="T69" fmla="*/ 3535 h 5142"/>
              <a:gd name="T70" fmla="*/ 6836 w 7941"/>
              <a:gd name="T71" fmla="*/ 3685 h 5142"/>
              <a:gd name="T72" fmla="*/ 3265 w 7941"/>
              <a:gd name="T73" fmla="*/ 1210 h 5142"/>
              <a:gd name="T74" fmla="*/ 3482 w 7941"/>
              <a:gd name="T75" fmla="*/ 365 h 5142"/>
              <a:gd name="T76" fmla="*/ 3073 w 7941"/>
              <a:gd name="T77" fmla="*/ 104 h 5142"/>
              <a:gd name="T78" fmla="*/ 2759 w 7941"/>
              <a:gd name="T79" fmla="*/ 242 h 5142"/>
              <a:gd name="T80" fmla="*/ 2287 w 7941"/>
              <a:gd name="T81" fmla="*/ 571 h 5142"/>
              <a:gd name="T82" fmla="*/ 2578 w 7941"/>
              <a:gd name="T83" fmla="*/ 1335 h 5142"/>
              <a:gd name="T84" fmla="*/ 5119 w 7941"/>
              <a:gd name="T85" fmla="*/ 978 h 5142"/>
              <a:gd name="T86" fmla="*/ 3549 w 7941"/>
              <a:gd name="T87" fmla="*/ 2206 h 5142"/>
              <a:gd name="T88" fmla="*/ 7611 w 7941"/>
              <a:gd name="T89" fmla="*/ 4481 h 5142"/>
              <a:gd name="T90" fmla="*/ 6294 w 7941"/>
              <a:gd name="T91" fmla="*/ 4346 h 5142"/>
              <a:gd name="T92" fmla="*/ 7004 w 7941"/>
              <a:gd name="T93" fmla="*/ 4536 h 5142"/>
              <a:gd name="T94" fmla="*/ 4058 w 7941"/>
              <a:gd name="T95" fmla="*/ 3907 h 5142"/>
              <a:gd name="T96" fmla="*/ 4245 w 7941"/>
              <a:gd name="T97" fmla="*/ 2862 h 5142"/>
              <a:gd name="T98" fmla="*/ 4000 w 7941"/>
              <a:gd name="T99" fmla="*/ 2600 h 5142"/>
              <a:gd name="T100" fmla="*/ 3986 w 7941"/>
              <a:gd name="T101" fmla="*/ 2018 h 5142"/>
              <a:gd name="T102" fmla="*/ 4490 w 7941"/>
              <a:gd name="T103" fmla="*/ 1664 h 5142"/>
              <a:gd name="T104" fmla="*/ 5068 w 7941"/>
              <a:gd name="T105" fmla="*/ 1523 h 5142"/>
              <a:gd name="T106" fmla="*/ 5396 w 7941"/>
              <a:gd name="T107" fmla="*/ 1525 h 5142"/>
              <a:gd name="T108" fmla="*/ 5859 w 7941"/>
              <a:gd name="T109" fmla="*/ 947 h 5142"/>
              <a:gd name="T110" fmla="*/ 6467 w 7941"/>
              <a:gd name="T111" fmla="*/ 1241 h 5142"/>
              <a:gd name="T112" fmla="*/ 7449 w 7941"/>
              <a:gd name="T113" fmla="*/ 1461 h 5142"/>
              <a:gd name="T114" fmla="*/ 7348 w 7941"/>
              <a:gd name="T115" fmla="*/ 2069 h 5142"/>
              <a:gd name="T116" fmla="*/ 6864 w 7941"/>
              <a:gd name="T117" fmla="*/ 2253 h 5142"/>
              <a:gd name="T118" fmla="*/ 6197 w 7941"/>
              <a:gd name="T119" fmla="*/ 3206 h 5142"/>
              <a:gd name="T120" fmla="*/ 6665 w 7941"/>
              <a:gd name="T121" fmla="*/ 3788 h 5142"/>
              <a:gd name="T122" fmla="*/ 5469 w 7941"/>
              <a:gd name="T123" fmla="*/ 3460 h 5142"/>
              <a:gd name="T124" fmla="*/ 4526 w 7941"/>
              <a:gd name="T125" fmla="*/ 2954 h 5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41" h="5142">
                <a:moveTo>
                  <a:pt x="2367" y="5089"/>
                </a:moveTo>
                <a:lnTo>
                  <a:pt x="2366" y="5085"/>
                </a:lnTo>
                <a:lnTo>
                  <a:pt x="2364" y="5083"/>
                </a:lnTo>
                <a:lnTo>
                  <a:pt x="2362" y="5082"/>
                </a:lnTo>
                <a:lnTo>
                  <a:pt x="2359" y="5081"/>
                </a:lnTo>
                <a:lnTo>
                  <a:pt x="2351" y="5079"/>
                </a:lnTo>
                <a:lnTo>
                  <a:pt x="2338" y="5078"/>
                </a:lnTo>
                <a:lnTo>
                  <a:pt x="2324" y="5076"/>
                </a:lnTo>
                <a:lnTo>
                  <a:pt x="2313" y="5074"/>
                </a:lnTo>
                <a:lnTo>
                  <a:pt x="2309" y="5072"/>
                </a:lnTo>
                <a:lnTo>
                  <a:pt x="2303" y="5070"/>
                </a:lnTo>
                <a:lnTo>
                  <a:pt x="2300" y="5068"/>
                </a:lnTo>
                <a:lnTo>
                  <a:pt x="2297" y="5065"/>
                </a:lnTo>
                <a:lnTo>
                  <a:pt x="2289" y="5057"/>
                </a:lnTo>
                <a:lnTo>
                  <a:pt x="2278" y="5047"/>
                </a:lnTo>
                <a:lnTo>
                  <a:pt x="2273" y="5041"/>
                </a:lnTo>
                <a:lnTo>
                  <a:pt x="2269" y="5035"/>
                </a:lnTo>
                <a:lnTo>
                  <a:pt x="2266" y="5031"/>
                </a:lnTo>
                <a:lnTo>
                  <a:pt x="2265" y="5027"/>
                </a:lnTo>
                <a:lnTo>
                  <a:pt x="2267" y="5019"/>
                </a:lnTo>
                <a:lnTo>
                  <a:pt x="2269" y="5014"/>
                </a:lnTo>
                <a:lnTo>
                  <a:pt x="2270" y="5012"/>
                </a:lnTo>
                <a:lnTo>
                  <a:pt x="2271" y="5009"/>
                </a:lnTo>
                <a:lnTo>
                  <a:pt x="2271" y="5007"/>
                </a:lnTo>
                <a:lnTo>
                  <a:pt x="2270" y="5005"/>
                </a:lnTo>
                <a:lnTo>
                  <a:pt x="2267" y="5000"/>
                </a:lnTo>
                <a:lnTo>
                  <a:pt x="2266" y="4993"/>
                </a:lnTo>
                <a:lnTo>
                  <a:pt x="2266" y="4987"/>
                </a:lnTo>
                <a:lnTo>
                  <a:pt x="2266" y="4980"/>
                </a:lnTo>
                <a:lnTo>
                  <a:pt x="2265" y="4975"/>
                </a:lnTo>
                <a:lnTo>
                  <a:pt x="2261" y="4970"/>
                </a:lnTo>
                <a:lnTo>
                  <a:pt x="2257" y="4965"/>
                </a:lnTo>
                <a:lnTo>
                  <a:pt x="2252" y="4960"/>
                </a:lnTo>
                <a:lnTo>
                  <a:pt x="2248" y="4954"/>
                </a:lnTo>
                <a:lnTo>
                  <a:pt x="2245" y="4949"/>
                </a:lnTo>
                <a:lnTo>
                  <a:pt x="2244" y="4947"/>
                </a:lnTo>
                <a:lnTo>
                  <a:pt x="2243" y="4945"/>
                </a:lnTo>
                <a:lnTo>
                  <a:pt x="2243" y="4943"/>
                </a:lnTo>
                <a:lnTo>
                  <a:pt x="2244" y="4942"/>
                </a:lnTo>
                <a:lnTo>
                  <a:pt x="2252" y="4935"/>
                </a:lnTo>
                <a:lnTo>
                  <a:pt x="2265" y="4925"/>
                </a:lnTo>
                <a:lnTo>
                  <a:pt x="2272" y="4920"/>
                </a:lnTo>
                <a:lnTo>
                  <a:pt x="2277" y="4915"/>
                </a:lnTo>
                <a:lnTo>
                  <a:pt x="2279" y="4912"/>
                </a:lnTo>
                <a:lnTo>
                  <a:pt x="2281" y="4909"/>
                </a:lnTo>
                <a:lnTo>
                  <a:pt x="2282" y="4906"/>
                </a:lnTo>
                <a:lnTo>
                  <a:pt x="2282" y="4903"/>
                </a:lnTo>
                <a:lnTo>
                  <a:pt x="2281" y="4894"/>
                </a:lnTo>
                <a:lnTo>
                  <a:pt x="2280" y="4885"/>
                </a:lnTo>
                <a:lnTo>
                  <a:pt x="2280" y="4881"/>
                </a:lnTo>
                <a:lnTo>
                  <a:pt x="2281" y="4878"/>
                </a:lnTo>
                <a:lnTo>
                  <a:pt x="2283" y="4875"/>
                </a:lnTo>
                <a:lnTo>
                  <a:pt x="2288" y="4872"/>
                </a:lnTo>
                <a:lnTo>
                  <a:pt x="2298" y="4865"/>
                </a:lnTo>
                <a:lnTo>
                  <a:pt x="2308" y="4858"/>
                </a:lnTo>
                <a:lnTo>
                  <a:pt x="2314" y="4851"/>
                </a:lnTo>
                <a:lnTo>
                  <a:pt x="2317" y="4846"/>
                </a:lnTo>
                <a:lnTo>
                  <a:pt x="2317" y="4839"/>
                </a:lnTo>
                <a:lnTo>
                  <a:pt x="2316" y="4829"/>
                </a:lnTo>
                <a:lnTo>
                  <a:pt x="2313" y="4819"/>
                </a:lnTo>
                <a:lnTo>
                  <a:pt x="2310" y="4811"/>
                </a:lnTo>
                <a:lnTo>
                  <a:pt x="2302" y="4805"/>
                </a:lnTo>
                <a:lnTo>
                  <a:pt x="2293" y="4797"/>
                </a:lnTo>
                <a:lnTo>
                  <a:pt x="2288" y="4793"/>
                </a:lnTo>
                <a:lnTo>
                  <a:pt x="2284" y="4789"/>
                </a:lnTo>
                <a:lnTo>
                  <a:pt x="2282" y="4784"/>
                </a:lnTo>
                <a:lnTo>
                  <a:pt x="2281" y="4780"/>
                </a:lnTo>
                <a:lnTo>
                  <a:pt x="2282" y="4771"/>
                </a:lnTo>
                <a:lnTo>
                  <a:pt x="2284" y="4764"/>
                </a:lnTo>
                <a:lnTo>
                  <a:pt x="2286" y="4762"/>
                </a:lnTo>
                <a:lnTo>
                  <a:pt x="2288" y="4760"/>
                </a:lnTo>
                <a:lnTo>
                  <a:pt x="2291" y="4759"/>
                </a:lnTo>
                <a:lnTo>
                  <a:pt x="2295" y="4759"/>
                </a:lnTo>
                <a:lnTo>
                  <a:pt x="2300" y="4758"/>
                </a:lnTo>
                <a:lnTo>
                  <a:pt x="2305" y="4756"/>
                </a:lnTo>
                <a:lnTo>
                  <a:pt x="2311" y="4755"/>
                </a:lnTo>
                <a:lnTo>
                  <a:pt x="2315" y="4753"/>
                </a:lnTo>
                <a:lnTo>
                  <a:pt x="2323" y="4748"/>
                </a:lnTo>
                <a:lnTo>
                  <a:pt x="2329" y="4745"/>
                </a:lnTo>
                <a:lnTo>
                  <a:pt x="2329" y="4740"/>
                </a:lnTo>
                <a:lnTo>
                  <a:pt x="2326" y="4727"/>
                </a:lnTo>
                <a:lnTo>
                  <a:pt x="2326" y="4720"/>
                </a:lnTo>
                <a:lnTo>
                  <a:pt x="2327" y="4712"/>
                </a:lnTo>
                <a:lnTo>
                  <a:pt x="2329" y="4709"/>
                </a:lnTo>
                <a:lnTo>
                  <a:pt x="2330" y="4706"/>
                </a:lnTo>
                <a:lnTo>
                  <a:pt x="2332" y="4703"/>
                </a:lnTo>
                <a:lnTo>
                  <a:pt x="2335" y="4701"/>
                </a:lnTo>
                <a:lnTo>
                  <a:pt x="2346" y="4695"/>
                </a:lnTo>
                <a:lnTo>
                  <a:pt x="2359" y="4690"/>
                </a:lnTo>
                <a:lnTo>
                  <a:pt x="2363" y="4688"/>
                </a:lnTo>
                <a:lnTo>
                  <a:pt x="2367" y="4685"/>
                </a:lnTo>
                <a:lnTo>
                  <a:pt x="2368" y="4684"/>
                </a:lnTo>
                <a:lnTo>
                  <a:pt x="2369" y="4681"/>
                </a:lnTo>
                <a:lnTo>
                  <a:pt x="2369" y="4679"/>
                </a:lnTo>
                <a:lnTo>
                  <a:pt x="2369" y="4676"/>
                </a:lnTo>
                <a:lnTo>
                  <a:pt x="2369" y="4672"/>
                </a:lnTo>
                <a:lnTo>
                  <a:pt x="2367" y="4668"/>
                </a:lnTo>
                <a:lnTo>
                  <a:pt x="2365" y="4665"/>
                </a:lnTo>
                <a:lnTo>
                  <a:pt x="2362" y="4663"/>
                </a:lnTo>
                <a:lnTo>
                  <a:pt x="2355" y="4658"/>
                </a:lnTo>
                <a:lnTo>
                  <a:pt x="2347" y="4653"/>
                </a:lnTo>
                <a:lnTo>
                  <a:pt x="2340" y="4650"/>
                </a:lnTo>
                <a:lnTo>
                  <a:pt x="2335" y="4645"/>
                </a:lnTo>
                <a:lnTo>
                  <a:pt x="2334" y="4644"/>
                </a:lnTo>
                <a:lnTo>
                  <a:pt x="2333" y="4643"/>
                </a:lnTo>
                <a:lnTo>
                  <a:pt x="2333" y="4641"/>
                </a:lnTo>
                <a:lnTo>
                  <a:pt x="2335" y="4640"/>
                </a:lnTo>
                <a:lnTo>
                  <a:pt x="2347" y="4637"/>
                </a:lnTo>
                <a:lnTo>
                  <a:pt x="2366" y="4634"/>
                </a:lnTo>
                <a:lnTo>
                  <a:pt x="2375" y="4632"/>
                </a:lnTo>
                <a:lnTo>
                  <a:pt x="2383" y="4630"/>
                </a:lnTo>
                <a:lnTo>
                  <a:pt x="2389" y="4627"/>
                </a:lnTo>
                <a:lnTo>
                  <a:pt x="2393" y="4623"/>
                </a:lnTo>
                <a:lnTo>
                  <a:pt x="2396" y="4618"/>
                </a:lnTo>
                <a:lnTo>
                  <a:pt x="2397" y="4611"/>
                </a:lnTo>
                <a:lnTo>
                  <a:pt x="2397" y="4602"/>
                </a:lnTo>
                <a:lnTo>
                  <a:pt x="2398" y="4594"/>
                </a:lnTo>
                <a:lnTo>
                  <a:pt x="2399" y="4587"/>
                </a:lnTo>
                <a:lnTo>
                  <a:pt x="2400" y="4579"/>
                </a:lnTo>
                <a:lnTo>
                  <a:pt x="2401" y="4576"/>
                </a:lnTo>
                <a:lnTo>
                  <a:pt x="2403" y="4574"/>
                </a:lnTo>
                <a:lnTo>
                  <a:pt x="2404" y="4572"/>
                </a:lnTo>
                <a:lnTo>
                  <a:pt x="2406" y="4571"/>
                </a:lnTo>
                <a:lnTo>
                  <a:pt x="2425" y="4568"/>
                </a:lnTo>
                <a:lnTo>
                  <a:pt x="2455" y="4565"/>
                </a:lnTo>
                <a:lnTo>
                  <a:pt x="2471" y="4563"/>
                </a:lnTo>
                <a:lnTo>
                  <a:pt x="2485" y="4559"/>
                </a:lnTo>
                <a:lnTo>
                  <a:pt x="2490" y="4558"/>
                </a:lnTo>
                <a:lnTo>
                  <a:pt x="2494" y="4556"/>
                </a:lnTo>
                <a:lnTo>
                  <a:pt x="2497" y="4554"/>
                </a:lnTo>
                <a:lnTo>
                  <a:pt x="2498" y="4552"/>
                </a:lnTo>
                <a:lnTo>
                  <a:pt x="2505" y="4540"/>
                </a:lnTo>
                <a:lnTo>
                  <a:pt x="2513" y="4523"/>
                </a:lnTo>
                <a:lnTo>
                  <a:pt x="2520" y="4508"/>
                </a:lnTo>
                <a:lnTo>
                  <a:pt x="2524" y="4503"/>
                </a:lnTo>
                <a:lnTo>
                  <a:pt x="2520" y="4498"/>
                </a:lnTo>
                <a:lnTo>
                  <a:pt x="2512" y="4488"/>
                </a:lnTo>
                <a:lnTo>
                  <a:pt x="2508" y="4482"/>
                </a:lnTo>
                <a:lnTo>
                  <a:pt x="2505" y="4477"/>
                </a:lnTo>
                <a:lnTo>
                  <a:pt x="2505" y="4474"/>
                </a:lnTo>
                <a:lnTo>
                  <a:pt x="2505" y="4471"/>
                </a:lnTo>
                <a:lnTo>
                  <a:pt x="2505" y="4470"/>
                </a:lnTo>
                <a:lnTo>
                  <a:pt x="2506" y="4468"/>
                </a:lnTo>
                <a:lnTo>
                  <a:pt x="2510" y="4466"/>
                </a:lnTo>
                <a:lnTo>
                  <a:pt x="2516" y="4464"/>
                </a:lnTo>
                <a:lnTo>
                  <a:pt x="2524" y="4463"/>
                </a:lnTo>
                <a:lnTo>
                  <a:pt x="2532" y="4461"/>
                </a:lnTo>
                <a:lnTo>
                  <a:pt x="2546" y="4459"/>
                </a:lnTo>
                <a:lnTo>
                  <a:pt x="2554" y="4458"/>
                </a:lnTo>
                <a:lnTo>
                  <a:pt x="2560" y="4456"/>
                </a:lnTo>
                <a:lnTo>
                  <a:pt x="2571" y="4451"/>
                </a:lnTo>
                <a:lnTo>
                  <a:pt x="2577" y="4447"/>
                </a:lnTo>
                <a:lnTo>
                  <a:pt x="2583" y="4443"/>
                </a:lnTo>
                <a:lnTo>
                  <a:pt x="2588" y="4439"/>
                </a:lnTo>
                <a:lnTo>
                  <a:pt x="2594" y="4434"/>
                </a:lnTo>
                <a:lnTo>
                  <a:pt x="2601" y="4423"/>
                </a:lnTo>
                <a:lnTo>
                  <a:pt x="2608" y="4412"/>
                </a:lnTo>
                <a:lnTo>
                  <a:pt x="2615" y="4400"/>
                </a:lnTo>
                <a:lnTo>
                  <a:pt x="2621" y="4390"/>
                </a:lnTo>
                <a:lnTo>
                  <a:pt x="2628" y="4379"/>
                </a:lnTo>
                <a:lnTo>
                  <a:pt x="2635" y="4371"/>
                </a:lnTo>
                <a:lnTo>
                  <a:pt x="2643" y="4363"/>
                </a:lnTo>
                <a:lnTo>
                  <a:pt x="2649" y="4355"/>
                </a:lnTo>
                <a:lnTo>
                  <a:pt x="2652" y="4351"/>
                </a:lnTo>
                <a:lnTo>
                  <a:pt x="2655" y="4347"/>
                </a:lnTo>
                <a:lnTo>
                  <a:pt x="2657" y="4342"/>
                </a:lnTo>
                <a:lnTo>
                  <a:pt x="2660" y="4335"/>
                </a:lnTo>
                <a:lnTo>
                  <a:pt x="2664" y="4324"/>
                </a:lnTo>
                <a:lnTo>
                  <a:pt x="2667" y="4315"/>
                </a:lnTo>
                <a:lnTo>
                  <a:pt x="2681" y="4305"/>
                </a:lnTo>
                <a:lnTo>
                  <a:pt x="2691" y="4295"/>
                </a:lnTo>
                <a:lnTo>
                  <a:pt x="2693" y="4284"/>
                </a:lnTo>
                <a:lnTo>
                  <a:pt x="2693" y="4269"/>
                </a:lnTo>
                <a:lnTo>
                  <a:pt x="2693" y="4257"/>
                </a:lnTo>
                <a:lnTo>
                  <a:pt x="2693" y="4239"/>
                </a:lnTo>
                <a:lnTo>
                  <a:pt x="2694" y="4229"/>
                </a:lnTo>
                <a:lnTo>
                  <a:pt x="2695" y="4222"/>
                </a:lnTo>
                <a:lnTo>
                  <a:pt x="2697" y="4219"/>
                </a:lnTo>
                <a:lnTo>
                  <a:pt x="2698" y="4216"/>
                </a:lnTo>
                <a:lnTo>
                  <a:pt x="2700" y="4214"/>
                </a:lnTo>
                <a:lnTo>
                  <a:pt x="2703" y="4213"/>
                </a:lnTo>
                <a:lnTo>
                  <a:pt x="2708" y="4210"/>
                </a:lnTo>
                <a:lnTo>
                  <a:pt x="2713" y="4206"/>
                </a:lnTo>
                <a:lnTo>
                  <a:pt x="2717" y="4202"/>
                </a:lnTo>
                <a:lnTo>
                  <a:pt x="2722" y="4197"/>
                </a:lnTo>
                <a:lnTo>
                  <a:pt x="2732" y="4188"/>
                </a:lnTo>
                <a:lnTo>
                  <a:pt x="2741" y="4179"/>
                </a:lnTo>
                <a:lnTo>
                  <a:pt x="2746" y="4177"/>
                </a:lnTo>
                <a:lnTo>
                  <a:pt x="2750" y="4176"/>
                </a:lnTo>
                <a:lnTo>
                  <a:pt x="2754" y="4175"/>
                </a:lnTo>
                <a:lnTo>
                  <a:pt x="2758" y="4175"/>
                </a:lnTo>
                <a:lnTo>
                  <a:pt x="2763" y="4175"/>
                </a:lnTo>
                <a:lnTo>
                  <a:pt x="2768" y="4175"/>
                </a:lnTo>
                <a:lnTo>
                  <a:pt x="2773" y="4174"/>
                </a:lnTo>
                <a:lnTo>
                  <a:pt x="2777" y="4172"/>
                </a:lnTo>
                <a:lnTo>
                  <a:pt x="2788" y="4167"/>
                </a:lnTo>
                <a:lnTo>
                  <a:pt x="2801" y="4162"/>
                </a:lnTo>
                <a:lnTo>
                  <a:pt x="2814" y="4158"/>
                </a:lnTo>
                <a:lnTo>
                  <a:pt x="2823" y="4157"/>
                </a:lnTo>
                <a:lnTo>
                  <a:pt x="2830" y="4158"/>
                </a:lnTo>
                <a:lnTo>
                  <a:pt x="2835" y="4159"/>
                </a:lnTo>
                <a:lnTo>
                  <a:pt x="2838" y="4160"/>
                </a:lnTo>
                <a:lnTo>
                  <a:pt x="2840" y="4159"/>
                </a:lnTo>
                <a:lnTo>
                  <a:pt x="2842" y="4158"/>
                </a:lnTo>
                <a:lnTo>
                  <a:pt x="2845" y="4155"/>
                </a:lnTo>
                <a:lnTo>
                  <a:pt x="2852" y="4148"/>
                </a:lnTo>
                <a:lnTo>
                  <a:pt x="2860" y="4138"/>
                </a:lnTo>
                <a:lnTo>
                  <a:pt x="2862" y="4133"/>
                </a:lnTo>
                <a:lnTo>
                  <a:pt x="2863" y="4128"/>
                </a:lnTo>
                <a:lnTo>
                  <a:pt x="2863" y="4123"/>
                </a:lnTo>
                <a:lnTo>
                  <a:pt x="2864" y="4116"/>
                </a:lnTo>
                <a:lnTo>
                  <a:pt x="2864" y="4110"/>
                </a:lnTo>
                <a:lnTo>
                  <a:pt x="2865" y="4105"/>
                </a:lnTo>
                <a:lnTo>
                  <a:pt x="2867" y="4101"/>
                </a:lnTo>
                <a:lnTo>
                  <a:pt x="2871" y="4096"/>
                </a:lnTo>
                <a:lnTo>
                  <a:pt x="2881" y="4090"/>
                </a:lnTo>
                <a:lnTo>
                  <a:pt x="2887" y="4085"/>
                </a:lnTo>
                <a:lnTo>
                  <a:pt x="2890" y="4082"/>
                </a:lnTo>
                <a:lnTo>
                  <a:pt x="2892" y="4080"/>
                </a:lnTo>
                <a:lnTo>
                  <a:pt x="2893" y="4076"/>
                </a:lnTo>
                <a:lnTo>
                  <a:pt x="2894" y="4073"/>
                </a:lnTo>
                <a:lnTo>
                  <a:pt x="2894" y="4064"/>
                </a:lnTo>
                <a:lnTo>
                  <a:pt x="2895" y="4051"/>
                </a:lnTo>
                <a:lnTo>
                  <a:pt x="2896" y="4040"/>
                </a:lnTo>
                <a:lnTo>
                  <a:pt x="2900" y="4031"/>
                </a:lnTo>
                <a:lnTo>
                  <a:pt x="2902" y="4009"/>
                </a:lnTo>
                <a:lnTo>
                  <a:pt x="2903" y="3970"/>
                </a:lnTo>
                <a:lnTo>
                  <a:pt x="2903" y="3949"/>
                </a:lnTo>
                <a:lnTo>
                  <a:pt x="2904" y="3931"/>
                </a:lnTo>
                <a:lnTo>
                  <a:pt x="2905" y="3918"/>
                </a:lnTo>
                <a:lnTo>
                  <a:pt x="2907" y="3913"/>
                </a:lnTo>
                <a:lnTo>
                  <a:pt x="2912" y="3911"/>
                </a:lnTo>
                <a:lnTo>
                  <a:pt x="2917" y="3910"/>
                </a:lnTo>
                <a:lnTo>
                  <a:pt x="2924" y="3907"/>
                </a:lnTo>
                <a:lnTo>
                  <a:pt x="2928" y="3903"/>
                </a:lnTo>
                <a:lnTo>
                  <a:pt x="2932" y="3894"/>
                </a:lnTo>
                <a:lnTo>
                  <a:pt x="2937" y="3885"/>
                </a:lnTo>
                <a:lnTo>
                  <a:pt x="2940" y="3881"/>
                </a:lnTo>
                <a:lnTo>
                  <a:pt x="2942" y="3876"/>
                </a:lnTo>
                <a:lnTo>
                  <a:pt x="2946" y="3874"/>
                </a:lnTo>
                <a:lnTo>
                  <a:pt x="2948" y="3873"/>
                </a:lnTo>
                <a:lnTo>
                  <a:pt x="2951" y="3872"/>
                </a:lnTo>
                <a:lnTo>
                  <a:pt x="2954" y="3870"/>
                </a:lnTo>
                <a:lnTo>
                  <a:pt x="2956" y="3868"/>
                </a:lnTo>
                <a:lnTo>
                  <a:pt x="2959" y="3866"/>
                </a:lnTo>
                <a:lnTo>
                  <a:pt x="2964" y="3860"/>
                </a:lnTo>
                <a:lnTo>
                  <a:pt x="2968" y="3855"/>
                </a:lnTo>
                <a:lnTo>
                  <a:pt x="2978" y="3848"/>
                </a:lnTo>
                <a:lnTo>
                  <a:pt x="2988" y="3840"/>
                </a:lnTo>
                <a:lnTo>
                  <a:pt x="2991" y="3837"/>
                </a:lnTo>
                <a:lnTo>
                  <a:pt x="2994" y="3834"/>
                </a:lnTo>
                <a:lnTo>
                  <a:pt x="2995" y="3828"/>
                </a:lnTo>
                <a:lnTo>
                  <a:pt x="2995" y="3816"/>
                </a:lnTo>
                <a:lnTo>
                  <a:pt x="2995" y="3800"/>
                </a:lnTo>
                <a:lnTo>
                  <a:pt x="2995" y="3787"/>
                </a:lnTo>
                <a:lnTo>
                  <a:pt x="2994" y="3777"/>
                </a:lnTo>
                <a:lnTo>
                  <a:pt x="2992" y="3769"/>
                </a:lnTo>
                <a:lnTo>
                  <a:pt x="2990" y="3766"/>
                </a:lnTo>
                <a:lnTo>
                  <a:pt x="2985" y="3763"/>
                </a:lnTo>
                <a:lnTo>
                  <a:pt x="2981" y="3760"/>
                </a:lnTo>
                <a:lnTo>
                  <a:pt x="2975" y="3757"/>
                </a:lnTo>
                <a:lnTo>
                  <a:pt x="2963" y="3752"/>
                </a:lnTo>
                <a:lnTo>
                  <a:pt x="2953" y="3746"/>
                </a:lnTo>
                <a:lnTo>
                  <a:pt x="2945" y="3742"/>
                </a:lnTo>
                <a:lnTo>
                  <a:pt x="2938" y="3740"/>
                </a:lnTo>
                <a:lnTo>
                  <a:pt x="2932" y="3736"/>
                </a:lnTo>
                <a:lnTo>
                  <a:pt x="2924" y="3729"/>
                </a:lnTo>
                <a:lnTo>
                  <a:pt x="2915" y="3719"/>
                </a:lnTo>
                <a:lnTo>
                  <a:pt x="2906" y="3710"/>
                </a:lnTo>
                <a:lnTo>
                  <a:pt x="2902" y="3707"/>
                </a:lnTo>
                <a:lnTo>
                  <a:pt x="2896" y="3703"/>
                </a:lnTo>
                <a:lnTo>
                  <a:pt x="2891" y="3701"/>
                </a:lnTo>
                <a:lnTo>
                  <a:pt x="2886" y="3699"/>
                </a:lnTo>
                <a:lnTo>
                  <a:pt x="2868" y="3699"/>
                </a:lnTo>
                <a:lnTo>
                  <a:pt x="2845" y="3700"/>
                </a:lnTo>
                <a:lnTo>
                  <a:pt x="2834" y="3700"/>
                </a:lnTo>
                <a:lnTo>
                  <a:pt x="2824" y="3700"/>
                </a:lnTo>
                <a:lnTo>
                  <a:pt x="2816" y="3699"/>
                </a:lnTo>
                <a:lnTo>
                  <a:pt x="2810" y="3697"/>
                </a:lnTo>
                <a:lnTo>
                  <a:pt x="2803" y="3691"/>
                </a:lnTo>
                <a:lnTo>
                  <a:pt x="2796" y="3686"/>
                </a:lnTo>
                <a:lnTo>
                  <a:pt x="2792" y="3685"/>
                </a:lnTo>
                <a:lnTo>
                  <a:pt x="2788" y="3684"/>
                </a:lnTo>
                <a:lnTo>
                  <a:pt x="2786" y="3684"/>
                </a:lnTo>
                <a:lnTo>
                  <a:pt x="2784" y="3686"/>
                </a:lnTo>
                <a:lnTo>
                  <a:pt x="2780" y="3690"/>
                </a:lnTo>
                <a:lnTo>
                  <a:pt x="2777" y="3693"/>
                </a:lnTo>
                <a:lnTo>
                  <a:pt x="2776" y="3694"/>
                </a:lnTo>
                <a:lnTo>
                  <a:pt x="2775" y="3693"/>
                </a:lnTo>
                <a:lnTo>
                  <a:pt x="2774" y="3692"/>
                </a:lnTo>
                <a:lnTo>
                  <a:pt x="2773" y="3690"/>
                </a:lnTo>
                <a:lnTo>
                  <a:pt x="2772" y="3683"/>
                </a:lnTo>
                <a:lnTo>
                  <a:pt x="2771" y="3675"/>
                </a:lnTo>
                <a:lnTo>
                  <a:pt x="2769" y="3668"/>
                </a:lnTo>
                <a:lnTo>
                  <a:pt x="2766" y="3665"/>
                </a:lnTo>
                <a:lnTo>
                  <a:pt x="2760" y="3659"/>
                </a:lnTo>
                <a:lnTo>
                  <a:pt x="2748" y="3652"/>
                </a:lnTo>
                <a:lnTo>
                  <a:pt x="2741" y="3648"/>
                </a:lnTo>
                <a:lnTo>
                  <a:pt x="2735" y="3645"/>
                </a:lnTo>
                <a:lnTo>
                  <a:pt x="2732" y="3644"/>
                </a:lnTo>
                <a:lnTo>
                  <a:pt x="2730" y="3644"/>
                </a:lnTo>
                <a:lnTo>
                  <a:pt x="2728" y="3644"/>
                </a:lnTo>
                <a:lnTo>
                  <a:pt x="2726" y="3645"/>
                </a:lnTo>
                <a:lnTo>
                  <a:pt x="2715" y="3656"/>
                </a:lnTo>
                <a:lnTo>
                  <a:pt x="2699" y="3674"/>
                </a:lnTo>
                <a:lnTo>
                  <a:pt x="2691" y="3683"/>
                </a:lnTo>
                <a:lnTo>
                  <a:pt x="2684" y="3690"/>
                </a:lnTo>
                <a:lnTo>
                  <a:pt x="2681" y="3692"/>
                </a:lnTo>
                <a:lnTo>
                  <a:pt x="2678" y="3693"/>
                </a:lnTo>
                <a:lnTo>
                  <a:pt x="2676" y="3693"/>
                </a:lnTo>
                <a:lnTo>
                  <a:pt x="2675" y="3692"/>
                </a:lnTo>
                <a:lnTo>
                  <a:pt x="2674" y="3690"/>
                </a:lnTo>
                <a:lnTo>
                  <a:pt x="2674" y="3688"/>
                </a:lnTo>
                <a:lnTo>
                  <a:pt x="2674" y="3685"/>
                </a:lnTo>
                <a:lnTo>
                  <a:pt x="2675" y="3683"/>
                </a:lnTo>
                <a:lnTo>
                  <a:pt x="2678" y="3676"/>
                </a:lnTo>
                <a:lnTo>
                  <a:pt x="2682" y="3670"/>
                </a:lnTo>
                <a:lnTo>
                  <a:pt x="2686" y="3664"/>
                </a:lnTo>
                <a:lnTo>
                  <a:pt x="2688" y="3658"/>
                </a:lnTo>
                <a:lnTo>
                  <a:pt x="2689" y="3655"/>
                </a:lnTo>
                <a:lnTo>
                  <a:pt x="2689" y="3653"/>
                </a:lnTo>
                <a:lnTo>
                  <a:pt x="2689" y="3651"/>
                </a:lnTo>
                <a:lnTo>
                  <a:pt x="2687" y="3649"/>
                </a:lnTo>
                <a:lnTo>
                  <a:pt x="2684" y="3647"/>
                </a:lnTo>
                <a:lnTo>
                  <a:pt x="2679" y="3647"/>
                </a:lnTo>
                <a:lnTo>
                  <a:pt x="2674" y="3647"/>
                </a:lnTo>
                <a:lnTo>
                  <a:pt x="2670" y="3649"/>
                </a:lnTo>
                <a:lnTo>
                  <a:pt x="2661" y="3653"/>
                </a:lnTo>
                <a:lnTo>
                  <a:pt x="2653" y="3658"/>
                </a:lnTo>
                <a:lnTo>
                  <a:pt x="2645" y="3663"/>
                </a:lnTo>
                <a:lnTo>
                  <a:pt x="2635" y="3666"/>
                </a:lnTo>
                <a:lnTo>
                  <a:pt x="2630" y="3667"/>
                </a:lnTo>
                <a:lnTo>
                  <a:pt x="2626" y="3667"/>
                </a:lnTo>
                <a:lnTo>
                  <a:pt x="2623" y="3667"/>
                </a:lnTo>
                <a:lnTo>
                  <a:pt x="2621" y="3666"/>
                </a:lnTo>
                <a:lnTo>
                  <a:pt x="2620" y="3664"/>
                </a:lnTo>
                <a:lnTo>
                  <a:pt x="2621" y="3661"/>
                </a:lnTo>
                <a:lnTo>
                  <a:pt x="2622" y="3657"/>
                </a:lnTo>
                <a:lnTo>
                  <a:pt x="2624" y="3654"/>
                </a:lnTo>
                <a:lnTo>
                  <a:pt x="2628" y="3647"/>
                </a:lnTo>
                <a:lnTo>
                  <a:pt x="2634" y="3643"/>
                </a:lnTo>
                <a:lnTo>
                  <a:pt x="2641" y="3637"/>
                </a:lnTo>
                <a:lnTo>
                  <a:pt x="2649" y="3630"/>
                </a:lnTo>
                <a:lnTo>
                  <a:pt x="2653" y="3626"/>
                </a:lnTo>
                <a:lnTo>
                  <a:pt x="2656" y="3621"/>
                </a:lnTo>
                <a:lnTo>
                  <a:pt x="2659" y="3617"/>
                </a:lnTo>
                <a:lnTo>
                  <a:pt x="2660" y="3613"/>
                </a:lnTo>
                <a:lnTo>
                  <a:pt x="2659" y="3610"/>
                </a:lnTo>
                <a:lnTo>
                  <a:pt x="2656" y="3606"/>
                </a:lnTo>
                <a:lnTo>
                  <a:pt x="2653" y="3603"/>
                </a:lnTo>
                <a:lnTo>
                  <a:pt x="2650" y="3600"/>
                </a:lnTo>
                <a:lnTo>
                  <a:pt x="2643" y="3593"/>
                </a:lnTo>
                <a:lnTo>
                  <a:pt x="2639" y="3588"/>
                </a:lnTo>
                <a:lnTo>
                  <a:pt x="2634" y="3577"/>
                </a:lnTo>
                <a:lnTo>
                  <a:pt x="2628" y="3558"/>
                </a:lnTo>
                <a:lnTo>
                  <a:pt x="2624" y="3548"/>
                </a:lnTo>
                <a:lnTo>
                  <a:pt x="2620" y="3542"/>
                </a:lnTo>
                <a:lnTo>
                  <a:pt x="2618" y="3540"/>
                </a:lnTo>
                <a:lnTo>
                  <a:pt x="2616" y="3539"/>
                </a:lnTo>
                <a:lnTo>
                  <a:pt x="2613" y="3539"/>
                </a:lnTo>
                <a:lnTo>
                  <a:pt x="2611" y="3540"/>
                </a:lnTo>
                <a:lnTo>
                  <a:pt x="2606" y="3546"/>
                </a:lnTo>
                <a:lnTo>
                  <a:pt x="2602" y="3555"/>
                </a:lnTo>
                <a:lnTo>
                  <a:pt x="2598" y="3565"/>
                </a:lnTo>
                <a:lnTo>
                  <a:pt x="2593" y="3575"/>
                </a:lnTo>
                <a:lnTo>
                  <a:pt x="2588" y="3585"/>
                </a:lnTo>
                <a:lnTo>
                  <a:pt x="2584" y="3592"/>
                </a:lnTo>
                <a:lnTo>
                  <a:pt x="2582" y="3595"/>
                </a:lnTo>
                <a:lnTo>
                  <a:pt x="2580" y="3597"/>
                </a:lnTo>
                <a:lnTo>
                  <a:pt x="2578" y="3598"/>
                </a:lnTo>
                <a:lnTo>
                  <a:pt x="2576" y="3598"/>
                </a:lnTo>
                <a:lnTo>
                  <a:pt x="2567" y="3591"/>
                </a:lnTo>
                <a:lnTo>
                  <a:pt x="2556" y="3585"/>
                </a:lnTo>
                <a:lnTo>
                  <a:pt x="2551" y="3582"/>
                </a:lnTo>
                <a:lnTo>
                  <a:pt x="2545" y="3581"/>
                </a:lnTo>
                <a:lnTo>
                  <a:pt x="2541" y="3580"/>
                </a:lnTo>
                <a:lnTo>
                  <a:pt x="2537" y="3582"/>
                </a:lnTo>
                <a:lnTo>
                  <a:pt x="2532" y="3589"/>
                </a:lnTo>
                <a:lnTo>
                  <a:pt x="2529" y="3598"/>
                </a:lnTo>
                <a:lnTo>
                  <a:pt x="2527" y="3601"/>
                </a:lnTo>
                <a:lnTo>
                  <a:pt x="2524" y="3603"/>
                </a:lnTo>
                <a:lnTo>
                  <a:pt x="2521" y="3603"/>
                </a:lnTo>
                <a:lnTo>
                  <a:pt x="2517" y="3602"/>
                </a:lnTo>
                <a:lnTo>
                  <a:pt x="2513" y="3597"/>
                </a:lnTo>
                <a:lnTo>
                  <a:pt x="2509" y="3589"/>
                </a:lnTo>
                <a:lnTo>
                  <a:pt x="2505" y="3580"/>
                </a:lnTo>
                <a:lnTo>
                  <a:pt x="2500" y="3569"/>
                </a:lnTo>
                <a:lnTo>
                  <a:pt x="2497" y="3558"/>
                </a:lnTo>
                <a:lnTo>
                  <a:pt x="2495" y="3547"/>
                </a:lnTo>
                <a:lnTo>
                  <a:pt x="2493" y="3538"/>
                </a:lnTo>
                <a:lnTo>
                  <a:pt x="2493" y="3532"/>
                </a:lnTo>
                <a:lnTo>
                  <a:pt x="2494" y="3520"/>
                </a:lnTo>
                <a:lnTo>
                  <a:pt x="2496" y="3509"/>
                </a:lnTo>
                <a:lnTo>
                  <a:pt x="2496" y="3503"/>
                </a:lnTo>
                <a:lnTo>
                  <a:pt x="2495" y="3498"/>
                </a:lnTo>
                <a:lnTo>
                  <a:pt x="2492" y="3493"/>
                </a:lnTo>
                <a:lnTo>
                  <a:pt x="2489" y="3487"/>
                </a:lnTo>
                <a:lnTo>
                  <a:pt x="2470" y="3471"/>
                </a:lnTo>
                <a:lnTo>
                  <a:pt x="2444" y="3451"/>
                </a:lnTo>
                <a:lnTo>
                  <a:pt x="2431" y="3440"/>
                </a:lnTo>
                <a:lnTo>
                  <a:pt x="2422" y="3431"/>
                </a:lnTo>
                <a:lnTo>
                  <a:pt x="2420" y="3427"/>
                </a:lnTo>
                <a:lnTo>
                  <a:pt x="2418" y="3424"/>
                </a:lnTo>
                <a:lnTo>
                  <a:pt x="2418" y="3421"/>
                </a:lnTo>
                <a:lnTo>
                  <a:pt x="2420" y="3418"/>
                </a:lnTo>
                <a:lnTo>
                  <a:pt x="2424" y="3414"/>
                </a:lnTo>
                <a:lnTo>
                  <a:pt x="2428" y="3408"/>
                </a:lnTo>
                <a:lnTo>
                  <a:pt x="2432" y="3401"/>
                </a:lnTo>
                <a:lnTo>
                  <a:pt x="2434" y="3393"/>
                </a:lnTo>
                <a:lnTo>
                  <a:pt x="2434" y="3387"/>
                </a:lnTo>
                <a:lnTo>
                  <a:pt x="2434" y="3383"/>
                </a:lnTo>
                <a:lnTo>
                  <a:pt x="2433" y="3381"/>
                </a:lnTo>
                <a:lnTo>
                  <a:pt x="2432" y="3381"/>
                </a:lnTo>
                <a:lnTo>
                  <a:pt x="2430" y="3381"/>
                </a:lnTo>
                <a:lnTo>
                  <a:pt x="2428" y="3382"/>
                </a:lnTo>
                <a:lnTo>
                  <a:pt x="2417" y="3388"/>
                </a:lnTo>
                <a:lnTo>
                  <a:pt x="2403" y="3395"/>
                </a:lnTo>
                <a:lnTo>
                  <a:pt x="2396" y="3398"/>
                </a:lnTo>
                <a:lnTo>
                  <a:pt x="2388" y="3399"/>
                </a:lnTo>
                <a:lnTo>
                  <a:pt x="2384" y="3399"/>
                </a:lnTo>
                <a:lnTo>
                  <a:pt x="2381" y="3399"/>
                </a:lnTo>
                <a:lnTo>
                  <a:pt x="2378" y="3398"/>
                </a:lnTo>
                <a:lnTo>
                  <a:pt x="2376" y="3395"/>
                </a:lnTo>
                <a:lnTo>
                  <a:pt x="2364" y="3388"/>
                </a:lnTo>
                <a:lnTo>
                  <a:pt x="2354" y="3381"/>
                </a:lnTo>
                <a:lnTo>
                  <a:pt x="2349" y="3379"/>
                </a:lnTo>
                <a:lnTo>
                  <a:pt x="2344" y="3378"/>
                </a:lnTo>
                <a:lnTo>
                  <a:pt x="2340" y="3379"/>
                </a:lnTo>
                <a:lnTo>
                  <a:pt x="2336" y="3382"/>
                </a:lnTo>
                <a:lnTo>
                  <a:pt x="2332" y="3385"/>
                </a:lnTo>
                <a:lnTo>
                  <a:pt x="2325" y="3387"/>
                </a:lnTo>
                <a:lnTo>
                  <a:pt x="2319" y="3387"/>
                </a:lnTo>
                <a:lnTo>
                  <a:pt x="2314" y="3387"/>
                </a:lnTo>
                <a:lnTo>
                  <a:pt x="2308" y="3386"/>
                </a:lnTo>
                <a:lnTo>
                  <a:pt x="2304" y="3385"/>
                </a:lnTo>
                <a:lnTo>
                  <a:pt x="2302" y="3384"/>
                </a:lnTo>
                <a:lnTo>
                  <a:pt x="2302" y="3383"/>
                </a:lnTo>
                <a:lnTo>
                  <a:pt x="2304" y="3382"/>
                </a:lnTo>
                <a:lnTo>
                  <a:pt x="2304" y="3381"/>
                </a:lnTo>
                <a:lnTo>
                  <a:pt x="2303" y="3378"/>
                </a:lnTo>
                <a:lnTo>
                  <a:pt x="2301" y="3376"/>
                </a:lnTo>
                <a:lnTo>
                  <a:pt x="2297" y="3370"/>
                </a:lnTo>
                <a:lnTo>
                  <a:pt x="2294" y="3367"/>
                </a:lnTo>
                <a:lnTo>
                  <a:pt x="2279" y="3366"/>
                </a:lnTo>
                <a:lnTo>
                  <a:pt x="2252" y="3365"/>
                </a:lnTo>
                <a:lnTo>
                  <a:pt x="2225" y="3364"/>
                </a:lnTo>
                <a:lnTo>
                  <a:pt x="2212" y="3363"/>
                </a:lnTo>
                <a:lnTo>
                  <a:pt x="2212" y="3367"/>
                </a:lnTo>
                <a:lnTo>
                  <a:pt x="2210" y="3374"/>
                </a:lnTo>
                <a:lnTo>
                  <a:pt x="2209" y="3379"/>
                </a:lnTo>
                <a:lnTo>
                  <a:pt x="2207" y="3381"/>
                </a:lnTo>
                <a:lnTo>
                  <a:pt x="2206" y="3383"/>
                </a:lnTo>
                <a:lnTo>
                  <a:pt x="2204" y="3382"/>
                </a:lnTo>
                <a:lnTo>
                  <a:pt x="2195" y="3365"/>
                </a:lnTo>
                <a:lnTo>
                  <a:pt x="2190" y="3352"/>
                </a:lnTo>
                <a:lnTo>
                  <a:pt x="2184" y="3358"/>
                </a:lnTo>
                <a:lnTo>
                  <a:pt x="2171" y="3368"/>
                </a:lnTo>
                <a:lnTo>
                  <a:pt x="2164" y="3373"/>
                </a:lnTo>
                <a:lnTo>
                  <a:pt x="2156" y="3378"/>
                </a:lnTo>
                <a:lnTo>
                  <a:pt x="2149" y="3381"/>
                </a:lnTo>
                <a:lnTo>
                  <a:pt x="2143" y="3381"/>
                </a:lnTo>
                <a:lnTo>
                  <a:pt x="2139" y="3380"/>
                </a:lnTo>
                <a:lnTo>
                  <a:pt x="2133" y="3380"/>
                </a:lnTo>
                <a:lnTo>
                  <a:pt x="2126" y="3380"/>
                </a:lnTo>
                <a:lnTo>
                  <a:pt x="2119" y="3381"/>
                </a:lnTo>
                <a:lnTo>
                  <a:pt x="2113" y="3385"/>
                </a:lnTo>
                <a:lnTo>
                  <a:pt x="2106" y="3390"/>
                </a:lnTo>
                <a:lnTo>
                  <a:pt x="2103" y="3393"/>
                </a:lnTo>
                <a:lnTo>
                  <a:pt x="2100" y="3398"/>
                </a:lnTo>
                <a:lnTo>
                  <a:pt x="2098" y="3403"/>
                </a:lnTo>
                <a:lnTo>
                  <a:pt x="2095" y="3409"/>
                </a:lnTo>
                <a:lnTo>
                  <a:pt x="2091" y="3421"/>
                </a:lnTo>
                <a:lnTo>
                  <a:pt x="2084" y="3429"/>
                </a:lnTo>
                <a:lnTo>
                  <a:pt x="2078" y="3435"/>
                </a:lnTo>
                <a:lnTo>
                  <a:pt x="2071" y="3439"/>
                </a:lnTo>
                <a:lnTo>
                  <a:pt x="2064" y="3442"/>
                </a:lnTo>
                <a:lnTo>
                  <a:pt x="2059" y="3443"/>
                </a:lnTo>
                <a:lnTo>
                  <a:pt x="2055" y="3442"/>
                </a:lnTo>
                <a:lnTo>
                  <a:pt x="2052" y="3439"/>
                </a:lnTo>
                <a:lnTo>
                  <a:pt x="2046" y="3435"/>
                </a:lnTo>
                <a:lnTo>
                  <a:pt x="2034" y="3430"/>
                </a:lnTo>
                <a:lnTo>
                  <a:pt x="2020" y="3426"/>
                </a:lnTo>
                <a:lnTo>
                  <a:pt x="2009" y="3424"/>
                </a:lnTo>
                <a:lnTo>
                  <a:pt x="2007" y="3424"/>
                </a:lnTo>
                <a:lnTo>
                  <a:pt x="2005" y="3424"/>
                </a:lnTo>
                <a:lnTo>
                  <a:pt x="2004" y="3425"/>
                </a:lnTo>
                <a:lnTo>
                  <a:pt x="2003" y="3426"/>
                </a:lnTo>
                <a:lnTo>
                  <a:pt x="2002" y="3429"/>
                </a:lnTo>
                <a:lnTo>
                  <a:pt x="2000" y="3432"/>
                </a:lnTo>
                <a:lnTo>
                  <a:pt x="1997" y="3435"/>
                </a:lnTo>
                <a:lnTo>
                  <a:pt x="1993" y="3436"/>
                </a:lnTo>
                <a:lnTo>
                  <a:pt x="1987" y="3436"/>
                </a:lnTo>
                <a:lnTo>
                  <a:pt x="1979" y="3432"/>
                </a:lnTo>
                <a:lnTo>
                  <a:pt x="1958" y="3423"/>
                </a:lnTo>
                <a:lnTo>
                  <a:pt x="1939" y="3414"/>
                </a:lnTo>
                <a:lnTo>
                  <a:pt x="1931" y="3410"/>
                </a:lnTo>
                <a:lnTo>
                  <a:pt x="1926" y="3405"/>
                </a:lnTo>
                <a:lnTo>
                  <a:pt x="1924" y="3403"/>
                </a:lnTo>
                <a:lnTo>
                  <a:pt x="1922" y="3401"/>
                </a:lnTo>
                <a:lnTo>
                  <a:pt x="1921" y="3399"/>
                </a:lnTo>
                <a:lnTo>
                  <a:pt x="1921" y="3395"/>
                </a:lnTo>
                <a:lnTo>
                  <a:pt x="1923" y="3379"/>
                </a:lnTo>
                <a:lnTo>
                  <a:pt x="1927" y="3354"/>
                </a:lnTo>
                <a:lnTo>
                  <a:pt x="1930" y="3328"/>
                </a:lnTo>
                <a:lnTo>
                  <a:pt x="1931" y="3315"/>
                </a:lnTo>
                <a:lnTo>
                  <a:pt x="1927" y="3312"/>
                </a:lnTo>
                <a:lnTo>
                  <a:pt x="1919" y="3307"/>
                </a:lnTo>
                <a:lnTo>
                  <a:pt x="1906" y="3302"/>
                </a:lnTo>
                <a:lnTo>
                  <a:pt x="1893" y="3297"/>
                </a:lnTo>
                <a:lnTo>
                  <a:pt x="1877" y="3292"/>
                </a:lnTo>
                <a:lnTo>
                  <a:pt x="1863" y="3286"/>
                </a:lnTo>
                <a:lnTo>
                  <a:pt x="1851" y="3281"/>
                </a:lnTo>
                <a:lnTo>
                  <a:pt x="1842" y="3277"/>
                </a:lnTo>
                <a:lnTo>
                  <a:pt x="1836" y="3272"/>
                </a:lnTo>
                <a:lnTo>
                  <a:pt x="1830" y="3266"/>
                </a:lnTo>
                <a:lnTo>
                  <a:pt x="1825" y="3258"/>
                </a:lnTo>
                <a:lnTo>
                  <a:pt x="1820" y="3251"/>
                </a:lnTo>
                <a:lnTo>
                  <a:pt x="1817" y="3245"/>
                </a:lnTo>
                <a:lnTo>
                  <a:pt x="1815" y="3239"/>
                </a:lnTo>
                <a:lnTo>
                  <a:pt x="1814" y="3237"/>
                </a:lnTo>
                <a:lnTo>
                  <a:pt x="1815" y="3235"/>
                </a:lnTo>
                <a:lnTo>
                  <a:pt x="1815" y="3234"/>
                </a:lnTo>
                <a:lnTo>
                  <a:pt x="1816" y="3234"/>
                </a:lnTo>
                <a:lnTo>
                  <a:pt x="1820" y="3230"/>
                </a:lnTo>
                <a:lnTo>
                  <a:pt x="1826" y="3220"/>
                </a:lnTo>
                <a:lnTo>
                  <a:pt x="1833" y="3208"/>
                </a:lnTo>
                <a:lnTo>
                  <a:pt x="1839" y="3192"/>
                </a:lnTo>
                <a:lnTo>
                  <a:pt x="1844" y="3178"/>
                </a:lnTo>
                <a:lnTo>
                  <a:pt x="1849" y="3163"/>
                </a:lnTo>
                <a:lnTo>
                  <a:pt x="1850" y="3158"/>
                </a:lnTo>
                <a:lnTo>
                  <a:pt x="1850" y="3152"/>
                </a:lnTo>
                <a:lnTo>
                  <a:pt x="1849" y="3148"/>
                </a:lnTo>
                <a:lnTo>
                  <a:pt x="1848" y="3145"/>
                </a:lnTo>
                <a:lnTo>
                  <a:pt x="1844" y="3144"/>
                </a:lnTo>
                <a:lnTo>
                  <a:pt x="1840" y="3142"/>
                </a:lnTo>
                <a:lnTo>
                  <a:pt x="1835" y="3142"/>
                </a:lnTo>
                <a:lnTo>
                  <a:pt x="1829" y="3141"/>
                </a:lnTo>
                <a:lnTo>
                  <a:pt x="1815" y="3141"/>
                </a:lnTo>
                <a:lnTo>
                  <a:pt x="1799" y="3142"/>
                </a:lnTo>
                <a:lnTo>
                  <a:pt x="1785" y="3145"/>
                </a:lnTo>
                <a:lnTo>
                  <a:pt x="1773" y="3148"/>
                </a:lnTo>
                <a:lnTo>
                  <a:pt x="1768" y="3150"/>
                </a:lnTo>
                <a:lnTo>
                  <a:pt x="1764" y="3152"/>
                </a:lnTo>
                <a:lnTo>
                  <a:pt x="1761" y="3154"/>
                </a:lnTo>
                <a:lnTo>
                  <a:pt x="1760" y="3157"/>
                </a:lnTo>
                <a:lnTo>
                  <a:pt x="1756" y="3172"/>
                </a:lnTo>
                <a:lnTo>
                  <a:pt x="1749" y="3195"/>
                </a:lnTo>
                <a:lnTo>
                  <a:pt x="1744" y="3206"/>
                </a:lnTo>
                <a:lnTo>
                  <a:pt x="1739" y="3215"/>
                </a:lnTo>
                <a:lnTo>
                  <a:pt x="1737" y="3218"/>
                </a:lnTo>
                <a:lnTo>
                  <a:pt x="1733" y="3222"/>
                </a:lnTo>
                <a:lnTo>
                  <a:pt x="1730" y="3223"/>
                </a:lnTo>
                <a:lnTo>
                  <a:pt x="1727" y="3224"/>
                </a:lnTo>
                <a:lnTo>
                  <a:pt x="1718" y="3224"/>
                </a:lnTo>
                <a:lnTo>
                  <a:pt x="1703" y="3224"/>
                </a:lnTo>
                <a:lnTo>
                  <a:pt x="1695" y="3224"/>
                </a:lnTo>
                <a:lnTo>
                  <a:pt x="1686" y="3223"/>
                </a:lnTo>
                <a:lnTo>
                  <a:pt x="1677" y="3220"/>
                </a:lnTo>
                <a:lnTo>
                  <a:pt x="1666" y="3218"/>
                </a:lnTo>
                <a:lnTo>
                  <a:pt x="1657" y="3215"/>
                </a:lnTo>
                <a:lnTo>
                  <a:pt x="1649" y="3211"/>
                </a:lnTo>
                <a:lnTo>
                  <a:pt x="1640" y="3206"/>
                </a:lnTo>
                <a:lnTo>
                  <a:pt x="1632" y="3198"/>
                </a:lnTo>
                <a:lnTo>
                  <a:pt x="1625" y="3191"/>
                </a:lnTo>
                <a:lnTo>
                  <a:pt x="1620" y="3181"/>
                </a:lnTo>
                <a:lnTo>
                  <a:pt x="1618" y="3175"/>
                </a:lnTo>
                <a:lnTo>
                  <a:pt x="1616" y="3169"/>
                </a:lnTo>
                <a:lnTo>
                  <a:pt x="1615" y="3163"/>
                </a:lnTo>
                <a:lnTo>
                  <a:pt x="1614" y="3156"/>
                </a:lnTo>
                <a:lnTo>
                  <a:pt x="1612" y="3129"/>
                </a:lnTo>
                <a:lnTo>
                  <a:pt x="1611" y="3109"/>
                </a:lnTo>
                <a:lnTo>
                  <a:pt x="1611" y="3095"/>
                </a:lnTo>
                <a:lnTo>
                  <a:pt x="1611" y="3083"/>
                </a:lnTo>
                <a:lnTo>
                  <a:pt x="1612" y="3076"/>
                </a:lnTo>
                <a:lnTo>
                  <a:pt x="1613" y="3071"/>
                </a:lnTo>
                <a:lnTo>
                  <a:pt x="1615" y="3066"/>
                </a:lnTo>
                <a:lnTo>
                  <a:pt x="1617" y="3063"/>
                </a:lnTo>
                <a:lnTo>
                  <a:pt x="1622" y="3056"/>
                </a:lnTo>
                <a:lnTo>
                  <a:pt x="1627" y="3051"/>
                </a:lnTo>
                <a:lnTo>
                  <a:pt x="1629" y="3049"/>
                </a:lnTo>
                <a:lnTo>
                  <a:pt x="1629" y="3047"/>
                </a:lnTo>
                <a:lnTo>
                  <a:pt x="1629" y="3044"/>
                </a:lnTo>
                <a:lnTo>
                  <a:pt x="1628" y="3043"/>
                </a:lnTo>
                <a:lnTo>
                  <a:pt x="1625" y="3040"/>
                </a:lnTo>
                <a:lnTo>
                  <a:pt x="1623" y="3035"/>
                </a:lnTo>
                <a:lnTo>
                  <a:pt x="1621" y="3029"/>
                </a:lnTo>
                <a:lnTo>
                  <a:pt x="1619" y="3021"/>
                </a:lnTo>
                <a:lnTo>
                  <a:pt x="1618" y="3013"/>
                </a:lnTo>
                <a:lnTo>
                  <a:pt x="1618" y="3006"/>
                </a:lnTo>
                <a:lnTo>
                  <a:pt x="1619" y="2999"/>
                </a:lnTo>
                <a:lnTo>
                  <a:pt x="1621" y="2994"/>
                </a:lnTo>
                <a:lnTo>
                  <a:pt x="1625" y="2990"/>
                </a:lnTo>
                <a:lnTo>
                  <a:pt x="1631" y="2986"/>
                </a:lnTo>
                <a:lnTo>
                  <a:pt x="1637" y="2982"/>
                </a:lnTo>
                <a:lnTo>
                  <a:pt x="1644" y="2978"/>
                </a:lnTo>
                <a:lnTo>
                  <a:pt x="1657" y="2972"/>
                </a:lnTo>
                <a:lnTo>
                  <a:pt x="1663" y="2970"/>
                </a:lnTo>
                <a:lnTo>
                  <a:pt x="1666" y="2967"/>
                </a:lnTo>
                <a:lnTo>
                  <a:pt x="1672" y="2961"/>
                </a:lnTo>
                <a:lnTo>
                  <a:pt x="1675" y="2957"/>
                </a:lnTo>
                <a:lnTo>
                  <a:pt x="1679" y="2955"/>
                </a:lnTo>
                <a:lnTo>
                  <a:pt x="1683" y="2954"/>
                </a:lnTo>
                <a:lnTo>
                  <a:pt x="1687" y="2955"/>
                </a:lnTo>
                <a:lnTo>
                  <a:pt x="1691" y="2957"/>
                </a:lnTo>
                <a:lnTo>
                  <a:pt x="1697" y="2957"/>
                </a:lnTo>
                <a:lnTo>
                  <a:pt x="1701" y="2957"/>
                </a:lnTo>
                <a:lnTo>
                  <a:pt x="1706" y="2956"/>
                </a:lnTo>
                <a:lnTo>
                  <a:pt x="1711" y="2955"/>
                </a:lnTo>
                <a:lnTo>
                  <a:pt x="1717" y="2955"/>
                </a:lnTo>
                <a:lnTo>
                  <a:pt x="1722" y="2955"/>
                </a:lnTo>
                <a:lnTo>
                  <a:pt x="1727" y="2956"/>
                </a:lnTo>
                <a:lnTo>
                  <a:pt x="1739" y="2960"/>
                </a:lnTo>
                <a:lnTo>
                  <a:pt x="1751" y="2965"/>
                </a:lnTo>
                <a:lnTo>
                  <a:pt x="1757" y="2967"/>
                </a:lnTo>
                <a:lnTo>
                  <a:pt x="1764" y="2969"/>
                </a:lnTo>
                <a:lnTo>
                  <a:pt x="1769" y="2970"/>
                </a:lnTo>
                <a:lnTo>
                  <a:pt x="1775" y="2969"/>
                </a:lnTo>
                <a:lnTo>
                  <a:pt x="1785" y="2967"/>
                </a:lnTo>
                <a:lnTo>
                  <a:pt x="1792" y="2963"/>
                </a:lnTo>
                <a:lnTo>
                  <a:pt x="1796" y="2960"/>
                </a:lnTo>
                <a:lnTo>
                  <a:pt x="1799" y="2956"/>
                </a:lnTo>
                <a:lnTo>
                  <a:pt x="1801" y="2952"/>
                </a:lnTo>
                <a:lnTo>
                  <a:pt x="1806" y="2946"/>
                </a:lnTo>
                <a:lnTo>
                  <a:pt x="1809" y="2943"/>
                </a:lnTo>
                <a:lnTo>
                  <a:pt x="1813" y="2941"/>
                </a:lnTo>
                <a:lnTo>
                  <a:pt x="1817" y="2940"/>
                </a:lnTo>
                <a:lnTo>
                  <a:pt x="1822" y="2941"/>
                </a:lnTo>
                <a:lnTo>
                  <a:pt x="1828" y="2943"/>
                </a:lnTo>
                <a:lnTo>
                  <a:pt x="1832" y="2943"/>
                </a:lnTo>
                <a:lnTo>
                  <a:pt x="1836" y="2943"/>
                </a:lnTo>
                <a:lnTo>
                  <a:pt x="1839" y="2942"/>
                </a:lnTo>
                <a:lnTo>
                  <a:pt x="1842" y="2943"/>
                </a:lnTo>
                <a:lnTo>
                  <a:pt x="1845" y="2944"/>
                </a:lnTo>
                <a:lnTo>
                  <a:pt x="1849" y="2946"/>
                </a:lnTo>
                <a:lnTo>
                  <a:pt x="1852" y="2951"/>
                </a:lnTo>
                <a:lnTo>
                  <a:pt x="1854" y="2953"/>
                </a:lnTo>
                <a:lnTo>
                  <a:pt x="1856" y="2955"/>
                </a:lnTo>
                <a:lnTo>
                  <a:pt x="1859" y="2957"/>
                </a:lnTo>
                <a:lnTo>
                  <a:pt x="1862" y="2960"/>
                </a:lnTo>
                <a:lnTo>
                  <a:pt x="1869" y="2961"/>
                </a:lnTo>
                <a:lnTo>
                  <a:pt x="1876" y="2962"/>
                </a:lnTo>
                <a:lnTo>
                  <a:pt x="1891" y="2963"/>
                </a:lnTo>
                <a:lnTo>
                  <a:pt x="1901" y="2963"/>
                </a:lnTo>
                <a:lnTo>
                  <a:pt x="1908" y="2964"/>
                </a:lnTo>
                <a:lnTo>
                  <a:pt x="1914" y="2963"/>
                </a:lnTo>
                <a:lnTo>
                  <a:pt x="1916" y="2964"/>
                </a:lnTo>
                <a:lnTo>
                  <a:pt x="1918" y="2964"/>
                </a:lnTo>
                <a:lnTo>
                  <a:pt x="1920" y="2966"/>
                </a:lnTo>
                <a:lnTo>
                  <a:pt x="1923" y="2968"/>
                </a:lnTo>
                <a:lnTo>
                  <a:pt x="1929" y="2974"/>
                </a:lnTo>
                <a:lnTo>
                  <a:pt x="1936" y="2979"/>
                </a:lnTo>
                <a:lnTo>
                  <a:pt x="1939" y="2983"/>
                </a:lnTo>
                <a:lnTo>
                  <a:pt x="1941" y="2987"/>
                </a:lnTo>
                <a:lnTo>
                  <a:pt x="1943" y="2990"/>
                </a:lnTo>
                <a:lnTo>
                  <a:pt x="1944" y="2994"/>
                </a:lnTo>
                <a:lnTo>
                  <a:pt x="1944" y="3001"/>
                </a:lnTo>
                <a:lnTo>
                  <a:pt x="1944" y="3009"/>
                </a:lnTo>
                <a:lnTo>
                  <a:pt x="1944" y="3013"/>
                </a:lnTo>
                <a:lnTo>
                  <a:pt x="1945" y="3017"/>
                </a:lnTo>
                <a:lnTo>
                  <a:pt x="1947" y="3022"/>
                </a:lnTo>
                <a:lnTo>
                  <a:pt x="1950" y="3028"/>
                </a:lnTo>
                <a:lnTo>
                  <a:pt x="1957" y="3039"/>
                </a:lnTo>
                <a:lnTo>
                  <a:pt x="1964" y="3050"/>
                </a:lnTo>
                <a:lnTo>
                  <a:pt x="1970" y="3058"/>
                </a:lnTo>
                <a:lnTo>
                  <a:pt x="1974" y="3063"/>
                </a:lnTo>
                <a:lnTo>
                  <a:pt x="1978" y="3065"/>
                </a:lnTo>
                <a:lnTo>
                  <a:pt x="1984" y="3069"/>
                </a:lnTo>
                <a:lnTo>
                  <a:pt x="1989" y="3070"/>
                </a:lnTo>
                <a:lnTo>
                  <a:pt x="1994" y="3069"/>
                </a:lnTo>
                <a:lnTo>
                  <a:pt x="1996" y="3063"/>
                </a:lnTo>
                <a:lnTo>
                  <a:pt x="2000" y="3054"/>
                </a:lnTo>
                <a:lnTo>
                  <a:pt x="2002" y="3042"/>
                </a:lnTo>
                <a:lnTo>
                  <a:pt x="2002" y="3031"/>
                </a:lnTo>
                <a:lnTo>
                  <a:pt x="2002" y="3020"/>
                </a:lnTo>
                <a:lnTo>
                  <a:pt x="2000" y="3009"/>
                </a:lnTo>
                <a:lnTo>
                  <a:pt x="1996" y="2997"/>
                </a:lnTo>
                <a:lnTo>
                  <a:pt x="1995" y="2987"/>
                </a:lnTo>
                <a:lnTo>
                  <a:pt x="1993" y="2983"/>
                </a:lnTo>
                <a:lnTo>
                  <a:pt x="1991" y="2977"/>
                </a:lnTo>
                <a:lnTo>
                  <a:pt x="1987" y="2971"/>
                </a:lnTo>
                <a:lnTo>
                  <a:pt x="1984" y="2966"/>
                </a:lnTo>
                <a:lnTo>
                  <a:pt x="1980" y="2960"/>
                </a:lnTo>
                <a:lnTo>
                  <a:pt x="1976" y="2953"/>
                </a:lnTo>
                <a:lnTo>
                  <a:pt x="1974" y="2947"/>
                </a:lnTo>
                <a:lnTo>
                  <a:pt x="1974" y="2941"/>
                </a:lnTo>
                <a:lnTo>
                  <a:pt x="1974" y="2925"/>
                </a:lnTo>
                <a:lnTo>
                  <a:pt x="1978" y="2908"/>
                </a:lnTo>
                <a:lnTo>
                  <a:pt x="1979" y="2901"/>
                </a:lnTo>
                <a:lnTo>
                  <a:pt x="1981" y="2895"/>
                </a:lnTo>
                <a:lnTo>
                  <a:pt x="1984" y="2889"/>
                </a:lnTo>
                <a:lnTo>
                  <a:pt x="1987" y="2886"/>
                </a:lnTo>
                <a:lnTo>
                  <a:pt x="1998" y="2877"/>
                </a:lnTo>
                <a:lnTo>
                  <a:pt x="2018" y="2859"/>
                </a:lnTo>
                <a:lnTo>
                  <a:pt x="2029" y="2850"/>
                </a:lnTo>
                <a:lnTo>
                  <a:pt x="2039" y="2841"/>
                </a:lnTo>
                <a:lnTo>
                  <a:pt x="2048" y="2835"/>
                </a:lnTo>
                <a:lnTo>
                  <a:pt x="2055" y="2831"/>
                </a:lnTo>
                <a:lnTo>
                  <a:pt x="2070" y="2823"/>
                </a:lnTo>
                <a:lnTo>
                  <a:pt x="2084" y="2815"/>
                </a:lnTo>
                <a:lnTo>
                  <a:pt x="2091" y="2810"/>
                </a:lnTo>
                <a:lnTo>
                  <a:pt x="2097" y="2806"/>
                </a:lnTo>
                <a:lnTo>
                  <a:pt x="2101" y="2801"/>
                </a:lnTo>
                <a:lnTo>
                  <a:pt x="2103" y="2798"/>
                </a:lnTo>
                <a:lnTo>
                  <a:pt x="2098" y="2784"/>
                </a:lnTo>
                <a:lnTo>
                  <a:pt x="2093" y="2769"/>
                </a:lnTo>
                <a:lnTo>
                  <a:pt x="2099" y="2753"/>
                </a:lnTo>
                <a:lnTo>
                  <a:pt x="2106" y="2737"/>
                </a:lnTo>
                <a:lnTo>
                  <a:pt x="2110" y="2730"/>
                </a:lnTo>
                <a:lnTo>
                  <a:pt x="2113" y="2723"/>
                </a:lnTo>
                <a:lnTo>
                  <a:pt x="2117" y="2716"/>
                </a:lnTo>
                <a:lnTo>
                  <a:pt x="2122" y="2709"/>
                </a:lnTo>
                <a:lnTo>
                  <a:pt x="2126" y="2700"/>
                </a:lnTo>
                <a:lnTo>
                  <a:pt x="2132" y="2688"/>
                </a:lnTo>
                <a:lnTo>
                  <a:pt x="2135" y="2682"/>
                </a:lnTo>
                <a:lnTo>
                  <a:pt x="2138" y="2677"/>
                </a:lnTo>
                <a:lnTo>
                  <a:pt x="2141" y="2672"/>
                </a:lnTo>
                <a:lnTo>
                  <a:pt x="2143" y="2669"/>
                </a:lnTo>
                <a:lnTo>
                  <a:pt x="2155" y="2665"/>
                </a:lnTo>
                <a:lnTo>
                  <a:pt x="2171" y="2659"/>
                </a:lnTo>
                <a:lnTo>
                  <a:pt x="2180" y="2655"/>
                </a:lnTo>
                <a:lnTo>
                  <a:pt x="2187" y="2652"/>
                </a:lnTo>
                <a:lnTo>
                  <a:pt x="2193" y="2648"/>
                </a:lnTo>
                <a:lnTo>
                  <a:pt x="2196" y="2645"/>
                </a:lnTo>
                <a:lnTo>
                  <a:pt x="2200" y="2642"/>
                </a:lnTo>
                <a:lnTo>
                  <a:pt x="2205" y="2641"/>
                </a:lnTo>
                <a:lnTo>
                  <a:pt x="2210" y="2640"/>
                </a:lnTo>
                <a:lnTo>
                  <a:pt x="2215" y="2640"/>
                </a:lnTo>
                <a:lnTo>
                  <a:pt x="2221" y="2639"/>
                </a:lnTo>
                <a:lnTo>
                  <a:pt x="2226" y="2638"/>
                </a:lnTo>
                <a:lnTo>
                  <a:pt x="2227" y="2637"/>
                </a:lnTo>
                <a:lnTo>
                  <a:pt x="2229" y="2636"/>
                </a:lnTo>
                <a:lnTo>
                  <a:pt x="2229" y="2635"/>
                </a:lnTo>
                <a:lnTo>
                  <a:pt x="2230" y="2633"/>
                </a:lnTo>
                <a:lnTo>
                  <a:pt x="2229" y="2631"/>
                </a:lnTo>
                <a:lnTo>
                  <a:pt x="2228" y="2630"/>
                </a:lnTo>
                <a:lnTo>
                  <a:pt x="2227" y="2627"/>
                </a:lnTo>
                <a:lnTo>
                  <a:pt x="2225" y="2626"/>
                </a:lnTo>
                <a:lnTo>
                  <a:pt x="2220" y="2625"/>
                </a:lnTo>
                <a:lnTo>
                  <a:pt x="2214" y="2623"/>
                </a:lnTo>
                <a:lnTo>
                  <a:pt x="2209" y="2622"/>
                </a:lnTo>
                <a:lnTo>
                  <a:pt x="2205" y="2620"/>
                </a:lnTo>
                <a:lnTo>
                  <a:pt x="2204" y="2619"/>
                </a:lnTo>
                <a:lnTo>
                  <a:pt x="2203" y="2617"/>
                </a:lnTo>
                <a:lnTo>
                  <a:pt x="2203" y="2616"/>
                </a:lnTo>
                <a:lnTo>
                  <a:pt x="2204" y="2613"/>
                </a:lnTo>
                <a:lnTo>
                  <a:pt x="2211" y="2602"/>
                </a:lnTo>
                <a:lnTo>
                  <a:pt x="2221" y="2591"/>
                </a:lnTo>
                <a:lnTo>
                  <a:pt x="2231" y="2579"/>
                </a:lnTo>
                <a:lnTo>
                  <a:pt x="2239" y="2568"/>
                </a:lnTo>
                <a:lnTo>
                  <a:pt x="2247" y="2561"/>
                </a:lnTo>
                <a:lnTo>
                  <a:pt x="2258" y="2554"/>
                </a:lnTo>
                <a:lnTo>
                  <a:pt x="2273" y="2545"/>
                </a:lnTo>
                <a:lnTo>
                  <a:pt x="2289" y="2536"/>
                </a:lnTo>
                <a:lnTo>
                  <a:pt x="2303" y="2528"/>
                </a:lnTo>
                <a:lnTo>
                  <a:pt x="2316" y="2522"/>
                </a:lnTo>
                <a:lnTo>
                  <a:pt x="2320" y="2521"/>
                </a:lnTo>
                <a:lnTo>
                  <a:pt x="2323" y="2518"/>
                </a:lnTo>
                <a:lnTo>
                  <a:pt x="2325" y="2518"/>
                </a:lnTo>
                <a:lnTo>
                  <a:pt x="2325" y="2520"/>
                </a:lnTo>
                <a:lnTo>
                  <a:pt x="2319" y="2527"/>
                </a:lnTo>
                <a:lnTo>
                  <a:pt x="2311" y="2534"/>
                </a:lnTo>
                <a:lnTo>
                  <a:pt x="2308" y="2539"/>
                </a:lnTo>
                <a:lnTo>
                  <a:pt x="2304" y="2544"/>
                </a:lnTo>
                <a:lnTo>
                  <a:pt x="2302" y="2549"/>
                </a:lnTo>
                <a:lnTo>
                  <a:pt x="2302" y="2555"/>
                </a:lnTo>
                <a:lnTo>
                  <a:pt x="2303" y="2566"/>
                </a:lnTo>
                <a:lnTo>
                  <a:pt x="2305" y="2574"/>
                </a:lnTo>
                <a:lnTo>
                  <a:pt x="2306" y="2577"/>
                </a:lnTo>
                <a:lnTo>
                  <a:pt x="2309" y="2578"/>
                </a:lnTo>
                <a:lnTo>
                  <a:pt x="2312" y="2579"/>
                </a:lnTo>
                <a:lnTo>
                  <a:pt x="2317" y="2578"/>
                </a:lnTo>
                <a:lnTo>
                  <a:pt x="2321" y="2576"/>
                </a:lnTo>
                <a:lnTo>
                  <a:pt x="2325" y="2574"/>
                </a:lnTo>
                <a:lnTo>
                  <a:pt x="2330" y="2571"/>
                </a:lnTo>
                <a:lnTo>
                  <a:pt x="2333" y="2567"/>
                </a:lnTo>
                <a:lnTo>
                  <a:pt x="2338" y="2562"/>
                </a:lnTo>
                <a:lnTo>
                  <a:pt x="2343" y="2558"/>
                </a:lnTo>
                <a:lnTo>
                  <a:pt x="2352" y="2553"/>
                </a:lnTo>
                <a:lnTo>
                  <a:pt x="2361" y="2548"/>
                </a:lnTo>
                <a:lnTo>
                  <a:pt x="2381" y="2537"/>
                </a:lnTo>
                <a:lnTo>
                  <a:pt x="2397" y="2530"/>
                </a:lnTo>
                <a:lnTo>
                  <a:pt x="2409" y="2524"/>
                </a:lnTo>
                <a:lnTo>
                  <a:pt x="2419" y="2517"/>
                </a:lnTo>
                <a:lnTo>
                  <a:pt x="2429" y="2513"/>
                </a:lnTo>
                <a:lnTo>
                  <a:pt x="2442" y="2509"/>
                </a:lnTo>
                <a:lnTo>
                  <a:pt x="2446" y="2506"/>
                </a:lnTo>
                <a:lnTo>
                  <a:pt x="2450" y="2504"/>
                </a:lnTo>
                <a:lnTo>
                  <a:pt x="2451" y="2502"/>
                </a:lnTo>
                <a:lnTo>
                  <a:pt x="2451" y="2500"/>
                </a:lnTo>
                <a:lnTo>
                  <a:pt x="2451" y="2498"/>
                </a:lnTo>
                <a:lnTo>
                  <a:pt x="2450" y="2495"/>
                </a:lnTo>
                <a:lnTo>
                  <a:pt x="2445" y="2482"/>
                </a:lnTo>
                <a:lnTo>
                  <a:pt x="2439" y="2467"/>
                </a:lnTo>
                <a:lnTo>
                  <a:pt x="2435" y="2461"/>
                </a:lnTo>
                <a:lnTo>
                  <a:pt x="2432" y="2457"/>
                </a:lnTo>
                <a:lnTo>
                  <a:pt x="2430" y="2456"/>
                </a:lnTo>
                <a:lnTo>
                  <a:pt x="2429" y="2455"/>
                </a:lnTo>
                <a:lnTo>
                  <a:pt x="2427" y="2455"/>
                </a:lnTo>
                <a:lnTo>
                  <a:pt x="2426" y="2457"/>
                </a:lnTo>
                <a:lnTo>
                  <a:pt x="2417" y="2465"/>
                </a:lnTo>
                <a:lnTo>
                  <a:pt x="2407" y="2477"/>
                </a:lnTo>
                <a:lnTo>
                  <a:pt x="2399" y="2486"/>
                </a:lnTo>
                <a:lnTo>
                  <a:pt x="2395" y="2490"/>
                </a:lnTo>
                <a:lnTo>
                  <a:pt x="2345" y="2466"/>
                </a:lnTo>
                <a:lnTo>
                  <a:pt x="2343" y="2469"/>
                </a:lnTo>
                <a:lnTo>
                  <a:pt x="2338" y="2472"/>
                </a:lnTo>
                <a:lnTo>
                  <a:pt x="2336" y="2473"/>
                </a:lnTo>
                <a:lnTo>
                  <a:pt x="2334" y="2473"/>
                </a:lnTo>
                <a:lnTo>
                  <a:pt x="2332" y="2471"/>
                </a:lnTo>
                <a:lnTo>
                  <a:pt x="2332" y="2465"/>
                </a:lnTo>
                <a:lnTo>
                  <a:pt x="2332" y="2459"/>
                </a:lnTo>
                <a:lnTo>
                  <a:pt x="2333" y="2454"/>
                </a:lnTo>
                <a:lnTo>
                  <a:pt x="2335" y="2448"/>
                </a:lnTo>
                <a:lnTo>
                  <a:pt x="2336" y="2444"/>
                </a:lnTo>
                <a:lnTo>
                  <a:pt x="2340" y="2439"/>
                </a:lnTo>
                <a:lnTo>
                  <a:pt x="2341" y="2437"/>
                </a:lnTo>
                <a:lnTo>
                  <a:pt x="2343" y="2439"/>
                </a:lnTo>
                <a:lnTo>
                  <a:pt x="2348" y="2442"/>
                </a:lnTo>
                <a:lnTo>
                  <a:pt x="2351" y="2443"/>
                </a:lnTo>
                <a:lnTo>
                  <a:pt x="2354" y="2442"/>
                </a:lnTo>
                <a:lnTo>
                  <a:pt x="2355" y="2440"/>
                </a:lnTo>
                <a:lnTo>
                  <a:pt x="2356" y="2435"/>
                </a:lnTo>
                <a:lnTo>
                  <a:pt x="2357" y="2423"/>
                </a:lnTo>
                <a:lnTo>
                  <a:pt x="2357" y="2413"/>
                </a:lnTo>
                <a:lnTo>
                  <a:pt x="2357" y="2404"/>
                </a:lnTo>
                <a:lnTo>
                  <a:pt x="2358" y="2398"/>
                </a:lnTo>
                <a:lnTo>
                  <a:pt x="2358" y="2397"/>
                </a:lnTo>
                <a:lnTo>
                  <a:pt x="2356" y="2396"/>
                </a:lnTo>
                <a:lnTo>
                  <a:pt x="2352" y="2395"/>
                </a:lnTo>
                <a:lnTo>
                  <a:pt x="2347" y="2395"/>
                </a:lnTo>
                <a:lnTo>
                  <a:pt x="2336" y="2394"/>
                </a:lnTo>
                <a:lnTo>
                  <a:pt x="2322" y="2394"/>
                </a:lnTo>
                <a:lnTo>
                  <a:pt x="2309" y="2393"/>
                </a:lnTo>
                <a:lnTo>
                  <a:pt x="2297" y="2391"/>
                </a:lnTo>
                <a:lnTo>
                  <a:pt x="2293" y="2390"/>
                </a:lnTo>
                <a:lnTo>
                  <a:pt x="2290" y="2389"/>
                </a:lnTo>
                <a:lnTo>
                  <a:pt x="2288" y="2386"/>
                </a:lnTo>
                <a:lnTo>
                  <a:pt x="2288" y="2384"/>
                </a:lnTo>
                <a:lnTo>
                  <a:pt x="2289" y="2382"/>
                </a:lnTo>
                <a:lnTo>
                  <a:pt x="2291" y="2380"/>
                </a:lnTo>
                <a:lnTo>
                  <a:pt x="2295" y="2378"/>
                </a:lnTo>
                <a:lnTo>
                  <a:pt x="2299" y="2377"/>
                </a:lnTo>
                <a:lnTo>
                  <a:pt x="2310" y="2373"/>
                </a:lnTo>
                <a:lnTo>
                  <a:pt x="2322" y="2371"/>
                </a:lnTo>
                <a:lnTo>
                  <a:pt x="2334" y="2369"/>
                </a:lnTo>
                <a:lnTo>
                  <a:pt x="2345" y="2368"/>
                </a:lnTo>
                <a:lnTo>
                  <a:pt x="2349" y="2368"/>
                </a:lnTo>
                <a:lnTo>
                  <a:pt x="2353" y="2368"/>
                </a:lnTo>
                <a:lnTo>
                  <a:pt x="2355" y="2369"/>
                </a:lnTo>
                <a:lnTo>
                  <a:pt x="2356" y="2370"/>
                </a:lnTo>
                <a:lnTo>
                  <a:pt x="2359" y="2375"/>
                </a:lnTo>
                <a:lnTo>
                  <a:pt x="2363" y="2380"/>
                </a:lnTo>
                <a:lnTo>
                  <a:pt x="2368" y="2385"/>
                </a:lnTo>
                <a:lnTo>
                  <a:pt x="2375" y="2392"/>
                </a:lnTo>
                <a:lnTo>
                  <a:pt x="2379" y="2395"/>
                </a:lnTo>
                <a:lnTo>
                  <a:pt x="2384" y="2398"/>
                </a:lnTo>
                <a:lnTo>
                  <a:pt x="2389" y="2400"/>
                </a:lnTo>
                <a:lnTo>
                  <a:pt x="2396" y="2402"/>
                </a:lnTo>
                <a:lnTo>
                  <a:pt x="2400" y="2403"/>
                </a:lnTo>
                <a:lnTo>
                  <a:pt x="2404" y="2403"/>
                </a:lnTo>
                <a:lnTo>
                  <a:pt x="2405" y="2402"/>
                </a:lnTo>
                <a:lnTo>
                  <a:pt x="2405" y="2401"/>
                </a:lnTo>
                <a:lnTo>
                  <a:pt x="2406" y="2399"/>
                </a:lnTo>
                <a:lnTo>
                  <a:pt x="2405" y="2397"/>
                </a:lnTo>
                <a:lnTo>
                  <a:pt x="2402" y="2392"/>
                </a:lnTo>
                <a:lnTo>
                  <a:pt x="2397" y="2385"/>
                </a:lnTo>
                <a:lnTo>
                  <a:pt x="2389" y="2379"/>
                </a:lnTo>
                <a:lnTo>
                  <a:pt x="2383" y="2373"/>
                </a:lnTo>
                <a:lnTo>
                  <a:pt x="2378" y="2368"/>
                </a:lnTo>
                <a:lnTo>
                  <a:pt x="2374" y="2363"/>
                </a:lnTo>
                <a:lnTo>
                  <a:pt x="2374" y="2362"/>
                </a:lnTo>
                <a:lnTo>
                  <a:pt x="2374" y="2361"/>
                </a:lnTo>
                <a:lnTo>
                  <a:pt x="2375" y="2361"/>
                </a:lnTo>
                <a:lnTo>
                  <a:pt x="2377" y="2361"/>
                </a:lnTo>
                <a:lnTo>
                  <a:pt x="2390" y="2366"/>
                </a:lnTo>
                <a:lnTo>
                  <a:pt x="2405" y="2370"/>
                </a:lnTo>
                <a:lnTo>
                  <a:pt x="2412" y="2371"/>
                </a:lnTo>
                <a:lnTo>
                  <a:pt x="2420" y="2371"/>
                </a:lnTo>
                <a:lnTo>
                  <a:pt x="2425" y="2371"/>
                </a:lnTo>
                <a:lnTo>
                  <a:pt x="2430" y="2368"/>
                </a:lnTo>
                <a:lnTo>
                  <a:pt x="2444" y="2355"/>
                </a:lnTo>
                <a:lnTo>
                  <a:pt x="2465" y="2336"/>
                </a:lnTo>
                <a:lnTo>
                  <a:pt x="2474" y="2328"/>
                </a:lnTo>
                <a:lnTo>
                  <a:pt x="2484" y="2321"/>
                </a:lnTo>
                <a:lnTo>
                  <a:pt x="2487" y="2319"/>
                </a:lnTo>
                <a:lnTo>
                  <a:pt x="2490" y="2319"/>
                </a:lnTo>
                <a:lnTo>
                  <a:pt x="2492" y="2319"/>
                </a:lnTo>
                <a:lnTo>
                  <a:pt x="2493" y="2321"/>
                </a:lnTo>
                <a:lnTo>
                  <a:pt x="2494" y="2326"/>
                </a:lnTo>
                <a:lnTo>
                  <a:pt x="2493" y="2331"/>
                </a:lnTo>
                <a:lnTo>
                  <a:pt x="2491" y="2337"/>
                </a:lnTo>
                <a:lnTo>
                  <a:pt x="2489" y="2345"/>
                </a:lnTo>
                <a:lnTo>
                  <a:pt x="2481" y="2362"/>
                </a:lnTo>
                <a:lnTo>
                  <a:pt x="2474" y="2381"/>
                </a:lnTo>
                <a:lnTo>
                  <a:pt x="2467" y="2399"/>
                </a:lnTo>
                <a:lnTo>
                  <a:pt x="2461" y="2416"/>
                </a:lnTo>
                <a:lnTo>
                  <a:pt x="2458" y="2422"/>
                </a:lnTo>
                <a:lnTo>
                  <a:pt x="2457" y="2427"/>
                </a:lnTo>
                <a:lnTo>
                  <a:pt x="2456" y="2432"/>
                </a:lnTo>
                <a:lnTo>
                  <a:pt x="2457" y="2435"/>
                </a:lnTo>
                <a:lnTo>
                  <a:pt x="2464" y="2438"/>
                </a:lnTo>
                <a:lnTo>
                  <a:pt x="2473" y="2440"/>
                </a:lnTo>
                <a:lnTo>
                  <a:pt x="2486" y="2443"/>
                </a:lnTo>
                <a:lnTo>
                  <a:pt x="2499" y="2445"/>
                </a:lnTo>
                <a:lnTo>
                  <a:pt x="2512" y="2447"/>
                </a:lnTo>
                <a:lnTo>
                  <a:pt x="2522" y="2449"/>
                </a:lnTo>
                <a:lnTo>
                  <a:pt x="2527" y="2450"/>
                </a:lnTo>
                <a:lnTo>
                  <a:pt x="2530" y="2451"/>
                </a:lnTo>
                <a:lnTo>
                  <a:pt x="2532" y="2452"/>
                </a:lnTo>
                <a:lnTo>
                  <a:pt x="2532" y="2454"/>
                </a:lnTo>
                <a:lnTo>
                  <a:pt x="2524" y="2457"/>
                </a:lnTo>
                <a:lnTo>
                  <a:pt x="2512" y="2460"/>
                </a:lnTo>
                <a:lnTo>
                  <a:pt x="2507" y="2462"/>
                </a:lnTo>
                <a:lnTo>
                  <a:pt x="2505" y="2465"/>
                </a:lnTo>
                <a:lnTo>
                  <a:pt x="2503" y="2467"/>
                </a:lnTo>
                <a:lnTo>
                  <a:pt x="2505" y="2469"/>
                </a:lnTo>
                <a:lnTo>
                  <a:pt x="2507" y="2471"/>
                </a:lnTo>
                <a:lnTo>
                  <a:pt x="2510" y="2473"/>
                </a:lnTo>
                <a:lnTo>
                  <a:pt x="2522" y="2484"/>
                </a:lnTo>
                <a:lnTo>
                  <a:pt x="2532" y="2489"/>
                </a:lnTo>
                <a:lnTo>
                  <a:pt x="2536" y="2490"/>
                </a:lnTo>
                <a:lnTo>
                  <a:pt x="2540" y="2490"/>
                </a:lnTo>
                <a:lnTo>
                  <a:pt x="2544" y="2487"/>
                </a:lnTo>
                <a:lnTo>
                  <a:pt x="2547" y="2483"/>
                </a:lnTo>
                <a:lnTo>
                  <a:pt x="2553" y="2472"/>
                </a:lnTo>
                <a:lnTo>
                  <a:pt x="2558" y="2465"/>
                </a:lnTo>
                <a:lnTo>
                  <a:pt x="2560" y="2462"/>
                </a:lnTo>
                <a:lnTo>
                  <a:pt x="2562" y="2461"/>
                </a:lnTo>
                <a:lnTo>
                  <a:pt x="2564" y="2461"/>
                </a:lnTo>
                <a:lnTo>
                  <a:pt x="2566" y="2462"/>
                </a:lnTo>
                <a:lnTo>
                  <a:pt x="2577" y="2471"/>
                </a:lnTo>
                <a:lnTo>
                  <a:pt x="2584" y="2474"/>
                </a:lnTo>
                <a:lnTo>
                  <a:pt x="2586" y="2474"/>
                </a:lnTo>
                <a:lnTo>
                  <a:pt x="2590" y="2473"/>
                </a:lnTo>
                <a:lnTo>
                  <a:pt x="2594" y="2472"/>
                </a:lnTo>
                <a:lnTo>
                  <a:pt x="2597" y="2470"/>
                </a:lnTo>
                <a:lnTo>
                  <a:pt x="2600" y="2468"/>
                </a:lnTo>
                <a:lnTo>
                  <a:pt x="2602" y="2464"/>
                </a:lnTo>
                <a:lnTo>
                  <a:pt x="2606" y="2457"/>
                </a:lnTo>
                <a:lnTo>
                  <a:pt x="2609" y="2447"/>
                </a:lnTo>
                <a:lnTo>
                  <a:pt x="2609" y="2443"/>
                </a:lnTo>
                <a:lnTo>
                  <a:pt x="2609" y="2438"/>
                </a:lnTo>
                <a:lnTo>
                  <a:pt x="2608" y="2432"/>
                </a:lnTo>
                <a:lnTo>
                  <a:pt x="2607" y="2425"/>
                </a:lnTo>
                <a:lnTo>
                  <a:pt x="2605" y="2421"/>
                </a:lnTo>
                <a:lnTo>
                  <a:pt x="2603" y="2417"/>
                </a:lnTo>
                <a:lnTo>
                  <a:pt x="2600" y="2414"/>
                </a:lnTo>
                <a:lnTo>
                  <a:pt x="2597" y="2410"/>
                </a:lnTo>
                <a:lnTo>
                  <a:pt x="2587" y="2402"/>
                </a:lnTo>
                <a:lnTo>
                  <a:pt x="2578" y="2395"/>
                </a:lnTo>
                <a:lnTo>
                  <a:pt x="2557" y="2381"/>
                </a:lnTo>
                <a:lnTo>
                  <a:pt x="2540" y="2374"/>
                </a:lnTo>
                <a:lnTo>
                  <a:pt x="2535" y="2371"/>
                </a:lnTo>
                <a:lnTo>
                  <a:pt x="2531" y="2368"/>
                </a:lnTo>
                <a:lnTo>
                  <a:pt x="2527" y="2364"/>
                </a:lnTo>
                <a:lnTo>
                  <a:pt x="2523" y="2361"/>
                </a:lnTo>
                <a:lnTo>
                  <a:pt x="2521" y="2357"/>
                </a:lnTo>
                <a:lnTo>
                  <a:pt x="2520" y="2354"/>
                </a:lnTo>
                <a:lnTo>
                  <a:pt x="2521" y="2351"/>
                </a:lnTo>
                <a:lnTo>
                  <a:pt x="2522" y="2349"/>
                </a:lnTo>
                <a:lnTo>
                  <a:pt x="2528" y="2341"/>
                </a:lnTo>
                <a:lnTo>
                  <a:pt x="2534" y="2333"/>
                </a:lnTo>
                <a:lnTo>
                  <a:pt x="2539" y="2325"/>
                </a:lnTo>
                <a:lnTo>
                  <a:pt x="2542" y="2318"/>
                </a:lnTo>
                <a:lnTo>
                  <a:pt x="2542" y="2314"/>
                </a:lnTo>
                <a:lnTo>
                  <a:pt x="2541" y="2310"/>
                </a:lnTo>
                <a:lnTo>
                  <a:pt x="2539" y="2304"/>
                </a:lnTo>
                <a:lnTo>
                  <a:pt x="2537" y="2297"/>
                </a:lnTo>
                <a:lnTo>
                  <a:pt x="2532" y="2286"/>
                </a:lnTo>
                <a:lnTo>
                  <a:pt x="2530" y="2280"/>
                </a:lnTo>
                <a:lnTo>
                  <a:pt x="2533" y="2274"/>
                </a:lnTo>
                <a:lnTo>
                  <a:pt x="2538" y="2263"/>
                </a:lnTo>
                <a:lnTo>
                  <a:pt x="2540" y="2255"/>
                </a:lnTo>
                <a:lnTo>
                  <a:pt x="2540" y="2249"/>
                </a:lnTo>
                <a:lnTo>
                  <a:pt x="2540" y="2246"/>
                </a:lnTo>
                <a:lnTo>
                  <a:pt x="2539" y="2243"/>
                </a:lnTo>
                <a:lnTo>
                  <a:pt x="2538" y="2240"/>
                </a:lnTo>
                <a:lnTo>
                  <a:pt x="2535" y="2238"/>
                </a:lnTo>
                <a:lnTo>
                  <a:pt x="2523" y="2227"/>
                </a:lnTo>
                <a:lnTo>
                  <a:pt x="2511" y="2218"/>
                </a:lnTo>
                <a:lnTo>
                  <a:pt x="2505" y="2215"/>
                </a:lnTo>
                <a:lnTo>
                  <a:pt x="2499" y="2213"/>
                </a:lnTo>
                <a:lnTo>
                  <a:pt x="2496" y="2211"/>
                </a:lnTo>
                <a:lnTo>
                  <a:pt x="2494" y="2211"/>
                </a:lnTo>
                <a:lnTo>
                  <a:pt x="2491" y="2213"/>
                </a:lnTo>
                <a:lnTo>
                  <a:pt x="2489" y="2214"/>
                </a:lnTo>
                <a:lnTo>
                  <a:pt x="2474" y="2222"/>
                </a:lnTo>
                <a:lnTo>
                  <a:pt x="2454" y="2233"/>
                </a:lnTo>
                <a:lnTo>
                  <a:pt x="2445" y="2239"/>
                </a:lnTo>
                <a:lnTo>
                  <a:pt x="2439" y="2242"/>
                </a:lnTo>
                <a:lnTo>
                  <a:pt x="2436" y="2243"/>
                </a:lnTo>
                <a:lnTo>
                  <a:pt x="2435" y="2243"/>
                </a:lnTo>
                <a:lnTo>
                  <a:pt x="2436" y="2242"/>
                </a:lnTo>
                <a:lnTo>
                  <a:pt x="2437" y="2240"/>
                </a:lnTo>
                <a:lnTo>
                  <a:pt x="2453" y="2230"/>
                </a:lnTo>
                <a:lnTo>
                  <a:pt x="2472" y="2219"/>
                </a:lnTo>
                <a:lnTo>
                  <a:pt x="2479" y="2214"/>
                </a:lnTo>
                <a:lnTo>
                  <a:pt x="2485" y="2207"/>
                </a:lnTo>
                <a:lnTo>
                  <a:pt x="2486" y="2204"/>
                </a:lnTo>
                <a:lnTo>
                  <a:pt x="2487" y="2200"/>
                </a:lnTo>
                <a:lnTo>
                  <a:pt x="2486" y="2197"/>
                </a:lnTo>
                <a:lnTo>
                  <a:pt x="2483" y="2194"/>
                </a:lnTo>
                <a:lnTo>
                  <a:pt x="2476" y="2187"/>
                </a:lnTo>
                <a:lnTo>
                  <a:pt x="2470" y="2183"/>
                </a:lnTo>
                <a:lnTo>
                  <a:pt x="2463" y="2180"/>
                </a:lnTo>
                <a:lnTo>
                  <a:pt x="2456" y="2177"/>
                </a:lnTo>
                <a:lnTo>
                  <a:pt x="2450" y="2175"/>
                </a:lnTo>
                <a:lnTo>
                  <a:pt x="2444" y="2172"/>
                </a:lnTo>
                <a:lnTo>
                  <a:pt x="2440" y="2169"/>
                </a:lnTo>
                <a:lnTo>
                  <a:pt x="2435" y="2164"/>
                </a:lnTo>
                <a:lnTo>
                  <a:pt x="2427" y="2150"/>
                </a:lnTo>
                <a:lnTo>
                  <a:pt x="2415" y="2132"/>
                </a:lnTo>
                <a:lnTo>
                  <a:pt x="2405" y="2116"/>
                </a:lnTo>
                <a:lnTo>
                  <a:pt x="2400" y="2110"/>
                </a:lnTo>
                <a:lnTo>
                  <a:pt x="2402" y="2107"/>
                </a:lnTo>
                <a:lnTo>
                  <a:pt x="2405" y="2100"/>
                </a:lnTo>
                <a:lnTo>
                  <a:pt x="2407" y="2097"/>
                </a:lnTo>
                <a:lnTo>
                  <a:pt x="2407" y="2093"/>
                </a:lnTo>
                <a:lnTo>
                  <a:pt x="2407" y="2089"/>
                </a:lnTo>
                <a:lnTo>
                  <a:pt x="2405" y="2085"/>
                </a:lnTo>
                <a:lnTo>
                  <a:pt x="2397" y="2068"/>
                </a:lnTo>
                <a:lnTo>
                  <a:pt x="2384" y="2041"/>
                </a:lnTo>
                <a:lnTo>
                  <a:pt x="2374" y="2016"/>
                </a:lnTo>
                <a:lnTo>
                  <a:pt x="2369" y="2004"/>
                </a:lnTo>
                <a:lnTo>
                  <a:pt x="2365" y="1995"/>
                </a:lnTo>
                <a:lnTo>
                  <a:pt x="2355" y="1976"/>
                </a:lnTo>
                <a:lnTo>
                  <a:pt x="2348" y="1966"/>
                </a:lnTo>
                <a:lnTo>
                  <a:pt x="2343" y="1960"/>
                </a:lnTo>
                <a:lnTo>
                  <a:pt x="2340" y="1958"/>
                </a:lnTo>
                <a:lnTo>
                  <a:pt x="2338" y="1958"/>
                </a:lnTo>
                <a:lnTo>
                  <a:pt x="2336" y="1959"/>
                </a:lnTo>
                <a:lnTo>
                  <a:pt x="2335" y="1961"/>
                </a:lnTo>
                <a:lnTo>
                  <a:pt x="2332" y="1972"/>
                </a:lnTo>
                <a:lnTo>
                  <a:pt x="2324" y="1985"/>
                </a:lnTo>
                <a:lnTo>
                  <a:pt x="2317" y="2001"/>
                </a:lnTo>
                <a:lnTo>
                  <a:pt x="2308" y="2018"/>
                </a:lnTo>
                <a:lnTo>
                  <a:pt x="2297" y="2032"/>
                </a:lnTo>
                <a:lnTo>
                  <a:pt x="2287" y="2044"/>
                </a:lnTo>
                <a:lnTo>
                  <a:pt x="2282" y="2048"/>
                </a:lnTo>
                <a:lnTo>
                  <a:pt x="2278" y="2050"/>
                </a:lnTo>
                <a:lnTo>
                  <a:pt x="2274" y="2051"/>
                </a:lnTo>
                <a:lnTo>
                  <a:pt x="2270" y="2050"/>
                </a:lnTo>
                <a:lnTo>
                  <a:pt x="2264" y="2045"/>
                </a:lnTo>
                <a:lnTo>
                  <a:pt x="2256" y="2040"/>
                </a:lnTo>
                <a:lnTo>
                  <a:pt x="2250" y="2034"/>
                </a:lnTo>
                <a:lnTo>
                  <a:pt x="2245" y="2028"/>
                </a:lnTo>
                <a:lnTo>
                  <a:pt x="2240" y="2023"/>
                </a:lnTo>
                <a:lnTo>
                  <a:pt x="2237" y="2017"/>
                </a:lnTo>
                <a:lnTo>
                  <a:pt x="2235" y="2011"/>
                </a:lnTo>
                <a:lnTo>
                  <a:pt x="2234" y="2007"/>
                </a:lnTo>
                <a:lnTo>
                  <a:pt x="2236" y="1994"/>
                </a:lnTo>
                <a:lnTo>
                  <a:pt x="2236" y="1974"/>
                </a:lnTo>
                <a:lnTo>
                  <a:pt x="2236" y="1963"/>
                </a:lnTo>
                <a:lnTo>
                  <a:pt x="2234" y="1954"/>
                </a:lnTo>
                <a:lnTo>
                  <a:pt x="2234" y="1951"/>
                </a:lnTo>
                <a:lnTo>
                  <a:pt x="2232" y="1946"/>
                </a:lnTo>
                <a:lnTo>
                  <a:pt x="2231" y="1944"/>
                </a:lnTo>
                <a:lnTo>
                  <a:pt x="2229" y="1942"/>
                </a:lnTo>
                <a:lnTo>
                  <a:pt x="2216" y="1936"/>
                </a:lnTo>
                <a:lnTo>
                  <a:pt x="2198" y="1929"/>
                </a:lnTo>
                <a:lnTo>
                  <a:pt x="2189" y="1924"/>
                </a:lnTo>
                <a:lnTo>
                  <a:pt x="2181" y="1920"/>
                </a:lnTo>
                <a:lnTo>
                  <a:pt x="2178" y="1918"/>
                </a:lnTo>
                <a:lnTo>
                  <a:pt x="2176" y="1916"/>
                </a:lnTo>
                <a:lnTo>
                  <a:pt x="2174" y="1913"/>
                </a:lnTo>
                <a:lnTo>
                  <a:pt x="2173" y="1911"/>
                </a:lnTo>
                <a:lnTo>
                  <a:pt x="2172" y="1906"/>
                </a:lnTo>
                <a:lnTo>
                  <a:pt x="2169" y="1898"/>
                </a:lnTo>
                <a:lnTo>
                  <a:pt x="2165" y="1891"/>
                </a:lnTo>
                <a:lnTo>
                  <a:pt x="2160" y="1885"/>
                </a:lnTo>
                <a:lnTo>
                  <a:pt x="2150" y="1871"/>
                </a:lnTo>
                <a:lnTo>
                  <a:pt x="2144" y="1865"/>
                </a:lnTo>
                <a:lnTo>
                  <a:pt x="2136" y="1860"/>
                </a:lnTo>
                <a:lnTo>
                  <a:pt x="2125" y="1858"/>
                </a:lnTo>
                <a:lnTo>
                  <a:pt x="2121" y="1857"/>
                </a:lnTo>
                <a:lnTo>
                  <a:pt x="2116" y="1857"/>
                </a:lnTo>
                <a:lnTo>
                  <a:pt x="2114" y="1858"/>
                </a:lnTo>
                <a:lnTo>
                  <a:pt x="2112" y="1860"/>
                </a:lnTo>
                <a:lnTo>
                  <a:pt x="2113" y="1866"/>
                </a:lnTo>
                <a:lnTo>
                  <a:pt x="2113" y="1871"/>
                </a:lnTo>
                <a:lnTo>
                  <a:pt x="2112" y="1872"/>
                </a:lnTo>
                <a:lnTo>
                  <a:pt x="2111" y="1874"/>
                </a:lnTo>
                <a:lnTo>
                  <a:pt x="2108" y="1874"/>
                </a:lnTo>
                <a:lnTo>
                  <a:pt x="2105" y="1873"/>
                </a:lnTo>
                <a:lnTo>
                  <a:pt x="2098" y="1870"/>
                </a:lnTo>
                <a:lnTo>
                  <a:pt x="2091" y="1866"/>
                </a:lnTo>
                <a:lnTo>
                  <a:pt x="2083" y="1863"/>
                </a:lnTo>
                <a:lnTo>
                  <a:pt x="2078" y="1863"/>
                </a:lnTo>
                <a:lnTo>
                  <a:pt x="2070" y="1863"/>
                </a:lnTo>
                <a:lnTo>
                  <a:pt x="2060" y="1863"/>
                </a:lnTo>
                <a:lnTo>
                  <a:pt x="2054" y="1864"/>
                </a:lnTo>
                <a:lnTo>
                  <a:pt x="2050" y="1865"/>
                </a:lnTo>
                <a:lnTo>
                  <a:pt x="2046" y="1868"/>
                </a:lnTo>
                <a:lnTo>
                  <a:pt x="2044" y="1873"/>
                </a:lnTo>
                <a:lnTo>
                  <a:pt x="2041" y="1879"/>
                </a:lnTo>
                <a:lnTo>
                  <a:pt x="2041" y="1887"/>
                </a:lnTo>
                <a:lnTo>
                  <a:pt x="2042" y="1896"/>
                </a:lnTo>
                <a:lnTo>
                  <a:pt x="2044" y="1906"/>
                </a:lnTo>
                <a:lnTo>
                  <a:pt x="2044" y="1915"/>
                </a:lnTo>
                <a:lnTo>
                  <a:pt x="2044" y="1923"/>
                </a:lnTo>
                <a:lnTo>
                  <a:pt x="2044" y="1931"/>
                </a:lnTo>
                <a:lnTo>
                  <a:pt x="2041" y="1936"/>
                </a:lnTo>
                <a:lnTo>
                  <a:pt x="2036" y="1943"/>
                </a:lnTo>
                <a:lnTo>
                  <a:pt x="2035" y="1948"/>
                </a:lnTo>
                <a:lnTo>
                  <a:pt x="2036" y="1953"/>
                </a:lnTo>
                <a:lnTo>
                  <a:pt x="2040" y="1960"/>
                </a:lnTo>
                <a:lnTo>
                  <a:pt x="2044" y="1967"/>
                </a:lnTo>
                <a:lnTo>
                  <a:pt x="2047" y="1975"/>
                </a:lnTo>
                <a:lnTo>
                  <a:pt x="2047" y="1979"/>
                </a:lnTo>
                <a:lnTo>
                  <a:pt x="2047" y="1982"/>
                </a:lnTo>
                <a:lnTo>
                  <a:pt x="2047" y="1986"/>
                </a:lnTo>
                <a:lnTo>
                  <a:pt x="2045" y="1989"/>
                </a:lnTo>
                <a:lnTo>
                  <a:pt x="2037" y="1996"/>
                </a:lnTo>
                <a:lnTo>
                  <a:pt x="2026" y="2002"/>
                </a:lnTo>
                <a:lnTo>
                  <a:pt x="2024" y="2004"/>
                </a:lnTo>
                <a:lnTo>
                  <a:pt x="2022" y="2006"/>
                </a:lnTo>
                <a:lnTo>
                  <a:pt x="2022" y="2009"/>
                </a:lnTo>
                <a:lnTo>
                  <a:pt x="2022" y="2013"/>
                </a:lnTo>
                <a:lnTo>
                  <a:pt x="2024" y="2018"/>
                </a:lnTo>
                <a:lnTo>
                  <a:pt x="2027" y="2023"/>
                </a:lnTo>
                <a:lnTo>
                  <a:pt x="2032" y="2029"/>
                </a:lnTo>
                <a:lnTo>
                  <a:pt x="2038" y="2035"/>
                </a:lnTo>
                <a:lnTo>
                  <a:pt x="2051" y="2050"/>
                </a:lnTo>
                <a:lnTo>
                  <a:pt x="2060" y="2063"/>
                </a:lnTo>
                <a:lnTo>
                  <a:pt x="2067" y="2073"/>
                </a:lnTo>
                <a:lnTo>
                  <a:pt x="2071" y="2084"/>
                </a:lnTo>
                <a:lnTo>
                  <a:pt x="2073" y="2093"/>
                </a:lnTo>
                <a:lnTo>
                  <a:pt x="2073" y="2103"/>
                </a:lnTo>
                <a:lnTo>
                  <a:pt x="2071" y="2112"/>
                </a:lnTo>
                <a:lnTo>
                  <a:pt x="2069" y="2121"/>
                </a:lnTo>
                <a:lnTo>
                  <a:pt x="2066" y="2131"/>
                </a:lnTo>
                <a:lnTo>
                  <a:pt x="2060" y="2140"/>
                </a:lnTo>
                <a:lnTo>
                  <a:pt x="2054" y="2151"/>
                </a:lnTo>
                <a:lnTo>
                  <a:pt x="2048" y="2159"/>
                </a:lnTo>
                <a:lnTo>
                  <a:pt x="2034" y="2175"/>
                </a:lnTo>
                <a:lnTo>
                  <a:pt x="2025" y="2184"/>
                </a:lnTo>
                <a:lnTo>
                  <a:pt x="2018" y="2188"/>
                </a:lnTo>
                <a:lnTo>
                  <a:pt x="2012" y="2193"/>
                </a:lnTo>
                <a:lnTo>
                  <a:pt x="2010" y="2196"/>
                </a:lnTo>
                <a:lnTo>
                  <a:pt x="2009" y="2198"/>
                </a:lnTo>
                <a:lnTo>
                  <a:pt x="2008" y="2201"/>
                </a:lnTo>
                <a:lnTo>
                  <a:pt x="2009" y="2204"/>
                </a:lnTo>
                <a:lnTo>
                  <a:pt x="2010" y="2214"/>
                </a:lnTo>
                <a:lnTo>
                  <a:pt x="2011" y="2225"/>
                </a:lnTo>
                <a:lnTo>
                  <a:pt x="2011" y="2237"/>
                </a:lnTo>
                <a:lnTo>
                  <a:pt x="2010" y="2244"/>
                </a:lnTo>
                <a:lnTo>
                  <a:pt x="2011" y="2250"/>
                </a:lnTo>
                <a:lnTo>
                  <a:pt x="2014" y="2260"/>
                </a:lnTo>
                <a:lnTo>
                  <a:pt x="2017" y="2269"/>
                </a:lnTo>
                <a:lnTo>
                  <a:pt x="2018" y="2276"/>
                </a:lnTo>
                <a:lnTo>
                  <a:pt x="2018" y="2288"/>
                </a:lnTo>
                <a:lnTo>
                  <a:pt x="2017" y="2303"/>
                </a:lnTo>
                <a:lnTo>
                  <a:pt x="2015" y="2309"/>
                </a:lnTo>
                <a:lnTo>
                  <a:pt x="2012" y="2314"/>
                </a:lnTo>
                <a:lnTo>
                  <a:pt x="2010" y="2316"/>
                </a:lnTo>
                <a:lnTo>
                  <a:pt x="2008" y="2317"/>
                </a:lnTo>
                <a:lnTo>
                  <a:pt x="2005" y="2318"/>
                </a:lnTo>
                <a:lnTo>
                  <a:pt x="2002" y="2318"/>
                </a:lnTo>
                <a:lnTo>
                  <a:pt x="1996" y="2316"/>
                </a:lnTo>
                <a:lnTo>
                  <a:pt x="1991" y="2313"/>
                </a:lnTo>
                <a:lnTo>
                  <a:pt x="1986" y="2309"/>
                </a:lnTo>
                <a:lnTo>
                  <a:pt x="1983" y="2305"/>
                </a:lnTo>
                <a:lnTo>
                  <a:pt x="1975" y="2295"/>
                </a:lnTo>
                <a:lnTo>
                  <a:pt x="1969" y="2285"/>
                </a:lnTo>
                <a:lnTo>
                  <a:pt x="1961" y="2276"/>
                </a:lnTo>
                <a:lnTo>
                  <a:pt x="1953" y="2271"/>
                </a:lnTo>
                <a:lnTo>
                  <a:pt x="1950" y="2268"/>
                </a:lnTo>
                <a:lnTo>
                  <a:pt x="1948" y="2266"/>
                </a:lnTo>
                <a:lnTo>
                  <a:pt x="1947" y="2264"/>
                </a:lnTo>
                <a:lnTo>
                  <a:pt x="1947" y="2261"/>
                </a:lnTo>
                <a:lnTo>
                  <a:pt x="1948" y="2258"/>
                </a:lnTo>
                <a:lnTo>
                  <a:pt x="1950" y="2255"/>
                </a:lnTo>
                <a:lnTo>
                  <a:pt x="1953" y="2254"/>
                </a:lnTo>
                <a:lnTo>
                  <a:pt x="1956" y="2252"/>
                </a:lnTo>
                <a:lnTo>
                  <a:pt x="1957" y="2251"/>
                </a:lnTo>
                <a:lnTo>
                  <a:pt x="1958" y="2250"/>
                </a:lnTo>
                <a:lnTo>
                  <a:pt x="1958" y="2248"/>
                </a:lnTo>
                <a:lnTo>
                  <a:pt x="1956" y="2246"/>
                </a:lnTo>
                <a:lnTo>
                  <a:pt x="1951" y="2241"/>
                </a:lnTo>
                <a:lnTo>
                  <a:pt x="1948" y="2237"/>
                </a:lnTo>
                <a:lnTo>
                  <a:pt x="1946" y="2235"/>
                </a:lnTo>
                <a:lnTo>
                  <a:pt x="1946" y="2231"/>
                </a:lnTo>
                <a:lnTo>
                  <a:pt x="1946" y="2228"/>
                </a:lnTo>
                <a:lnTo>
                  <a:pt x="1947" y="2225"/>
                </a:lnTo>
                <a:lnTo>
                  <a:pt x="1948" y="2221"/>
                </a:lnTo>
                <a:lnTo>
                  <a:pt x="1951" y="2219"/>
                </a:lnTo>
                <a:lnTo>
                  <a:pt x="1953" y="2217"/>
                </a:lnTo>
                <a:lnTo>
                  <a:pt x="1957" y="2215"/>
                </a:lnTo>
                <a:lnTo>
                  <a:pt x="1958" y="2214"/>
                </a:lnTo>
                <a:lnTo>
                  <a:pt x="1959" y="2210"/>
                </a:lnTo>
                <a:lnTo>
                  <a:pt x="1959" y="2206"/>
                </a:lnTo>
                <a:lnTo>
                  <a:pt x="1956" y="2201"/>
                </a:lnTo>
                <a:lnTo>
                  <a:pt x="1948" y="2189"/>
                </a:lnTo>
                <a:lnTo>
                  <a:pt x="1942" y="2178"/>
                </a:lnTo>
                <a:lnTo>
                  <a:pt x="1939" y="2174"/>
                </a:lnTo>
                <a:lnTo>
                  <a:pt x="1935" y="2171"/>
                </a:lnTo>
                <a:lnTo>
                  <a:pt x="1929" y="2170"/>
                </a:lnTo>
                <a:lnTo>
                  <a:pt x="1923" y="2169"/>
                </a:lnTo>
                <a:lnTo>
                  <a:pt x="1920" y="2167"/>
                </a:lnTo>
                <a:lnTo>
                  <a:pt x="1915" y="2163"/>
                </a:lnTo>
                <a:lnTo>
                  <a:pt x="1909" y="2157"/>
                </a:lnTo>
                <a:lnTo>
                  <a:pt x="1904" y="2150"/>
                </a:lnTo>
                <a:lnTo>
                  <a:pt x="1891" y="2130"/>
                </a:lnTo>
                <a:lnTo>
                  <a:pt x="1877" y="2107"/>
                </a:lnTo>
                <a:lnTo>
                  <a:pt x="1863" y="2083"/>
                </a:lnTo>
                <a:lnTo>
                  <a:pt x="1851" y="2062"/>
                </a:lnTo>
                <a:lnTo>
                  <a:pt x="1841" y="2045"/>
                </a:lnTo>
                <a:lnTo>
                  <a:pt x="1834" y="2037"/>
                </a:lnTo>
                <a:lnTo>
                  <a:pt x="1828" y="2032"/>
                </a:lnTo>
                <a:lnTo>
                  <a:pt x="1819" y="2028"/>
                </a:lnTo>
                <a:lnTo>
                  <a:pt x="1809" y="2025"/>
                </a:lnTo>
                <a:lnTo>
                  <a:pt x="1796" y="2022"/>
                </a:lnTo>
                <a:lnTo>
                  <a:pt x="1785" y="2020"/>
                </a:lnTo>
                <a:lnTo>
                  <a:pt x="1774" y="2020"/>
                </a:lnTo>
                <a:lnTo>
                  <a:pt x="1769" y="2020"/>
                </a:lnTo>
                <a:lnTo>
                  <a:pt x="1764" y="2021"/>
                </a:lnTo>
                <a:lnTo>
                  <a:pt x="1760" y="2022"/>
                </a:lnTo>
                <a:lnTo>
                  <a:pt x="1756" y="2024"/>
                </a:lnTo>
                <a:lnTo>
                  <a:pt x="1753" y="2027"/>
                </a:lnTo>
                <a:lnTo>
                  <a:pt x="1751" y="2030"/>
                </a:lnTo>
                <a:lnTo>
                  <a:pt x="1749" y="2033"/>
                </a:lnTo>
                <a:lnTo>
                  <a:pt x="1747" y="2038"/>
                </a:lnTo>
                <a:lnTo>
                  <a:pt x="1744" y="2047"/>
                </a:lnTo>
                <a:lnTo>
                  <a:pt x="1742" y="2056"/>
                </a:lnTo>
                <a:lnTo>
                  <a:pt x="1740" y="2064"/>
                </a:lnTo>
                <a:lnTo>
                  <a:pt x="1738" y="2070"/>
                </a:lnTo>
                <a:lnTo>
                  <a:pt x="1737" y="2071"/>
                </a:lnTo>
                <a:lnTo>
                  <a:pt x="1734" y="2072"/>
                </a:lnTo>
                <a:lnTo>
                  <a:pt x="1733" y="2072"/>
                </a:lnTo>
                <a:lnTo>
                  <a:pt x="1731" y="2071"/>
                </a:lnTo>
                <a:lnTo>
                  <a:pt x="1729" y="2070"/>
                </a:lnTo>
                <a:lnTo>
                  <a:pt x="1728" y="2070"/>
                </a:lnTo>
                <a:lnTo>
                  <a:pt x="1726" y="2072"/>
                </a:lnTo>
                <a:lnTo>
                  <a:pt x="1724" y="2075"/>
                </a:lnTo>
                <a:lnTo>
                  <a:pt x="1720" y="2085"/>
                </a:lnTo>
                <a:lnTo>
                  <a:pt x="1717" y="2095"/>
                </a:lnTo>
                <a:lnTo>
                  <a:pt x="1712" y="2106"/>
                </a:lnTo>
                <a:lnTo>
                  <a:pt x="1707" y="2115"/>
                </a:lnTo>
                <a:lnTo>
                  <a:pt x="1705" y="2119"/>
                </a:lnTo>
                <a:lnTo>
                  <a:pt x="1703" y="2121"/>
                </a:lnTo>
                <a:lnTo>
                  <a:pt x="1700" y="2122"/>
                </a:lnTo>
                <a:lnTo>
                  <a:pt x="1697" y="2121"/>
                </a:lnTo>
                <a:lnTo>
                  <a:pt x="1694" y="2119"/>
                </a:lnTo>
                <a:lnTo>
                  <a:pt x="1690" y="2116"/>
                </a:lnTo>
                <a:lnTo>
                  <a:pt x="1687" y="2111"/>
                </a:lnTo>
                <a:lnTo>
                  <a:pt x="1684" y="2105"/>
                </a:lnTo>
                <a:lnTo>
                  <a:pt x="1678" y="2090"/>
                </a:lnTo>
                <a:lnTo>
                  <a:pt x="1672" y="2073"/>
                </a:lnTo>
                <a:lnTo>
                  <a:pt x="1667" y="2054"/>
                </a:lnTo>
                <a:lnTo>
                  <a:pt x="1663" y="2038"/>
                </a:lnTo>
                <a:lnTo>
                  <a:pt x="1661" y="2022"/>
                </a:lnTo>
                <a:lnTo>
                  <a:pt x="1661" y="2010"/>
                </a:lnTo>
                <a:lnTo>
                  <a:pt x="1664" y="1988"/>
                </a:lnTo>
                <a:lnTo>
                  <a:pt x="1668" y="1965"/>
                </a:lnTo>
                <a:lnTo>
                  <a:pt x="1672" y="1953"/>
                </a:lnTo>
                <a:lnTo>
                  <a:pt x="1675" y="1941"/>
                </a:lnTo>
                <a:lnTo>
                  <a:pt x="1680" y="1931"/>
                </a:lnTo>
                <a:lnTo>
                  <a:pt x="1687" y="1922"/>
                </a:lnTo>
                <a:lnTo>
                  <a:pt x="1708" y="1899"/>
                </a:lnTo>
                <a:lnTo>
                  <a:pt x="1733" y="1870"/>
                </a:lnTo>
                <a:lnTo>
                  <a:pt x="1755" y="1846"/>
                </a:lnTo>
                <a:lnTo>
                  <a:pt x="1765" y="1835"/>
                </a:lnTo>
                <a:lnTo>
                  <a:pt x="1764" y="1834"/>
                </a:lnTo>
                <a:lnTo>
                  <a:pt x="1763" y="1829"/>
                </a:lnTo>
                <a:lnTo>
                  <a:pt x="1764" y="1826"/>
                </a:lnTo>
                <a:lnTo>
                  <a:pt x="1765" y="1822"/>
                </a:lnTo>
                <a:lnTo>
                  <a:pt x="1767" y="1819"/>
                </a:lnTo>
                <a:lnTo>
                  <a:pt x="1770" y="1815"/>
                </a:lnTo>
                <a:lnTo>
                  <a:pt x="1782" y="1805"/>
                </a:lnTo>
                <a:lnTo>
                  <a:pt x="1789" y="1799"/>
                </a:lnTo>
                <a:lnTo>
                  <a:pt x="1796" y="1794"/>
                </a:lnTo>
                <a:lnTo>
                  <a:pt x="1808" y="1790"/>
                </a:lnTo>
                <a:lnTo>
                  <a:pt x="1813" y="1788"/>
                </a:lnTo>
                <a:lnTo>
                  <a:pt x="1818" y="1786"/>
                </a:lnTo>
                <a:lnTo>
                  <a:pt x="1821" y="1783"/>
                </a:lnTo>
                <a:lnTo>
                  <a:pt x="1823" y="1780"/>
                </a:lnTo>
                <a:lnTo>
                  <a:pt x="1829" y="1770"/>
                </a:lnTo>
                <a:lnTo>
                  <a:pt x="1836" y="1759"/>
                </a:lnTo>
                <a:lnTo>
                  <a:pt x="1840" y="1754"/>
                </a:lnTo>
                <a:lnTo>
                  <a:pt x="1843" y="1749"/>
                </a:lnTo>
                <a:lnTo>
                  <a:pt x="1845" y="1749"/>
                </a:lnTo>
                <a:lnTo>
                  <a:pt x="1847" y="1748"/>
                </a:lnTo>
                <a:lnTo>
                  <a:pt x="1849" y="1749"/>
                </a:lnTo>
                <a:lnTo>
                  <a:pt x="1850" y="1752"/>
                </a:lnTo>
                <a:lnTo>
                  <a:pt x="1850" y="1757"/>
                </a:lnTo>
                <a:lnTo>
                  <a:pt x="1849" y="1765"/>
                </a:lnTo>
                <a:lnTo>
                  <a:pt x="1845" y="1775"/>
                </a:lnTo>
                <a:lnTo>
                  <a:pt x="1841" y="1784"/>
                </a:lnTo>
                <a:lnTo>
                  <a:pt x="1838" y="1793"/>
                </a:lnTo>
                <a:lnTo>
                  <a:pt x="1835" y="1801"/>
                </a:lnTo>
                <a:lnTo>
                  <a:pt x="1834" y="1807"/>
                </a:lnTo>
                <a:lnTo>
                  <a:pt x="1835" y="1811"/>
                </a:lnTo>
                <a:lnTo>
                  <a:pt x="1842" y="1813"/>
                </a:lnTo>
                <a:lnTo>
                  <a:pt x="1854" y="1815"/>
                </a:lnTo>
                <a:lnTo>
                  <a:pt x="1860" y="1816"/>
                </a:lnTo>
                <a:lnTo>
                  <a:pt x="1865" y="1819"/>
                </a:lnTo>
                <a:lnTo>
                  <a:pt x="1871" y="1822"/>
                </a:lnTo>
                <a:lnTo>
                  <a:pt x="1874" y="1826"/>
                </a:lnTo>
                <a:lnTo>
                  <a:pt x="1877" y="1835"/>
                </a:lnTo>
                <a:lnTo>
                  <a:pt x="1880" y="1841"/>
                </a:lnTo>
                <a:lnTo>
                  <a:pt x="1881" y="1842"/>
                </a:lnTo>
                <a:lnTo>
                  <a:pt x="1884" y="1840"/>
                </a:lnTo>
                <a:lnTo>
                  <a:pt x="1887" y="1836"/>
                </a:lnTo>
                <a:lnTo>
                  <a:pt x="1893" y="1831"/>
                </a:lnTo>
                <a:lnTo>
                  <a:pt x="1898" y="1824"/>
                </a:lnTo>
                <a:lnTo>
                  <a:pt x="1902" y="1814"/>
                </a:lnTo>
                <a:lnTo>
                  <a:pt x="1905" y="1805"/>
                </a:lnTo>
                <a:lnTo>
                  <a:pt x="1908" y="1796"/>
                </a:lnTo>
                <a:lnTo>
                  <a:pt x="1911" y="1788"/>
                </a:lnTo>
                <a:lnTo>
                  <a:pt x="1915" y="1784"/>
                </a:lnTo>
                <a:lnTo>
                  <a:pt x="1917" y="1783"/>
                </a:lnTo>
                <a:lnTo>
                  <a:pt x="1919" y="1783"/>
                </a:lnTo>
                <a:lnTo>
                  <a:pt x="1921" y="1784"/>
                </a:lnTo>
                <a:lnTo>
                  <a:pt x="1923" y="1786"/>
                </a:lnTo>
                <a:lnTo>
                  <a:pt x="1930" y="1793"/>
                </a:lnTo>
                <a:lnTo>
                  <a:pt x="1940" y="1799"/>
                </a:lnTo>
                <a:lnTo>
                  <a:pt x="1950" y="1804"/>
                </a:lnTo>
                <a:lnTo>
                  <a:pt x="1961" y="1808"/>
                </a:lnTo>
                <a:lnTo>
                  <a:pt x="1971" y="1811"/>
                </a:lnTo>
                <a:lnTo>
                  <a:pt x="1980" y="1813"/>
                </a:lnTo>
                <a:lnTo>
                  <a:pt x="1983" y="1813"/>
                </a:lnTo>
                <a:lnTo>
                  <a:pt x="1986" y="1813"/>
                </a:lnTo>
                <a:lnTo>
                  <a:pt x="1988" y="1812"/>
                </a:lnTo>
                <a:lnTo>
                  <a:pt x="1988" y="1811"/>
                </a:lnTo>
                <a:lnTo>
                  <a:pt x="1988" y="1808"/>
                </a:lnTo>
                <a:lnTo>
                  <a:pt x="1987" y="1804"/>
                </a:lnTo>
                <a:lnTo>
                  <a:pt x="1985" y="1800"/>
                </a:lnTo>
                <a:lnTo>
                  <a:pt x="1983" y="1794"/>
                </a:lnTo>
                <a:lnTo>
                  <a:pt x="1973" y="1782"/>
                </a:lnTo>
                <a:lnTo>
                  <a:pt x="1960" y="1765"/>
                </a:lnTo>
                <a:lnTo>
                  <a:pt x="1950" y="1757"/>
                </a:lnTo>
                <a:lnTo>
                  <a:pt x="1940" y="1748"/>
                </a:lnTo>
                <a:lnTo>
                  <a:pt x="1928" y="1741"/>
                </a:lnTo>
                <a:lnTo>
                  <a:pt x="1918" y="1735"/>
                </a:lnTo>
                <a:lnTo>
                  <a:pt x="1908" y="1730"/>
                </a:lnTo>
                <a:lnTo>
                  <a:pt x="1901" y="1724"/>
                </a:lnTo>
                <a:lnTo>
                  <a:pt x="1899" y="1722"/>
                </a:lnTo>
                <a:lnTo>
                  <a:pt x="1898" y="1719"/>
                </a:lnTo>
                <a:lnTo>
                  <a:pt x="1898" y="1717"/>
                </a:lnTo>
                <a:lnTo>
                  <a:pt x="1899" y="1716"/>
                </a:lnTo>
                <a:lnTo>
                  <a:pt x="1907" y="1710"/>
                </a:lnTo>
                <a:lnTo>
                  <a:pt x="1917" y="1705"/>
                </a:lnTo>
                <a:lnTo>
                  <a:pt x="1921" y="1702"/>
                </a:lnTo>
                <a:lnTo>
                  <a:pt x="1925" y="1699"/>
                </a:lnTo>
                <a:lnTo>
                  <a:pt x="1928" y="1694"/>
                </a:lnTo>
                <a:lnTo>
                  <a:pt x="1929" y="1688"/>
                </a:lnTo>
                <a:lnTo>
                  <a:pt x="1931" y="1672"/>
                </a:lnTo>
                <a:lnTo>
                  <a:pt x="1933" y="1658"/>
                </a:lnTo>
                <a:lnTo>
                  <a:pt x="1936" y="1653"/>
                </a:lnTo>
                <a:lnTo>
                  <a:pt x="1939" y="1648"/>
                </a:lnTo>
                <a:lnTo>
                  <a:pt x="1942" y="1645"/>
                </a:lnTo>
                <a:lnTo>
                  <a:pt x="1946" y="1643"/>
                </a:lnTo>
                <a:lnTo>
                  <a:pt x="1948" y="1642"/>
                </a:lnTo>
                <a:lnTo>
                  <a:pt x="1950" y="1638"/>
                </a:lnTo>
                <a:lnTo>
                  <a:pt x="1950" y="1635"/>
                </a:lnTo>
                <a:lnTo>
                  <a:pt x="1951" y="1630"/>
                </a:lnTo>
                <a:lnTo>
                  <a:pt x="1951" y="1617"/>
                </a:lnTo>
                <a:lnTo>
                  <a:pt x="1950" y="1604"/>
                </a:lnTo>
                <a:lnTo>
                  <a:pt x="1947" y="1579"/>
                </a:lnTo>
                <a:lnTo>
                  <a:pt x="1946" y="1567"/>
                </a:lnTo>
                <a:lnTo>
                  <a:pt x="1949" y="1559"/>
                </a:lnTo>
                <a:lnTo>
                  <a:pt x="1954" y="1540"/>
                </a:lnTo>
                <a:lnTo>
                  <a:pt x="1958" y="1529"/>
                </a:lnTo>
                <a:lnTo>
                  <a:pt x="1959" y="1519"/>
                </a:lnTo>
                <a:lnTo>
                  <a:pt x="1958" y="1515"/>
                </a:lnTo>
                <a:lnTo>
                  <a:pt x="1957" y="1511"/>
                </a:lnTo>
                <a:lnTo>
                  <a:pt x="1956" y="1507"/>
                </a:lnTo>
                <a:lnTo>
                  <a:pt x="1952" y="1504"/>
                </a:lnTo>
                <a:lnTo>
                  <a:pt x="1936" y="1494"/>
                </a:lnTo>
                <a:lnTo>
                  <a:pt x="1914" y="1479"/>
                </a:lnTo>
                <a:lnTo>
                  <a:pt x="1903" y="1473"/>
                </a:lnTo>
                <a:lnTo>
                  <a:pt x="1895" y="1468"/>
                </a:lnTo>
                <a:lnTo>
                  <a:pt x="1889" y="1463"/>
                </a:lnTo>
                <a:lnTo>
                  <a:pt x="1889" y="1461"/>
                </a:lnTo>
                <a:lnTo>
                  <a:pt x="1904" y="1455"/>
                </a:lnTo>
                <a:lnTo>
                  <a:pt x="1933" y="1445"/>
                </a:lnTo>
                <a:lnTo>
                  <a:pt x="1949" y="1440"/>
                </a:lnTo>
                <a:lnTo>
                  <a:pt x="1962" y="1438"/>
                </a:lnTo>
                <a:lnTo>
                  <a:pt x="1967" y="1439"/>
                </a:lnTo>
                <a:lnTo>
                  <a:pt x="1971" y="1440"/>
                </a:lnTo>
                <a:lnTo>
                  <a:pt x="1974" y="1442"/>
                </a:lnTo>
                <a:lnTo>
                  <a:pt x="1975" y="1446"/>
                </a:lnTo>
                <a:lnTo>
                  <a:pt x="1975" y="1450"/>
                </a:lnTo>
                <a:lnTo>
                  <a:pt x="1976" y="1454"/>
                </a:lnTo>
                <a:lnTo>
                  <a:pt x="1979" y="1457"/>
                </a:lnTo>
                <a:lnTo>
                  <a:pt x="1981" y="1461"/>
                </a:lnTo>
                <a:lnTo>
                  <a:pt x="1986" y="1467"/>
                </a:lnTo>
                <a:lnTo>
                  <a:pt x="1991" y="1471"/>
                </a:lnTo>
                <a:lnTo>
                  <a:pt x="1996" y="1472"/>
                </a:lnTo>
                <a:lnTo>
                  <a:pt x="2002" y="1472"/>
                </a:lnTo>
                <a:lnTo>
                  <a:pt x="2004" y="1471"/>
                </a:lnTo>
                <a:lnTo>
                  <a:pt x="2005" y="1470"/>
                </a:lnTo>
                <a:lnTo>
                  <a:pt x="2006" y="1468"/>
                </a:lnTo>
                <a:lnTo>
                  <a:pt x="2006" y="1464"/>
                </a:lnTo>
                <a:lnTo>
                  <a:pt x="2007" y="1457"/>
                </a:lnTo>
                <a:lnTo>
                  <a:pt x="2009" y="1450"/>
                </a:lnTo>
                <a:lnTo>
                  <a:pt x="2012" y="1442"/>
                </a:lnTo>
                <a:lnTo>
                  <a:pt x="2017" y="1436"/>
                </a:lnTo>
                <a:lnTo>
                  <a:pt x="2019" y="1434"/>
                </a:lnTo>
                <a:lnTo>
                  <a:pt x="2023" y="1432"/>
                </a:lnTo>
                <a:lnTo>
                  <a:pt x="2026" y="1431"/>
                </a:lnTo>
                <a:lnTo>
                  <a:pt x="2029" y="1431"/>
                </a:lnTo>
                <a:lnTo>
                  <a:pt x="2032" y="1432"/>
                </a:lnTo>
                <a:lnTo>
                  <a:pt x="2035" y="1434"/>
                </a:lnTo>
                <a:lnTo>
                  <a:pt x="2038" y="1437"/>
                </a:lnTo>
                <a:lnTo>
                  <a:pt x="2042" y="1442"/>
                </a:lnTo>
                <a:lnTo>
                  <a:pt x="2052" y="1457"/>
                </a:lnTo>
                <a:lnTo>
                  <a:pt x="2067" y="1478"/>
                </a:lnTo>
                <a:lnTo>
                  <a:pt x="2084" y="1504"/>
                </a:lnTo>
                <a:lnTo>
                  <a:pt x="2103" y="1534"/>
                </a:lnTo>
                <a:lnTo>
                  <a:pt x="2121" y="1561"/>
                </a:lnTo>
                <a:lnTo>
                  <a:pt x="2136" y="1586"/>
                </a:lnTo>
                <a:lnTo>
                  <a:pt x="2141" y="1596"/>
                </a:lnTo>
                <a:lnTo>
                  <a:pt x="2145" y="1606"/>
                </a:lnTo>
                <a:lnTo>
                  <a:pt x="2147" y="1612"/>
                </a:lnTo>
                <a:lnTo>
                  <a:pt x="2147" y="1617"/>
                </a:lnTo>
                <a:lnTo>
                  <a:pt x="2147" y="1624"/>
                </a:lnTo>
                <a:lnTo>
                  <a:pt x="2147" y="1629"/>
                </a:lnTo>
                <a:lnTo>
                  <a:pt x="2149" y="1634"/>
                </a:lnTo>
                <a:lnTo>
                  <a:pt x="2151" y="1637"/>
                </a:lnTo>
                <a:lnTo>
                  <a:pt x="2156" y="1643"/>
                </a:lnTo>
                <a:lnTo>
                  <a:pt x="2158" y="1644"/>
                </a:lnTo>
                <a:lnTo>
                  <a:pt x="2170" y="1645"/>
                </a:lnTo>
                <a:lnTo>
                  <a:pt x="2196" y="1649"/>
                </a:lnTo>
                <a:lnTo>
                  <a:pt x="2210" y="1651"/>
                </a:lnTo>
                <a:lnTo>
                  <a:pt x="2221" y="1654"/>
                </a:lnTo>
                <a:lnTo>
                  <a:pt x="2225" y="1656"/>
                </a:lnTo>
                <a:lnTo>
                  <a:pt x="2228" y="1658"/>
                </a:lnTo>
                <a:lnTo>
                  <a:pt x="2229" y="1660"/>
                </a:lnTo>
                <a:lnTo>
                  <a:pt x="2228" y="1664"/>
                </a:lnTo>
                <a:lnTo>
                  <a:pt x="2220" y="1675"/>
                </a:lnTo>
                <a:lnTo>
                  <a:pt x="2212" y="1684"/>
                </a:lnTo>
                <a:lnTo>
                  <a:pt x="2209" y="1688"/>
                </a:lnTo>
                <a:lnTo>
                  <a:pt x="2205" y="1690"/>
                </a:lnTo>
                <a:lnTo>
                  <a:pt x="2203" y="1690"/>
                </a:lnTo>
                <a:lnTo>
                  <a:pt x="2202" y="1689"/>
                </a:lnTo>
                <a:lnTo>
                  <a:pt x="2200" y="1688"/>
                </a:lnTo>
                <a:lnTo>
                  <a:pt x="2198" y="1686"/>
                </a:lnTo>
                <a:lnTo>
                  <a:pt x="2190" y="1676"/>
                </a:lnTo>
                <a:lnTo>
                  <a:pt x="2180" y="1665"/>
                </a:lnTo>
                <a:lnTo>
                  <a:pt x="2173" y="1659"/>
                </a:lnTo>
                <a:lnTo>
                  <a:pt x="2167" y="1656"/>
                </a:lnTo>
                <a:lnTo>
                  <a:pt x="2161" y="1653"/>
                </a:lnTo>
                <a:lnTo>
                  <a:pt x="2154" y="1651"/>
                </a:lnTo>
                <a:lnTo>
                  <a:pt x="2147" y="1651"/>
                </a:lnTo>
                <a:lnTo>
                  <a:pt x="2142" y="1651"/>
                </a:lnTo>
                <a:lnTo>
                  <a:pt x="2137" y="1652"/>
                </a:lnTo>
                <a:lnTo>
                  <a:pt x="2133" y="1654"/>
                </a:lnTo>
                <a:lnTo>
                  <a:pt x="2129" y="1657"/>
                </a:lnTo>
                <a:lnTo>
                  <a:pt x="2127" y="1662"/>
                </a:lnTo>
                <a:lnTo>
                  <a:pt x="2125" y="1669"/>
                </a:lnTo>
                <a:lnTo>
                  <a:pt x="2124" y="1678"/>
                </a:lnTo>
                <a:lnTo>
                  <a:pt x="2124" y="1687"/>
                </a:lnTo>
                <a:lnTo>
                  <a:pt x="2127" y="1695"/>
                </a:lnTo>
                <a:lnTo>
                  <a:pt x="2130" y="1700"/>
                </a:lnTo>
                <a:lnTo>
                  <a:pt x="2133" y="1705"/>
                </a:lnTo>
                <a:lnTo>
                  <a:pt x="2134" y="1708"/>
                </a:lnTo>
                <a:lnTo>
                  <a:pt x="2135" y="1709"/>
                </a:lnTo>
                <a:lnTo>
                  <a:pt x="2135" y="1710"/>
                </a:lnTo>
                <a:lnTo>
                  <a:pt x="2134" y="1711"/>
                </a:lnTo>
                <a:lnTo>
                  <a:pt x="2129" y="1713"/>
                </a:lnTo>
                <a:lnTo>
                  <a:pt x="2121" y="1713"/>
                </a:lnTo>
                <a:lnTo>
                  <a:pt x="2098" y="1711"/>
                </a:lnTo>
                <a:lnTo>
                  <a:pt x="2077" y="1708"/>
                </a:lnTo>
                <a:lnTo>
                  <a:pt x="2072" y="1708"/>
                </a:lnTo>
                <a:lnTo>
                  <a:pt x="2068" y="1709"/>
                </a:lnTo>
                <a:lnTo>
                  <a:pt x="2064" y="1710"/>
                </a:lnTo>
                <a:lnTo>
                  <a:pt x="2060" y="1712"/>
                </a:lnTo>
                <a:lnTo>
                  <a:pt x="2057" y="1714"/>
                </a:lnTo>
                <a:lnTo>
                  <a:pt x="2055" y="1718"/>
                </a:lnTo>
                <a:lnTo>
                  <a:pt x="2053" y="1722"/>
                </a:lnTo>
                <a:lnTo>
                  <a:pt x="2052" y="1728"/>
                </a:lnTo>
                <a:lnTo>
                  <a:pt x="2050" y="1740"/>
                </a:lnTo>
                <a:lnTo>
                  <a:pt x="2046" y="1750"/>
                </a:lnTo>
                <a:lnTo>
                  <a:pt x="2041" y="1760"/>
                </a:lnTo>
                <a:lnTo>
                  <a:pt x="2037" y="1768"/>
                </a:lnTo>
                <a:lnTo>
                  <a:pt x="2034" y="1776"/>
                </a:lnTo>
                <a:lnTo>
                  <a:pt x="2031" y="1781"/>
                </a:lnTo>
                <a:lnTo>
                  <a:pt x="2031" y="1784"/>
                </a:lnTo>
                <a:lnTo>
                  <a:pt x="2031" y="1786"/>
                </a:lnTo>
                <a:lnTo>
                  <a:pt x="2032" y="1788"/>
                </a:lnTo>
                <a:lnTo>
                  <a:pt x="2034" y="1789"/>
                </a:lnTo>
                <a:lnTo>
                  <a:pt x="2036" y="1790"/>
                </a:lnTo>
                <a:lnTo>
                  <a:pt x="2040" y="1790"/>
                </a:lnTo>
                <a:lnTo>
                  <a:pt x="2045" y="1788"/>
                </a:lnTo>
                <a:lnTo>
                  <a:pt x="2050" y="1786"/>
                </a:lnTo>
                <a:lnTo>
                  <a:pt x="2062" y="1779"/>
                </a:lnTo>
                <a:lnTo>
                  <a:pt x="2076" y="1770"/>
                </a:lnTo>
                <a:lnTo>
                  <a:pt x="2091" y="1763"/>
                </a:lnTo>
                <a:lnTo>
                  <a:pt x="2103" y="1758"/>
                </a:lnTo>
                <a:lnTo>
                  <a:pt x="2108" y="1757"/>
                </a:lnTo>
                <a:lnTo>
                  <a:pt x="2113" y="1757"/>
                </a:lnTo>
                <a:lnTo>
                  <a:pt x="2117" y="1758"/>
                </a:lnTo>
                <a:lnTo>
                  <a:pt x="2120" y="1761"/>
                </a:lnTo>
                <a:lnTo>
                  <a:pt x="2124" y="1767"/>
                </a:lnTo>
                <a:lnTo>
                  <a:pt x="2129" y="1774"/>
                </a:lnTo>
                <a:lnTo>
                  <a:pt x="2134" y="1778"/>
                </a:lnTo>
                <a:lnTo>
                  <a:pt x="2138" y="1781"/>
                </a:lnTo>
                <a:lnTo>
                  <a:pt x="2141" y="1784"/>
                </a:lnTo>
                <a:lnTo>
                  <a:pt x="2144" y="1787"/>
                </a:lnTo>
                <a:lnTo>
                  <a:pt x="2146" y="1791"/>
                </a:lnTo>
                <a:lnTo>
                  <a:pt x="2146" y="1796"/>
                </a:lnTo>
                <a:lnTo>
                  <a:pt x="2147" y="1800"/>
                </a:lnTo>
                <a:lnTo>
                  <a:pt x="2150" y="1803"/>
                </a:lnTo>
                <a:lnTo>
                  <a:pt x="2154" y="1806"/>
                </a:lnTo>
                <a:lnTo>
                  <a:pt x="2158" y="1807"/>
                </a:lnTo>
                <a:lnTo>
                  <a:pt x="2162" y="1809"/>
                </a:lnTo>
                <a:lnTo>
                  <a:pt x="2166" y="1810"/>
                </a:lnTo>
                <a:lnTo>
                  <a:pt x="2169" y="1812"/>
                </a:lnTo>
                <a:lnTo>
                  <a:pt x="2171" y="1815"/>
                </a:lnTo>
                <a:lnTo>
                  <a:pt x="2176" y="1825"/>
                </a:lnTo>
                <a:lnTo>
                  <a:pt x="2184" y="1840"/>
                </a:lnTo>
                <a:lnTo>
                  <a:pt x="2188" y="1847"/>
                </a:lnTo>
                <a:lnTo>
                  <a:pt x="2192" y="1853"/>
                </a:lnTo>
                <a:lnTo>
                  <a:pt x="2196" y="1857"/>
                </a:lnTo>
                <a:lnTo>
                  <a:pt x="2201" y="1860"/>
                </a:lnTo>
                <a:lnTo>
                  <a:pt x="2210" y="1862"/>
                </a:lnTo>
                <a:lnTo>
                  <a:pt x="2220" y="1862"/>
                </a:lnTo>
                <a:lnTo>
                  <a:pt x="2224" y="1862"/>
                </a:lnTo>
                <a:lnTo>
                  <a:pt x="2228" y="1863"/>
                </a:lnTo>
                <a:lnTo>
                  <a:pt x="2232" y="1864"/>
                </a:lnTo>
                <a:lnTo>
                  <a:pt x="2236" y="1867"/>
                </a:lnTo>
                <a:lnTo>
                  <a:pt x="2242" y="1870"/>
                </a:lnTo>
                <a:lnTo>
                  <a:pt x="2252" y="1873"/>
                </a:lnTo>
                <a:lnTo>
                  <a:pt x="2265" y="1876"/>
                </a:lnTo>
                <a:lnTo>
                  <a:pt x="2278" y="1878"/>
                </a:lnTo>
                <a:lnTo>
                  <a:pt x="2301" y="1881"/>
                </a:lnTo>
                <a:lnTo>
                  <a:pt x="2310" y="1880"/>
                </a:lnTo>
                <a:lnTo>
                  <a:pt x="2295" y="1867"/>
                </a:lnTo>
                <a:lnTo>
                  <a:pt x="2270" y="1838"/>
                </a:lnTo>
                <a:lnTo>
                  <a:pt x="2257" y="1825"/>
                </a:lnTo>
                <a:lnTo>
                  <a:pt x="2248" y="1812"/>
                </a:lnTo>
                <a:lnTo>
                  <a:pt x="2245" y="1807"/>
                </a:lnTo>
                <a:lnTo>
                  <a:pt x="2243" y="1804"/>
                </a:lnTo>
                <a:lnTo>
                  <a:pt x="2243" y="1802"/>
                </a:lnTo>
                <a:lnTo>
                  <a:pt x="2243" y="1802"/>
                </a:lnTo>
                <a:lnTo>
                  <a:pt x="2243" y="1801"/>
                </a:lnTo>
                <a:lnTo>
                  <a:pt x="2244" y="1801"/>
                </a:lnTo>
                <a:lnTo>
                  <a:pt x="2248" y="1802"/>
                </a:lnTo>
                <a:lnTo>
                  <a:pt x="2252" y="1805"/>
                </a:lnTo>
                <a:lnTo>
                  <a:pt x="2258" y="1810"/>
                </a:lnTo>
                <a:lnTo>
                  <a:pt x="2266" y="1815"/>
                </a:lnTo>
                <a:lnTo>
                  <a:pt x="2281" y="1829"/>
                </a:lnTo>
                <a:lnTo>
                  <a:pt x="2298" y="1844"/>
                </a:lnTo>
                <a:lnTo>
                  <a:pt x="2315" y="1858"/>
                </a:lnTo>
                <a:lnTo>
                  <a:pt x="2329" y="1869"/>
                </a:lnTo>
                <a:lnTo>
                  <a:pt x="2335" y="1873"/>
                </a:lnTo>
                <a:lnTo>
                  <a:pt x="2339" y="1875"/>
                </a:lnTo>
                <a:lnTo>
                  <a:pt x="2341" y="1875"/>
                </a:lnTo>
                <a:lnTo>
                  <a:pt x="2342" y="1875"/>
                </a:lnTo>
                <a:lnTo>
                  <a:pt x="2343" y="1875"/>
                </a:lnTo>
                <a:lnTo>
                  <a:pt x="2343" y="1874"/>
                </a:lnTo>
                <a:lnTo>
                  <a:pt x="2343" y="1868"/>
                </a:lnTo>
                <a:lnTo>
                  <a:pt x="2342" y="1860"/>
                </a:lnTo>
                <a:lnTo>
                  <a:pt x="2340" y="1854"/>
                </a:lnTo>
                <a:lnTo>
                  <a:pt x="2337" y="1848"/>
                </a:lnTo>
                <a:lnTo>
                  <a:pt x="2334" y="1842"/>
                </a:lnTo>
                <a:lnTo>
                  <a:pt x="2332" y="1837"/>
                </a:lnTo>
                <a:lnTo>
                  <a:pt x="2331" y="1833"/>
                </a:lnTo>
                <a:lnTo>
                  <a:pt x="2332" y="1831"/>
                </a:lnTo>
                <a:lnTo>
                  <a:pt x="2339" y="1829"/>
                </a:lnTo>
                <a:lnTo>
                  <a:pt x="2349" y="1824"/>
                </a:lnTo>
                <a:lnTo>
                  <a:pt x="2355" y="1820"/>
                </a:lnTo>
                <a:lnTo>
                  <a:pt x="2359" y="1816"/>
                </a:lnTo>
                <a:lnTo>
                  <a:pt x="2360" y="1814"/>
                </a:lnTo>
                <a:lnTo>
                  <a:pt x="2361" y="1812"/>
                </a:lnTo>
                <a:lnTo>
                  <a:pt x="2361" y="1810"/>
                </a:lnTo>
                <a:lnTo>
                  <a:pt x="2360" y="1808"/>
                </a:lnTo>
                <a:lnTo>
                  <a:pt x="2349" y="1796"/>
                </a:lnTo>
                <a:lnTo>
                  <a:pt x="2331" y="1778"/>
                </a:lnTo>
                <a:lnTo>
                  <a:pt x="2311" y="1759"/>
                </a:lnTo>
                <a:lnTo>
                  <a:pt x="2297" y="1745"/>
                </a:lnTo>
                <a:lnTo>
                  <a:pt x="2293" y="1738"/>
                </a:lnTo>
                <a:lnTo>
                  <a:pt x="2288" y="1724"/>
                </a:lnTo>
                <a:lnTo>
                  <a:pt x="2282" y="1709"/>
                </a:lnTo>
                <a:lnTo>
                  <a:pt x="2277" y="1692"/>
                </a:lnTo>
                <a:lnTo>
                  <a:pt x="2274" y="1677"/>
                </a:lnTo>
                <a:lnTo>
                  <a:pt x="2272" y="1665"/>
                </a:lnTo>
                <a:lnTo>
                  <a:pt x="2272" y="1660"/>
                </a:lnTo>
                <a:lnTo>
                  <a:pt x="2273" y="1658"/>
                </a:lnTo>
                <a:lnTo>
                  <a:pt x="2275" y="1657"/>
                </a:lnTo>
                <a:lnTo>
                  <a:pt x="2278" y="1658"/>
                </a:lnTo>
                <a:lnTo>
                  <a:pt x="2293" y="1668"/>
                </a:lnTo>
                <a:lnTo>
                  <a:pt x="2311" y="1676"/>
                </a:lnTo>
                <a:lnTo>
                  <a:pt x="2318" y="1681"/>
                </a:lnTo>
                <a:lnTo>
                  <a:pt x="2324" y="1687"/>
                </a:lnTo>
                <a:lnTo>
                  <a:pt x="2326" y="1690"/>
                </a:lnTo>
                <a:lnTo>
                  <a:pt x="2329" y="1693"/>
                </a:lnTo>
                <a:lnTo>
                  <a:pt x="2330" y="1696"/>
                </a:lnTo>
                <a:lnTo>
                  <a:pt x="2331" y="1699"/>
                </a:lnTo>
                <a:lnTo>
                  <a:pt x="2331" y="1711"/>
                </a:lnTo>
                <a:lnTo>
                  <a:pt x="2332" y="1717"/>
                </a:lnTo>
                <a:lnTo>
                  <a:pt x="2335" y="1722"/>
                </a:lnTo>
                <a:lnTo>
                  <a:pt x="2339" y="1727"/>
                </a:lnTo>
                <a:lnTo>
                  <a:pt x="2347" y="1736"/>
                </a:lnTo>
                <a:lnTo>
                  <a:pt x="2357" y="1746"/>
                </a:lnTo>
                <a:lnTo>
                  <a:pt x="2361" y="1750"/>
                </a:lnTo>
                <a:lnTo>
                  <a:pt x="2365" y="1754"/>
                </a:lnTo>
                <a:lnTo>
                  <a:pt x="2367" y="1754"/>
                </a:lnTo>
                <a:lnTo>
                  <a:pt x="2369" y="1753"/>
                </a:lnTo>
                <a:lnTo>
                  <a:pt x="2371" y="1752"/>
                </a:lnTo>
                <a:lnTo>
                  <a:pt x="2373" y="1748"/>
                </a:lnTo>
                <a:lnTo>
                  <a:pt x="2376" y="1733"/>
                </a:lnTo>
                <a:lnTo>
                  <a:pt x="2378" y="1712"/>
                </a:lnTo>
                <a:lnTo>
                  <a:pt x="2379" y="1701"/>
                </a:lnTo>
                <a:lnTo>
                  <a:pt x="2380" y="1692"/>
                </a:lnTo>
                <a:lnTo>
                  <a:pt x="2382" y="1684"/>
                </a:lnTo>
                <a:lnTo>
                  <a:pt x="2385" y="1679"/>
                </a:lnTo>
                <a:lnTo>
                  <a:pt x="2395" y="1671"/>
                </a:lnTo>
                <a:lnTo>
                  <a:pt x="2402" y="1664"/>
                </a:lnTo>
                <a:lnTo>
                  <a:pt x="2405" y="1659"/>
                </a:lnTo>
                <a:lnTo>
                  <a:pt x="2406" y="1655"/>
                </a:lnTo>
                <a:lnTo>
                  <a:pt x="2406" y="1650"/>
                </a:lnTo>
                <a:lnTo>
                  <a:pt x="2404" y="1645"/>
                </a:lnTo>
                <a:lnTo>
                  <a:pt x="2399" y="1639"/>
                </a:lnTo>
                <a:lnTo>
                  <a:pt x="2392" y="1634"/>
                </a:lnTo>
                <a:lnTo>
                  <a:pt x="2384" y="1628"/>
                </a:lnTo>
                <a:lnTo>
                  <a:pt x="2375" y="1622"/>
                </a:lnTo>
                <a:lnTo>
                  <a:pt x="2357" y="1611"/>
                </a:lnTo>
                <a:lnTo>
                  <a:pt x="2345" y="1603"/>
                </a:lnTo>
                <a:lnTo>
                  <a:pt x="2330" y="1588"/>
                </a:lnTo>
                <a:lnTo>
                  <a:pt x="2300" y="1564"/>
                </a:lnTo>
                <a:lnTo>
                  <a:pt x="2272" y="1540"/>
                </a:lnTo>
                <a:lnTo>
                  <a:pt x="2255" y="1525"/>
                </a:lnTo>
                <a:lnTo>
                  <a:pt x="2252" y="1521"/>
                </a:lnTo>
                <a:lnTo>
                  <a:pt x="2250" y="1516"/>
                </a:lnTo>
                <a:lnTo>
                  <a:pt x="2247" y="1511"/>
                </a:lnTo>
                <a:lnTo>
                  <a:pt x="2245" y="1505"/>
                </a:lnTo>
                <a:lnTo>
                  <a:pt x="2244" y="1499"/>
                </a:lnTo>
                <a:lnTo>
                  <a:pt x="2244" y="1494"/>
                </a:lnTo>
                <a:lnTo>
                  <a:pt x="2244" y="1487"/>
                </a:lnTo>
                <a:lnTo>
                  <a:pt x="2246" y="1481"/>
                </a:lnTo>
                <a:lnTo>
                  <a:pt x="2248" y="1478"/>
                </a:lnTo>
                <a:lnTo>
                  <a:pt x="2250" y="1475"/>
                </a:lnTo>
                <a:lnTo>
                  <a:pt x="2253" y="1473"/>
                </a:lnTo>
                <a:lnTo>
                  <a:pt x="2256" y="1471"/>
                </a:lnTo>
                <a:lnTo>
                  <a:pt x="2264" y="1468"/>
                </a:lnTo>
                <a:lnTo>
                  <a:pt x="2270" y="1464"/>
                </a:lnTo>
                <a:lnTo>
                  <a:pt x="2275" y="1461"/>
                </a:lnTo>
                <a:lnTo>
                  <a:pt x="2278" y="1458"/>
                </a:lnTo>
                <a:lnTo>
                  <a:pt x="2279" y="1456"/>
                </a:lnTo>
                <a:lnTo>
                  <a:pt x="2278" y="1454"/>
                </a:lnTo>
                <a:lnTo>
                  <a:pt x="2277" y="1452"/>
                </a:lnTo>
                <a:lnTo>
                  <a:pt x="2274" y="1449"/>
                </a:lnTo>
                <a:lnTo>
                  <a:pt x="2270" y="1447"/>
                </a:lnTo>
                <a:lnTo>
                  <a:pt x="2267" y="1446"/>
                </a:lnTo>
                <a:lnTo>
                  <a:pt x="2262" y="1445"/>
                </a:lnTo>
                <a:lnTo>
                  <a:pt x="2259" y="1445"/>
                </a:lnTo>
                <a:lnTo>
                  <a:pt x="2253" y="1445"/>
                </a:lnTo>
                <a:lnTo>
                  <a:pt x="2247" y="1447"/>
                </a:lnTo>
                <a:lnTo>
                  <a:pt x="2237" y="1452"/>
                </a:lnTo>
                <a:lnTo>
                  <a:pt x="2234" y="1455"/>
                </a:lnTo>
                <a:lnTo>
                  <a:pt x="2229" y="1457"/>
                </a:lnTo>
                <a:lnTo>
                  <a:pt x="2221" y="1459"/>
                </a:lnTo>
                <a:lnTo>
                  <a:pt x="2216" y="1459"/>
                </a:lnTo>
                <a:lnTo>
                  <a:pt x="2213" y="1457"/>
                </a:lnTo>
                <a:lnTo>
                  <a:pt x="2212" y="1456"/>
                </a:lnTo>
                <a:lnTo>
                  <a:pt x="2212" y="1454"/>
                </a:lnTo>
                <a:lnTo>
                  <a:pt x="2213" y="1452"/>
                </a:lnTo>
                <a:lnTo>
                  <a:pt x="2214" y="1449"/>
                </a:lnTo>
                <a:lnTo>
                  <a:pt x="2218" y="1443"/>
                </a:lnTo>
                <a:lnTo>
                  <a:pt x="2224" y="1440"/>
                </a:lnTo>
                <a:lnTo>
                  <a:pt x="2229" y="1438"/>
                </a:lnTo>
                <a:lnTo>
                  <a:pt x="2234" y="1436"/>
                </a:lnTo>
                <a:lnTo>
                  <a:pt x="2237" y="1435"/>
                </a:lnTo>
                <a:lnTo>
                  <a:pt x="2239" y="1433"/>
                </a:lnTo>
                <a:lnTo>
                  <a:pt x="2238" y="1430"/>
                </a:lnTo>
                <a:lnTo>
                  <a:pt x="2235" y="1426"/>
                </a:lnTo>
                <a:lnTo>
                  <a:pt x="2229" y="1420"/>
                </a:lnTo>
                <a:lnTo>
                  <a:pt x="2222" y="1417"/>
                </a:lnTo>
                <a:lnTo>
                  <a:pt x="2214" y="1414"/>
                </a:lnTo>
                <a:lnTo>
                  <a:pt x="2207" y="1412"/>
                </a:lnTo>
                <a:lnTo>
                  <a:pt x="2201" y="1411"/>
                </a:lnTo>
                <a:lnTo>
                  <a:pt x="2194" y="1411"/>
                </a:lnTo>
                <a:lnTo>
                  <a:pt x="2190" y="1412"/>
                </a:lnTo>
                <a:lnTo>
                  <a:pt x="2187" y="1413"/>
                </a:lnTo>
                <a:lnTo>
                  <a:pt x="2183" y="1414"/>
                </a:lnTo>
                <a:lnTo>
                  <a:pt x="2178" y="1413"/>
                </a:lnTo>
                <a:lnTo>
                  <a:pt x="2171" y="1411"/>
                </a:lnTo>
                <a:lnTo>
                  <a:pt x="2164" y="1408"/>
                </a:lnTo>
                <a:lnTo>
                  <a:pt x="2159" y="1404"/>
                </a:lnTo>
                <a:lnTo>
                  <a:pt x="2156" y="1399"/>
                </a:lnTo>
                <a:lnTo>
                  <a:pt x="2156" y="1397"/>
                </a:lnTo>
                <a:lnTo>
                  <a:pt x="2156" y="1395"/>
                </a:lnTo>
                <a:lnTo>
                  <a:pt x="2158" y="1393"/>
                </a:lnTo>
                <a:lnTo>
                  <a:pt x="2160" y="1391"/>
                </a:lnTo>
                <a:lnTo>
                  <a:pt x="2171" y="1385"/>
                </a:lnTo>
                <a:lnTo>
                  <a:pt x="2180" y="1382"/>
                </a:lnTo>
                <a:lnTo>
                  <a:pt x="2183" y="1381"/>
                </a:lnTo>
                <a:lnTo>
                  <a:pt x="2185" y="1379"/>
                </a:lnTo>
                <a:lnTo>
                  <a:pt x="2185" y="1375"/>
                </a:lnTo>
                <a:lnTo>
                  <a:pt x="2184" y="1371"/>
                </a:lnTo>
                <a:lnTo>
                  <a:pt x="2181" y="1365"/>
                </a:lnTo>
                <a:lnTo>
                  <a:pt x="2177" y="1357"/>
                </a:lnTo>
                <a:lnTo>
                  <a:pt x="2172" y="1348"/>
                </a:lnTo>
                <a:lnTo>
                  <a:pt x="2167" y="1340"/>
                </a:lnTo>
                <a:lnTo>
                  <a:pt x="2165" y="1337"/>
                </a:lnTo>
                <a:lnTo>
                  <a:pt x="2162" y="1335"/>
                </a:lnTo>
                <a:lnTo>
                  <a:pt x="2160" y="1333"/>
                </a:lnTo>
                <a:lnTo>
                  <a:pt x="2158" y="1333"/>
                </a:lnTo>
                <a:lnTo>
                  <a:pt x="2155" y="1335"/>
                </a:lnTo>
                <a:lnTo>
                  <a:pt x="2152" y="1338"/>
                </a:lnTo>
                <a:lnTo>
                  <a:pt x="2151" y="1342"/>
                </a:lnTo>
                <a:lnTo>
                  <a:pt x="2149" y="1347"/>
                </a:lnTo>
                <a:lnTo>
                  <a:pt x="2147" y="1360"/>
                </a:lnTo>
                <a:lnTo>
                  <a:pt x="2143" y="1368"/>
                </a:lnTo>
                <a:lnTo>
                  <a:pt x="2142" y="1370"/>
                </a:lnTo>
                <a:lnTo>
                  <a:pt x="2140" y="1372"/>
                </a:lnTo>
                <a:lnTo>
                  <a:pt x="2138" y="1373"/>
                </a:lnTo>
                <a:lnTo>
                  <a:pt x="2136" y="1374"/>
                </a:lnTo>
                <a:lnTo>
                  <a:pt x="2132" y="1374"/>
                </a:lnTo>
                <a:lnTo>
                  <a:pt x="2128" y="1372"/>
                </a:lnTo>
                <a:lnTo>
                  <a:pt x="2125" y="1370"/>
                </a:lnTo>
                <a:lnTo>
                  <a:pt x="2122" y="1367"/>
                </a:lnTo>
                <a:lnTo>
                  <a:pt x="2116" y="1362"/>
                </a:lnTo>
                <a:lnTo>
                  <a:pt x="2108" y="1358"/>
                </a:lnTo>
                <a:lnTo>
                  <a:pt x="2105" y="1354"/>
                </a:lnTo>
                <a:lnTo>
                  <a:pt x="2102" y="1350"/>
                </a:lnTo>
                <a:lnTo>
                  <a:pt x="2100" y="1346"/>
                </a:lnTo>
                <a:lnTo>
                  <a:pt x="2098" y="1341"/>
                </a:lnTo>
                <a:lnTo>
                  <a:pt x="2098" y="1329"/>
                </a:lnTo>
                <a:lnTo>
                  <a:pt x="2099" y="1319"/>
                </a:lnTo>
                <a:lnTo>
                  <a:pt x="2100" y="1314"/>
                </a:lnTo>
                <a:lnTo>
                  <a:pt x="2099" y="1309"/>
                </a:lnTo>
                <a:lnTo>
                  <a:pt x="2098" y="1305"/>
                </a:lnTo>
                <a:lnTo>
                  <a:pt x="2094" y="1301"/>
                </a:lnTo>
                <a:lnTo>
                  <a:pt x="2078" y="1284"/>
                </a:lnTo>
                <a:lnTo>
                  <a:pt x="2067" y="1272"/>
                </a:lnTo>
                <a:lnTo>
                  <a:pt x="2064" y="1271"/>
                </a:lnTo>
                <a:lnTo>
                  <a:pt x="2063" y="1269"/>
                </a:lnTo>
                <a:lnTo>
                  <a:pt x="2062" y="1266"/>
                </a:lnTo>
                <a:lnTo>
                  <a:pt x="2063" y="1263"/>
                </a:lnTo>
                <a:lnTo>
                  <a:pt x="2064" y="1258"/>
                </a:lnTo>
                <a:lnTo>
                  <a:pt x="2069" y="1252"/>
                </a:lnTo>
                <a:lnTo>
                  <a:pt x="2070" y="1249"/>
                </a:lnTo>
                <a:lnTo>
                  <a:pt x="2070" y="1242"/>
                </a:lnTo>
                <a:lnTo>
                  <a:pt x="2068" y="1235"/>
                </a:lnTo>
                <a:lnTo>
                  <a:pt x="2064" y="1229"/>
                </a:lnTo>
                <a:lnTo>
                  <a:pt x="2060" y="1221"/>
                </a:lnTo>
                <a:lnTo>
                  <a:pt x="2055" y="1215"/>
                </a:lnTo>
                <a:lnTo>
                  <a:pt x="2052" y="1213"/>
                </a:lnTo>
                <a:lnTo>
                  <a:pt x="2049" y="1211"/>
                </a:lnTo>
                <a:lnTo>
                  <a:pt x="2047" y="1210"/>
                </a:lnTo>
                <a:lnTo>
                  <a:pt x="2042" y="1209"/>
                </a:lnTo>
                <a:lnTo>
                  <a:pt x="2025" y="1209"/>
                </a:lnTo>
                <a:lnTo>
                  <a:pt x="2004" y="1209"/>
                </a:lnTo>
                <a:lnTo>
                  <a:pt x="1993" y="1209"/>
                </a:lnTo>
                <a:lnTo>
                  <a:pt x="1986" y="1211"/>
                </a:lnTo>
                <a:lnTo>
                  <a:pt x="1983" y="1211"/>
                </a:lnTo>
                <a:lnTo>
                  <a:pt x="1981" y="1212"/>
                </a:lnTo>
                <a:lnTo>
                  <a:pt x="1980" y="1214"/>
                </a:lnTo>
                <a:lnTo>
                  <a:pt x="1980" y="1215"/>
                </a:lnTo>
                <a:lnTo>
                  <a:pt x="1984" y="1219"/>
                </a:lnTo>
                <a:lnTo>
                  <a:pt x="1990" y="1226"/>
                </a:lnTo>
                <a:lnTo>
                  <a:pt x="1998" y="1232"/>
                </a:lnTo>
                <a:lnTo>
                  <a:pt x="2008" y="1238"/>
                </a:lnTo>
                <a:lnTo>
                  <a:pt x="2025" y="1250"/>
                </a:lnTo>
                <a:lnTo>
                  <a:pt x="2033" y="1255"/>
                </a:lnTo>
                <a:lnTo>
                  <a:pt x="2037" y="1255"/>
                </a:lnTo>
                <a:lnTo>
                  <a:pt x="2047" y="1256"/>
                </a:lnTo>
                <a:lnTo>
                  <a:pt x="2051" y="1256"/>
                </a:lnTo>
                <a:lnTo>
                  <a:pt x="2054" y="1258"/>
                </a:lnTo>
                <a:lnTo>
                  <a:pt x="2056" y="1259"/>
                </a:lnTo>
                <a:lnTo>
                  <a:pt x="2056" y="1260"/>
                </a:lnTo>
                <a:lnTo>
                  <a:pt x="2056" y="1261"/>
                </a:lnTo>
                <a:lnTo>
                  <a:pt x="2056" y="1262"/>
                </a:lnTo>
                <a:lnTo>
                  <a:pt x="2050" y="1269"/>
                </a:lnTo>
                <a:lnTo>
                  <a:pt x="2042" y="1275"/>
                </a:lnTo>
                <a:lnTo>
                  <a:pt x="2039" y="1278"/>
                </a:lnTo>
                <a:lnTo>
                  <a:pt x="2036" y="1282"/>
                </a:lnTo>
                <a:lnTo>
                  <a:pt x="2033" y="1286"/>
                </a:lnTo>
                <a:lnTo>
                  <a:pt x="2032" y="1292"/>
                </a:lnTo>
                <a:lnTo>
                  <a:pt x="2030" y="1304"/>
                </a:lnTo>
                <a:lnTo>
                  <a:pt x="2027" y="1318"/>
                </a:lnTo>
                <a:lnTo>
                  <a:pt x="2024" y="1322"/>
                </a:lnTo>
                <a:lnTo>
                  <a:pt x="2020" y="1325"/>
                </a:lnTo>
                <a:lnTo>
                  <a:pt x="2018" y="1325"/>
                </a:lnTo>
                <a:lnTo>
                  <a:pt x="2016" y="1325"/>
                </a:lnTo>
                <a:lnTo>
                  <a:pt x="2014" y="1323"/>
                </a:lnTo>
                <a:lnTo>
                  <a:pt x="2011" y="1321"/>
                </a:lnTo>
                <a:lnTo>
                  <a:pt x="2003" y="1309"/>
                </a:lnTo>
                <a:lnTo>
                  <a:pt x="1996" y="1300"/>
                </a:lnTo>
                <a:lnTo>
                  <a:pt x="1994" y="1297"/>
                </a:lnTo>
                <a:lnTo>
                  <a:pt x="1993" y="1296"/>
                </a:lnTo>
                <a:lnTo>
                  <a:pt x="1991" y="1298"/>
                </a:lnTo>
                <a:lnTo>
                  <a:pt x="1990" y="1302"/>
                </a:lnTo>
                <a:lnTo>
                  <a:pt x="1988" y="1307"/>
                </a:lnTo>
                <a:lnTo>
                  <a:pt x="1985" y="1314"/>
                </a:lnTo>
                <a:lnTo>
                  <a:pt x="1982" y="1320"/>
                </a:lnTo>
                <a:lnTo>
                  <a:pt x="1979" y="1324"/>
                </a:lnTo>
                <a:lnTo>
                  <a:pt x="1975" y="1328"/>
                </a:lnTo>
                <a:lnTo>
                  <a:pt x="1972" y="1330"/>
                </a:lnTo>
                <a:lnTo>
                  <a:pt x="1971" y="1330"/>
                </a:lnTo>
                <a:lnTo>
                  <a:pt x="1970" y="1330"/>
                </a:lnTo>
                <a:lnTo>
                  <a:pt x="1969" y="1330"/>
                </a:lnTo>
                <a:lnTo>
                  <a:pt x="1969" y="1328"/>
                </a:lnTo>
                <a:lnTo>
                  <a:pt x="1970" y="1317"/>
                </a:lnTo>
                <a:lnTo>
                  <a:pt x="1974" y="1300"/>
                </a:lnTo>
                <a:lnTo>
                  <a:pt x="1976" y="1292"/>
                </a:lnTo>
                <a:lnTo>
                  <a:pt x="1978" y="1283"/>
                </a:lnTo>
                <a:lnTo>
                  <a:pt x="1978" y="1276"/>
                </a:lnTo>
                <a:lnTo>
                  <a:pt x="1976" y="1271"/>
                </a:lnTo>
                <a:lnTo>
                  <a:pt x="1970" y="1254"/>
                </a:lnTo>
                <a:lnTo>
                  <a:pt x="1964" y="1230"/>
                </a:lnTo>
                <a:lnTo>
                  <a:pt x="1960" y="1217"/>
                </a:lnTo>
                <a:lnTo>
                  <a:pt x="1957" y="1207"/>
                </a:lnTo>
                <a:lnTo>
                  <a:pt x="1953" y="1198"/>
                </a:lnTo>
                <a:lnTo>
                  <a:pt x="1951" y="1195"/>
                </a:lnTo>
                <a:lnTo>
                  <a:pt x="1946" y="1197"/>
                </a:lnTo>
                <a:lnTo>
                  <a:pt x="1936" y="1205"/>
                </a:lnTo>
                <a:lnTo>
                  <a:pt x="1922" y="1215"/>
                </a:lnTo>
                <a:lnTo>
                  <a:pt x="1907" y="1228"/>
                </a:lnTo>
                <a:lnTo>
                  <a:pt x="1894" y="1241"/>
                </a:lnTo>
                <a:lnTo>
                  <a:pt x="1882" y="1254"/>
                </a:lnTo>
                <a:lnTo>
                  <a:pt x="1878" y="1259"/>
                </a:lnTo>
                <a:lnTo>
                  <a:pt x="1875" y="1264"/>
                </a:lnTo>
                <a:lnTo>
                  <a:pt x="1874" y="1269"/>
                </a:lnTo>
                <a:lnTo>
                  <a:pt x="1874" y="1271"/>
                </a:lnTo>
                <a:lnTo>
                  <a:pt x="1882" y="1282"/>
                </a:lnTo>
                <a:lnTo>
                  <a:pt x="1891" y="1294"/>
                </a:lnTo>
                <a:lnTo>
                  <a:pt x="1894" y="1299"/>
                </a:lnTo>
                <a:lnTo>
                  <a:pt x="1896" y="1304"/>
                </a:lnTo>
                <a:lnTo>
                  <a:pt x="1897" y="1308"/>
                </a:lnTo>
                <a:lnTo>
                  <a:pt x="1897" y="1311"/>
                </a:lnTo>
                <a:lnTo>
                  <a:pt x="1893" y="1316"/>
                </a:lnTo>
                <a:lnTo>
                  <a:pt x="1888" y="1321"/>
                </a:lnTo>
                <a:lnTo>
                  <a:pt x="1887" y="1322"/>
                </a:lnTo>
                <a:lnTo>
                  <a:pt x="1886" y="1324"/>
                </a:lnTo>
                <a:lnTo>
                  <a:pt x="1885" y="1326"/>
                </a:lnTo>
                <a:lnTo>
                  <a:pt x="1886" y="1329"/>
                </a:lnTo>
                <a:lnTo>
                  <a:pt x="1888" y="1335"/>
                </a:lnTo>
                <a:lnTo>
                  <a:pt x="1892" y="1342"/>
                </a:lnTo>
                <a:lnTo>
                  <a:pt x="1894" y="1349"/>
                </a:lnTo>
                <a:lnTo>
                  <a:pt x="1894" y="1357"/>
                </a:lnTo>
                <a:lnTo>
                  <a:pt x="1894" y="1367"/>
                </a:lnTo>
                <a:lnTo>
                  <a:pt x="1892" y="1380"/>
                </a:lnTo>
                <a:lnTo>
                  <a:pt x="1891" y="1391"/>
                </a:lnTo>
                <a:lnTo>
                  <a:pt x="1888" y="1395"/>
                </a:lnTo>
                <a:lnTo>
                  <a:pt x="1883" y="1392"/>
                </a:lnTo>
                <a:lnTo>
                  <a:pt x="1874" y="1387"/>
                </a:lnTo>
                <a:lnTo>
                  <a:pt x="1870" y="1384"/>
                </a:lnTo>
                <a:lnTo>
                  <a:pt x="1865" y="1379"/>
                </a:lnTo>
                <a:lnTo>
                  <a:pt x="1862" y="1374"/>
                </a:lnTo>
                <a:lnTo>
                  <a:pt x="1861" y="1369"/>
                </a:lnTo>
                <a:lnTo>
                  <a:pt x="1860" y="1362"/>
                </a:lnTo>
                <a:lnTo>
                  <a:pt x="1857" y="1354"/>
                </a:lnTo>
                <a:lnTo>
                  <a:pt x="1854" y="1345"/>
                </a:lnTo>
                <a:lnTo>
                  <a:pt x="1851" y="1336"/>
                </a:lnTo>
                <a:lnTo>
                  <a:pt x="1843" y="1318"/>
                </a:lnTo>
                <a:lnTo>
                  <a:pt x="1839" y="1306"/>
                </a:lnTo>
                <a:lnTo>
                  <a:pt x="1838" y="1302"/>
                </a:lnTo>
                <a:lnTo>
                  <a:pt x="1839" y="1299"/>
                </a:lnTo>
                <a:lnTo>
                  <a:pt x="1840" y="1297"/>
                </a:lnTo>
                <a:lnTo>
                  <a:pt x="1842" y="1295"/>
                </a:lnTo>
                <a:lnTo>
                  <a:pt x="1847" y="1291"/>
                </a:lnTo>
                <a:lnTo>
                  <a:pt x="1848" y="1287"/>
                </a:lnTo>
                <a:lnTo>
                  <a:pt x="1845" y="1283"/>
                </a:lnTo>
                <a:lnTo>
                  <a:pt x="1840" y="1277"/>
                </a:lnTo>
                <a:lnTo>
                  <a:pt x="1838" y="1273"/>
                </a:lnTo>
                <a:lnTo>
                  <a:pt x="1836" y="1269"/>
                </a:lnTo>
                <a:lnTo>
                  <a:pt x="1836" y="1265"/>
                </a:lnTo>
                <a:lnTo>
                  <a:pt x="1838" y="1262"/>
                </a:lnTo>
                <a:lnTo>
                  <a:pt x="1851" y="1248"/>
                </a:lnTo>
                <a:lnTo>
                  <a:pt x="1869" y="1223"/>
                </a:lnTo>
                <a:lnTo>
                  <a:pt x="1878" y="1211"/>
                </a:lnTo>
                <a:lnTo>
                  <a:pt x="1884" y="1200"/>
                </a:lnTo>
                <a:lnTo>
                  <a:pt x="1886" y="1195"/>
                </a:lnTo>
                <a:lnTo>
                  <a:pt x="1888" y="1192"/>
                </a:lnTo>
                <a:lnTo>
                  <a:pt x="1888" y="1189"/>
                </a:lnTo>
                <a:lnTo>
                  <a:pt x="1888" y="1188"/>
                </a:lnTo>
                <a:lnTo>
                  <a:pt x="1882" y="1187"/>
                </a:lnTo>
                <a:lnTo>
                  <a:pt x="1873" y="1188"/>
                </a:lnTo>
                <a:lnTo>
                  <a:pt x="1859" y="1189"/>
                </a:lnTo>
                <a:lnTo>
                  <a:pt x="1844" y="1192"/>
                </a:lnTo>
                <a:lnTo>
                  <a:pt x="1830" y="1195"/>
                </a:lnTo>
                <a:lnTo>
                  <a:pt x="1817" y="1199"/>
                </a:lnTo>
                <a:lnTo>
                  <a:pt x="1812" y="1203"/>
                </a:lnTo>
                <a:lnTo>
                  <a:pt x="1807" y="1205"/>
                </a:lnTo>
                <a:lnTo>
                  <a:pt x="1804" y="1208"/>
                </a:lnTo>
                <a:lnTo>
                  <a:pt x="1801" y="1210"/>
                </a:lnTo>
                <a:lnTo>
                  <a:pt x="1794" y="1227"/>
                </a:lnTo>
                <a:lnTo>
                  <a:pt x="1782" y="1250"/>
                </a:lnTo>
                <a:lnTo>
                  <a:pt x="1776" y="1262"/>
                </a:lnTo>
                <a:lnTo>
                  <a:pt x="1771" y="1275"/>
                </a:lnTo>
                <a:lnTo>
                  <a:pt x="1767" y="1287"/>
                </a:lnTo>
                <a:lnTo>
                  <a:pt x="1766" y="1299"/>
                </a:lnTo>
                <a:lnTo>
                  <a:pt x="1767" y="1322"/>
                </a:lnTo>
                <a:lnTo>
                  <a:pt x="1768" y="1343"/>
                </a:lnTo>
                <a:lnTo>
                  <a:pt x="1770" y="1352"/>
                </a:lnTo>
                <a:lnTo>
                  <a:pt x="1772" y="1360"/>
                </a:lnTo>
                <a:lnTo>
                  <a:pt x="1775" y="1366"/>
                </a:lnTo>
                <a:lnTo>
                  <a:pt x="1779" y="1370"/>
                </a:lnTo>
                <a:lnTo>
                  <a:pt x="1786" y="1373"/>
                </a:lnTo>
                <a:lnTo>
                  <a:pt x="1794" y="1375"/>
                </a:lnTo>
                <a:lnTo>
                  <a:pt x="1805" y="1379"/>
                </a:lnTo>
                <a:lnTo>
                  <a:pt x="1815" y="1381"/>
                </a:lnTo>
                <a:lnTo>
                  <a:pt x="1823" y="1383"/>
                </a:lnTo>
                <a:lnTo>
                  <a:pt x="1830" y="1385"/>
                </a:lnTo>
                <a:lnTo>
                  <a:pt x="1832" y="1386"/>
                </a:lnTo>
                <a:lnTo>
                  <a:pt x="1833" y="1387"/>
                </a:lnTo>
                <a:lnTo>
                  <a:pt x="1833" y="1389"/>
                </a:lnTo>
                <a:lnTo>
                  <a:pt x="1831" y="1390"/>
                </a:lnTo>
                <a:lnTo>
                  <a:pt x="1816" y="1394"/>
                </a:lnTo>
                <a:lnTo>
                  <a:pt x="1797" y="1398"/>
                </a:lnTo>
                <a:lnTo>
                  <a:pt x="1789" y="1401"/>
                </a:lnTo>
                <a:lnTo>
                  <a:pt x="1783" y="1403"/>
                </a:lnTo>
                <a:lnTo>
                  <a:pt x="1782" y="1403"/>
                </a:lnTo>
                <a:lnTo>
                  <a:pt x="1781" y="1404"/>
                </a:lnTo>
                <a:lnTo>
                  <a:pt x="1781" y="1405"/>
                </a:lnTo>
                <a:lnTo>
                  <a:pt x="1782" y="1406"/>
                </a:lnTo>
                <a:lnTo>
                  <a:pt x="1800" y="1418"/>
                </a:lnTo>
                <a:lnTo>
                  <a:pt x="1834" y="1438"/>
                </a:lnTo>
                <a:lnTo>
                  <a:pt x="1864" y="1458"/>
                </a:lnTo>
                <a:lnTo>
                  <a:pt x="1878" y="1468"/>
                </a:lnTo>
                <a:lnTo>
                  <a:pt x="1877" y="1474"/>
                </a:lnTo>
                <a:lnTo>
                  <a:pt x="1876" y="1489"/>
                </a:lnTo>
                <a:lnTo>
                  <a:pt x="1875" y="1497"/>
                </a:lnTo>
                <a:lnTo>
                  <a:pt x="1875" y="1504"/>
                </a:lnTo>
                <a:lnTo>
                  <a:pt x="1876" y="1511"/>
                </a:lnTo>
                <a:lnTo>
                  <a:pt x="1877" y="1514"/>
                </a:lnTo>
                <a:lnTo>
                  <a:pt x="1881" y="1517"/>
                </a:lnTo>
                <a:lnTo>
                  <a:pt x="1886" y="1520"/>
                </a:lnTo>
                <a:lnTo>
                  <a:pt x="1888" y="1521"/>
                </a:lnTo>
                <a:lnTo>
                  <a:pt x="1889" y="1523"/>
                </a:lnTo>
                <a:lnTo>
                  <a:pt x="1891" y="1524"/>
                </a:lnTo>
                <a:lnTo>
                  <a:pt x="1891" y="1527"/>
                </a:lnTo>
                <a:lnTo>
                  <a:pt x="1888" y="1529"/>
                </a:lnTo>
                <a:lnTo>
                  <a:pt x="1885" y="1531"/>
                </a:lnTo>
                <a:lnTo>
                  <a:pt x="1881" y="1534"/>
                </a:lnTo>
                <a:lnTo>
                  <a:pt x="1876" y="1536"/>
                </a:lnTo>
                <a:lnTo>
                  <a:pt x="1872" y="1538"/>
                </a:lnTo>
                <a:lnTo>
                  <a:pt x="1866" y="1540"/>
                </a:lnTo>
                <a:lnTo>
                  <a:pt x="1863" y="1544"/>
                </a:lnTo>
                <a:lnTo>
                  <a:pt x="1861" y="1548"/>
                </a:lnTo>
                <a:lnTo>
                  <a:pt x="1859" y="1558"/>
                </a:lnTo>
                <a:lnTo>
                  <a:pt x="1859" y="1568"/>
                </a:lnTo>
                <a:lnTo>
                  <a:pt x="1859" y="1573"/>
                </a:lnTo>
                <a:lnTo>
                  <a:pt x="1858" y="1579"/>
                </a:lnTo>
                <a:lnTo>
                  <a:pt x="1856" y="1583"/>
                </a:lnTo>
                <a:lnTo>
                  <a:pt x="1853" y="1588"/>
                </a:lnTo>
                <a:lnTo>
                  <a:pt x="1843" y="1605"/>
                </a:lnTo>
                <a:lnTo>
                  <a:pt x="1836" y="1616"/>
                </a:lnTo>
                <a:lnTo>
                  <a:pt x="1835" y="1617"/>
                </a:lnTo>
                <a:lnTo>
                  <a:pt x="1833" y="1616"/>
                </a:lnTo>
                <a:lnTo>
                  <a:pt x="1831" y="1615"/>
                </a:lnTo>
                <a:lnTo>
                  <a:pt x="1828" y="1613"/>
                </a:lnTo>
                <a:lnTo>
                  <a:pt x="1822" y="1607"/>
                </a:lnTo>
                <a:lnTo>
                  <a:pt x="1817" y="1600"/>
                </a:lnTo>
                <a:lnTo>
                  <a:pt x="1812" y="1591"/>
                </a:lnTo>
                <a:lnTo>
                  <a:pt x="1809" y="1583"/>
                </a:lnTo>
                <a:lnTo>
                  <a:pt x="1809" y="1579"/>
                </a:lnTo>
                <a:lnTo>
                  <a:pt x="1808" y="1574"/>
                </a:lnTo>
                <a:lnTo>
                  <a:pt x="1809" y="1571"/>
                </a:lnTo>
                <a:lnTo>
                  <a:pt x="1810" y="1568"/>
                </a:lnTo>
                <a:lnTo>
                  <a:pt x="1816" y="1557"/>
                </a:lnTo>
                <a:lnTo>
                  <a:pt x="1820" y="1545"/>
                </a:lnTo>
                <a:lnTo>
                  <a:pt x="1821" y="1535"/>
                </a:lnTo>
                <a:lnTo>
                  <a:pt x="1821" y="1525"/>
                </a:lnTo>
                <a:lnTo>
                  <a:pt x="1819" y="1521"/>
                </a:lnTo>
                <a:lnTo>
                  <a:pt x="1815" y="1516"/>
                </a:lnTo>
                <a:lnTo>
                  <a:pt x="1809" y="1512"/>
                </a:lnTo>
                <a:lnTo>
                  <a:pt x="1801" y="1508"/>
                </a:lnTo>
                <a:lnTo>
                  <a:pt x="1794" y="1505"/>
                </a:lnTo>
                <a:lnTo>
                  <a:pt x="1788" y="1503"/>
                </a:lnTo>
                <a:lnTo>
                  <a:pt x="1784" y="1502"/>
                </a:lnTo>
                <a:lnTo>
                  <a:pt x="1782" y="1503"/>
                </a:lnTo>
                <a:lnTo>
                  <a:pt x="1779" y="1514"/>
                </a:lnTo>
                <a:lnTo>
                  <a:pt x="1778" y="1536"/>
                </a:lnTo>
                <a:lnTo>
                  <a:pt x="1777" y="1546"/>
                </a:lnTo>
                <a:lnTo>
                  <a:pt x="1776" y="1556"/>
                </a:lnTo>
                <a:lnTo>
                  <a:pt x="1774" y="1559"/>
                </a:lnTo>
                <a:lnTo>
                  <a:pt x="1773" y="1561"/>
                </a:lnTo>
                <a:lnTo>
                  <a:pt x="1772" y="1562"/>
                </a:lnTo>
                <a:lnTo>
                  <a:pt x="1770" y="1562"/>
                </a:lnTo>
                <a:lnTo>
                  <a:pt x="1763" y="1559"/>
                </a:lnTo>
                <a:lnTo>
                  <a:pt x="1757" y="1557"/>
                </a:lnTo>
                <a:lnTo>
                  <a:pt x="1756" y="1555"/>
                </a:lnTo>
                <a:lnTo>
                  <a:pt x="1755" y="1552"/>
                </a:lnTo>
                <a:lnTo>
                  <a:pt x="1755" y="1548"/>
                </a:lnTo>
                <a:lnTo>
                  <a:pt x="1755" y="1543"/>
                </a:lnTo>
                <a:lnTo>
                  <a:pt x="1757" y="1528"/>
                </a:lnTo>
                <a:lnTo>
                  <a:pt x="1760" y="1515"/>
                </a:lnTo>
                <a:lnTo>
                  <a:pt x="1760" y="1507"/>
                </a:lnTo>
                <a:lnTo>
                  <a:pt x="1759" y="1501"/>
                </a:lnTo>
                <a:lnTo>
                  <a:pt x="1756" y="1496"/>
                </a:lnTo>
                <a:lnTo>
                  <a:pt x="1753" y="1492"/>
                </a:lnTo>
                <a:lnTo>
                  <a:pt x="1748" y="1487"/>
                </a:lnTo>
                <a:lnTo>
                  <a:pt x="1741" y="1485"/>
                </a:lnTo>
                <a:lnTo>
                  <a:pt x="1732" y="1482"/>
                </a:lnTo>
                <a:lnTo>
                  <a:pt x="1724" y="1480"/>
                </a:lnTo>
                <a:lnTo>
                  <a:pt x="1717" y="1477"/>
                </a:lnTo>
                <a:lnTo>
                  <a:pt x="1711" y="1473"/>
                </a:lnTo>
                <a:lnTo>
                  <a:pt x="1710" y="1471"/>
                </a:lnTo>
                <a:lnTo>
                  <a:pt x="1709" y="1468"/>
                </a:lnTo>
                <a:lnTo>
                  <a:pt x="1709" y="1464"/>
                </a:lnTo>
                <a:lnTo>
                  <a:pt x="1710" y="1461"/>
                </a:lnTo>
                <a:lnTo>
                  <a:pt x="1716" y="1448"/>
                </a:lnTo>
                <a:lnTo>
                  <a:pt x="1719" y="1438"/>
                </a:lnTo>
                <a:lnTo>
                  <a:pt x="1720" y="1434"/>
                </a:lnTo>
                <a:lnTo>
                  <a:pt x="1720" y="1430"/>
                </a:lnTo>
                <a:lnTo>
                  <a:pt x="1720" y="1427"/>
                </a:lnTo>
                <a:lnTo>
                  <a:pt x="1719" y="1424"/>
                </a:lnTo>
                <a:lnTo>
                  <a:pt x="1707" y="1410"/>
                </a:lnTo>
                <a:lnTo>
                  <a:pt x="1687" y="1385"/>
                </a:lnTo>
                <a:lnTo>
                  <a:pt x="1683" y="1377"/>
                </a:lnTo>
                <a:lnTo>
                  <a:pt x="1679" y="1370"/>
                </a:lnTo>
                <a:lnTo>
                  <a:pt x="1676" y="1363"/>
                </a:lnTo>
                <a:lnTo>
                  <a:pt x="1674" y="1355"/>
                </a:lnTo>
                <a:lnTo>
                  <a:pt x="1672" y="1349"/>
                </a:lnTo>
                <a:lnTo>
                  <a:pt x="1672" y="1342"/>
                </a:lnTo>
                <a:lnTo>
                  <a:pt x="1673" y="1336"/>
                </a:lnTo>
                <a:lnTo>
                  <a:pt x="1676" y="1330"/>
                </a:lnTo>
                <a:lnTo>
                  <a:pt x="1689" y="1314"/>
                </a:lnTo>
                <a:lnTo>
                  <a:pt x="1698" y="1305"/>
                </a:lnTo>
                <a:lnTo>
                  <a:pt x="1700" y="1302"/>
                </a:lnTo>
                <a:lnTo>
                  <a:pt x="1701" y="1299"/>
                </a:lnTo>
                <a:lnTo>
                  <a:pt x="1700" y="1295"/>
                </a:lnTo>
                <a:lnTo>
                  <a:pt x="1697" y="1291"/>
                </a:lnTo>
                <a:lnTo>
                  <a:pt x="1690" y="1285"/>
                </a:lnTo>
                <a:lnTo>
                  <a:pt x="1684" y="1281"/>
                </a:lnTo>
                <a:lnTo>
                  <a:pt x="1676" y="1277"/>
                </a:lnTo>
                <a:lnTo>
                  <a:pt x="1669" y="1274"/>
                </a:lnTo>
                <a:lnTo>
                  <a:pt x="1667" y="1272"/>
                </a:lnTo>
                <a:lnTo>
                  <a:pt x="1665" y="1271"/>
                </a:lnTo>
                <a:lnTo>
                  <a:pt x="1665" y="1269"/>
                </a:lnTo>
                <a:lnTo>
                  <a:pt x="1665" y="1267"/>
                </a:lnTo>
                <a:lnTo>
                  <a:pt x="1667" y="1265"/>
                </a:lnTo>
                <a:lnTo>
                  <a:pt x="1669" y="1264"/>
                </a:lnTo>
                <a:lnTo>
                  <a:pt x="1675" y="1263"/>
                </a:lnTo>
                <a:lnTo>
                  <a:pt x="1681" y="1261"/>
                </a:lnTo>
                <a:lnTo>
                  <a:pt x="1694" y="1259"/>
                </a:lnTo>
                <a:lnTo>
                  <a:pt x="1702" y="1259"/>
                </a:lnTo>
                <a:lnTo>
                  <a:pt x="1706" y="1259"/>
                </a:lnTo>
                <a:lnTo>
                  <a:pt x="1709" y="1261"/>
                </a:lnTo>
                <a:lnTo>
                  <a:pt x="1713" y="1267"/>
                </a:lnTo>
                <a:lnTo>
                  <a:pt x="1720" y="1275"/>
                </a:lnTo>
                <a:lnTo>
                  <a:pt x="1723" y="1276"/>
                </a:lnTo>
                <a:lnTo>
                  <a:pt x="1725" y="1277"/>
                </a:lnTo>
                <a:lnTo>
                  <a:pt x="1727" y="1277"/>
                </a:lnTo>
                <a:lnTo>
                  <a:pt x="1729" y="1276"/>
                </a:lnTo>
                <a:lnTo>
                  <a:pt x="1731" y="1274"/>
                </a:lnTo>
                <a:lnTo>
                  <a:pt x="1734" y="1270"/>
                </a:lnTo>
                <a:lnTo>
                  <a:pt x="1737" y="1259"/>
                </a:lnTo>
                <a:lnTo>
                  <a:pt x="1738" y="1251"/>
                </a:lnTo>
                <a:lnTo>
                  <a:pt x="1740" y="1241"/>
                </a:lnTo>
                <a:lnTo>
                  <a:pt x="1744" y="1225"/>
                </a:lnTo>
                <a:lnTo>
                  <a:pt x="1747" y="1216"/>
                </a:lnTo>
                <a:lnTo>
                  <a:pt x="1749" y="1209"/>
                </a:lnTo>
                <a:lnTo>
                  <a:pt x="1752" y="1203"/>
                </a:lnTo>
                <a:lnTo>
                  <a:pt x="1754" y="1199"/>
                </a:lnTo>
                <a:lnTo>
                  <a:pt x="1763" y="1193"/>
                </a:lnTo>
                <a:lnTo>
                  <a:pt x="1773" y="1185"/>
                </a:lnTo>
                <a:lnTo>
                  <a:pt x="1777" y="1179"/>
                </a:lnTo>
                <a:lnTo>
                  <a:pt x="1779" y="1175"/>
                </a:lnTo>
                <a:lnTo>
                  <a:pt x="1781" y="1172"/>
                </a:lnTo>
                <a:lnTo>
                  <a:pt x="1781" y="1170"/>
                </a:lnTo>
                <a:lnTo>
                  <a:pt x="1779" y="1167"/>
                </a:lnTo>
                <a:lnTo>
                  <a:pt x="1777" y="1165"/>
                </a:lnTo>
                <a:lnTo>
                  <a:pt x="1775" y="1163"/>
                </a:lnTo>
                <a:lnTo>
                  <a:pt x="1772" y="1162"/>
                </a:lnTo>
                <a:lnTo>
                  <a:pt x="1769" y="1161"/>
                </a:lnTo>
                <a:lnTo>
                  <a:pt x="1766" y="1161"/>
                </a:lnTo>
                <a:lnTo>
                  <a:pt x="1759" y="1161"/>
                </a:lnTo>
                <a:lnTo>
                  <a:pt x="1751" y="1162"/>
                </a:lnTo>
                <a:lnTo>
                  <a:pt x="1744" y="1164"/>
                </a:lnTo>
                <a:lnTo>
                  <a:pt x="1737" y="1165"/>
                </a:lnTo>
                <a:lnTo>
                  <a:pt x="1730" y="1165"/>
                </a:lnTo>
                <a:lnTo>
                  <a:pt x="1725" y="1164"/>
                </a:lnTo>
                <a:lnTo>
                  <a:pt x="1721" y="1163"/>
                </a:lnTo>
                <a:lnTo>
                  <a:pt x="1717" y="1162"/>
                </a:lnTo>
                <a:lnTo>
                  <a:pt x="1712" y="1162"/>
                </a:lnTo>
                <a:lnTo>
                  <a:pt x="1708" y="1162"/>
                </a:lnTo>
                <a:lnTo>
                  <a:pt x="1702" y="1163"/>
                </a:lnTo>
                <a:lnTo>
                  <a:pt x="1697" y="1165"/>
                </a:lnTo>
                <a:lnTo>
                  <a:pt x="1687" y="1169"/>
                </a:lnTo>
                <a:lnTo>
                  <a:pt x="1673" y="1175"/>
                </a:lnTo>
                <a:lnTo>
                  <a:pt x="1665" y="1179"/>
                </a:lnTo>
                <a:lnTo>
                  <a:pt x="1660" y="1184"/>
                </a:lnTo>
                <a:lnTo>
                  <a:pt x="1657" y="1186"/>
                </a:lnTo>
                <a:lnTo>
                  <a:pt x="1655" y="1188"/>
                </a:lnTo>
                <a:lnTo>
                  <a:pt x="1654" y="1191"/>
                </a:lnTo>
                <a:lnTo>
                  <a:pt x="1653" y="1193"/>
                </a:lnTo>
                <a:lnTo>
                  <a:pt x="1654" y="1197"/>
                </a:lnTo>
                <a:lnTo>
                  <a:pt x="1655" y="1200"/>
                </a:lnTo>
                <a:lnTo>
                  <a:pt x="1656" y="1204"/>
                </a:lnTo>
                <a:lnTo>
                  <a:pt x="1658" y="1206"/>
                </a:lnTo>
                <a:lnTo>
                  <a:pt x="1660" y="1209"/>
                </a:lnTo>
                <a:lnTo>
                  <a:pt x="1661" y="1213"/>
                </a:lnTo>
                <a:lnTo>
                  <a:pt x="1661" y="1217"/>
                </a:lnTo>
                <a:lnTo>
                  <a:pt x="1661" y="1222"/>
                </a:lnTo>
                <a:lnTo>
                  <a:pt x="1659" y="1236"/>
                </a:lnTo>
                <a:lnTo>
                  <a:pt x="1657" y="1251"/>
                </a:lnTo>
                <a:lnTo>
                  <a:pt x="1656" y="1262"/>
                </a:lnTo>
                <a:lnTo>
                  <a:pt x="1655" y="1271"/>
                </a:lnTo>
                <a:lnTo>
                  <a:pt x="1657" y="1279"/>
                </a:lnTo>
                <a:lnTo>
                  <a:pt x="1662" y="1289"/>
                </a:lnTo>
                <a:lnTo>
                  <a:pt x="1663" y="1296"/>
                </a:lnTo>
                <a:lnTo>
                  <a:pt x="1665" y="1302"/>
                </a:lnTo>
                <a:lnTo>
                  <a:pt x="1665" y="1308"/>
                </a:lnTo>
                <a:lnTo>
                  <a:pt x="1664" y="1315"/>
                </a:lnTo>
                <a:lnTo>
                  <a:pt x="1660" y="1327"/>
                </a:lnTo>
                <a:lnTo>
                  <a:pt x="1654" y="1338"/>
                </a:lnTo>
                <a:lnTo>
                  <a:pt x="1649" y="1347"/>
                </a:lnTo>
                <a:lnTo>
                  <a:pt x="1645" y="1353"/>
                </a:lnTo>
                <a:lnTo>
                  <a:pt x="1642" y="1357"/>
                </a:lnTo>
                <a:lnTo>
                  <a:pt x="1636" y="1360"/>
                </a:lnTo>
                <a:lnTo>
                  <a:pt x="1633" y="1363"/>
                </a:lnTo>
                <a:lnTo>
                  <a:pt x="1631" y="1367"/>
                </a:lnTo>
                <a:lnTo>
                  <a:pt x="1630" y="1371"/>
                </a:lnTo>
                <a:lnTo>
                  <a:pt x="1630" y="1379"/>
                </a:lnTo>
                <a:lnTo>
                  <a:pt x="1632" y="1385"/>
                </a:lnTo>
                <a:lnTo>
                  <a:pt x="1634" y="1390"/>
                </a:lnTo>
                <a:lnTo>
                  <a:pt x="1636" y="1394"/>
                </a:lnTo>
                <a:lnTo>
                  <a:pt x="1638" y="1396"/>
                </a:lnTo>
                <a:lnTo>
                  <a:pt x="1640" y="1399"/>
                </a:lnTo>
                <a:lnTo>
                  <a:pt x="1641" y="1403"/>
                </a:lnTo>
                <a:lnTo>
                  <a:pt x="1641" y="1407"/>
                </a:lnTo>
                <a:lnTo>
                  <a:pt x="1640" y="1412"/>
                </a:lnTo>
                <a:lnTo>
                  <a:pt x="1636" y="1421"/>
                </a:lnTo>
                <a:lnTo>
                  <a:pt x="1634" y="1427"/>
                </a:lnTo>
                <a:lnTo>
                  <a:pt x="1632" y="1431"/>
                </a:lnTo>
                <a:lnTo>
                  <a:pt x="1632" y="1437"/>
                </a:lnTo>
                <a:lnTo>
                  <a:pt x="1634" y="1441"/>
                </a:lnTo>
                <a:lnTo>
                  <a:pt x="1641" y="1448"/>
                </a:lnTo>
                <a:lnTo>
                  <a:pt x="1651" y="1455"/>
                </a:lnTo>
                <a:lnTo>
                  <a:pt x="1661" y="1462"/>
                </a:lnTo>
                <a:lnTo>
                  <a:pt x="1672" y="1471"/>
                </a:lnTo>
                <a:lnTo>
                  <a:pt x="1681" y="1478"/>
                </a:lnTo>
                <a:lnTo>
                  <a:pt x="1684" y="1481"/>
                </a:lnTo>
                <a:lnTo>
                  <a:pt x="1686" y="1484"/>
                </a:lnTo>
                <a:lnTo>
                  <a:pt x="1688" y="1486"/>
                </a:lnTo>
                <a:lnTo>
                  <a:pt x="1688" y="1490"/>
                </a:lnTo>
                <a:lnTo>
                  <a:pt x="1686" y="1503"/>
                </a:lnTo>
                <a:lnTo>
                  <a:pt x="1685" y="1525"/>
                </a:lnTo>
                <a:lnTo>
                  <a:pt x="1684" y="1537"/>
                </a:lnTo>
                <a:lnTo>
                  <a:pt x="1683" y="1547"/>
                </a:lnTo>
                <a:lnTo>
                  <a:pt x="1680" y="1557"/>
                </a:lnTo>
                <a:lnTo>
                  <a:pt x="1677" y="1563"/>
                </a:lnTo>
                <a:lnTo>
                  <a:pt x="1666" y="1571"/>
                </a:lnTo>
                <a:lnTo>
                  <a:pt x="1656" y="1580"/>
                </a:lnTo>
                <a:lnTo>
                  <a:pt x="1651" y="1583"/>
                </a:lnTo>
                <a:lnTo>
                  <a:pt x="1647" y="1586"/>
                </a:lnTo>
                <a:lnTo>
                  <a:pt x="1645" y="1589"/>
                </a:lnTo>
                <a:lnTo>
                  <a:pt x="1645" y="1592"/>
                </a:lnTo>
                <a:lnTo>
                  <a:pt x="1650" y="1601"/>
                </a:lnTo>
                <a:lnTo>
                  <a:pt x="1654" y="1610"/>
                </a:lnTo>
                <a:lnTo>
                  <a:pt x="1656" y="1614"/>
                </a:lnTo>
                <a:lnTo>
                  <a:pt x="1656" y="1617"/>
                </a:lnTo>
                <a:lnTo>
                  <a:pt x="1656" y="1618"/>
                </a:lnTo>
                <a:lnTo>
                  <a:pt x="1655" y="1620"/>
                </a:lnTo>
                <a:lnTo>
                  <a:pt x="1654" y="1621"/>
                </a:lnTo>
                <a:lnTo>
                  <a:pt x="1653" y="1621"/>
                </a:lnTo>
                <a:lnTo>
                  <a:pt x="1647" y="1620"/>
                </a:lnTo>
                <a:lnTo>
                  <a:pt x="1643" y="1617"/>
                </a:lnTo>
                <a:lnTo>
                  <a:pt x="1638" y="1615"/>
                </a:lnTo>
                <a:lnTo>
                  <a:pt x="1634" y="1612"/>
                </a:lnTo>
                <a:lnTo>
                  <a:pt x="1631" y="1609"/>
                </a:lnTo>
                <a:lnTo>
                  <a:pt x="1628" y="1606"/>
                </a:lnTo>
                <a:lnTo>
                  <a:pt x="1625" y="1602"/>
                </a:lnTo>
                <a:lnTo>
                  <a:pt x="1624" y="1599"/>
                </a:lnTo>
                <a:lnTo>
                  <a:pt x="1627" y="1590"/>
                </a:lnTo>
                <a:lnTo>
                  <a:pt x="1631" y="1580"/>
                </a:lnTo>
                <a:lnTo>
                  <a:pt x="1632" y="1573"/>
                </a:lnTo>
                <a:lnTo>
                  <a:pt x="1632" y="1568"/>
                </a:lnTo>
                <a:lnTo>
                  <a:pt x="1631" y="1566"/>
                </a:lnTo>
                <a:lnTo>
                  <a:pt x="1630" y="1563"/>
                </a:lnTo>
                <a:lnTo>
                  <a:pt x="1629" y="1561"/>
                </a:lnTo>
                <a:lnTo>
                  <a:pt x="1625" y="1559"/>
                </a:lnTo>
                <a:lnTo>
                  <a:pt x="1620" y="1556"/>
                </a:lnTo>
                <a:lnTo>
                  <a:pt x="1617" y="1551"/>
                </a:lnTo>
                <a:lnTo>
                  <a:pt x="1615" y="1548"/>
                </a:lnTo>
                <a:lnTo>
                  <a:pt x="1615" y="1546"/>
                </a:lnTo>
                <a:lnTo>
                  <a:pt x="1616" y="1543"/>
                </a:lnTo>
                <a:lnTo>
                  <a:pt x="1617" y="1542"/>
                </a:lnTo>
                <a:lnTo>
                  <a:pt x="1620" y="1541"/>
                </a:lnTo>
                <a:lnTo>
                  <a:pt x="1623" y="1540"/>
                </a:lnTo>
                <a:lnTo>
                  <a:pt x="1628" y="1540"/>
                </a:lnTo>
                <a:lnTo>
                  <a:pt x="1631" y="1537"/>
                </a:lnTo>
                <a:lnTo>
                  <a:pt x="1634" y="1534"/>
                </a:lnTo>
                <a:lnTo>
                  <a:pt x="1637" y="1528"/>
                </a:lnTo>
                <a:lnTo>
                  <a:pt x="1639" y="1522"/>
                </a:lnTo>
                <a:lnTo>
                  <a:pt x="1641" y="1516"/>
                </a:lnTo>
                <a:lnTo>
                  <a:pt x="1642" y="1509"/>
                </a:lnTo>
                <a:lnTo>
                  <a:pt x="1643" y="1502"/>
                </a:lnTo>
                <a:lnTo>
                  <a:pt x="1642" y="1495"/>
                </a:lnTo>
                <a:lnTo>
                  <a:pt x="1639" y="1485"/>
                </a:lnTo>
                <a:lnTo>
                  <a:pt x="1635" y="1476"/>
                </a:lnTo>
                <a:lnTo>
                  <a:pt x="1631" y="1468"/>
                </a:lnTo>
                <a:lnTo>
                  <a:pt x="1628" y="1463"/>
                </a:lnTo>
                <a:lnTo>
                  <a:pt x="1624" y="1460"/>
                </a:lnTo>
                <a:lnTo>
                  <a:pt x="1621" y="1457"/>
                </a:lnTo>
                <a:lnTo>
                  <a:pt x="1618" y="1456"/>
                </a:lnTo>
                <a:lnTo>
                  <a:pt x="1615" y="1455"/>
                </a:lnTo>
                <a:lnTo>
                  <a:pt x="1612" y="1455"/>
                </a:lnTo>
                <a:lnTo>
                  <a:pt x="1609" y="1457"/>
                </a:lnTo>
                <a:lnTo>
                  <a:pt x="1607" y="1459"/>
                </a:lnTo>
                <a:lnTo>
                  <a:pt x="1592" y="1477"/>
                </a:lnTo>
                <a:lnTo>
                  <a:pt x="1589" y="1480"/>
                </a:lnTo>
                <a:lnTo>
                  <a:pt x="1581" y="1483"/>
                </a:lnTo>
                <a:lnTo>
                  <a:pt x="1566" y="1491"/>
                </a:lnTo>
                <a:lnTo>
                  <a:pt x="1563" y="1494"/>
                </a:lnTo>
                <a:lnTo>
                  <a:pt x="1559" y="1497"/>
                </a:lnTo>
                <a:lnTo>
                  <a:pt x="1557" y="1500"/>
                </a:lnTo>
                <a:lnTo>
                  <a:pt x="1556" y="1504"/>
                </a:lnTo>
                <a:lnTo>
                  <a:pt x="1556" y="1508"/>
                </a:lnTo>
                <a:lnTo>
                  <a:pt x="1556" y="1512"/>
                </a:lnTo>
                <a:lnTo>
                  <a:pt x="1559" y="1517"/>
                </a:lnTo>
                <a:lnTo>
                  <a:pt x="1563" y="1521"/>
                </a:lnTo>
                <a:lnTo>
                  <a:pt x="1572" y="1528"/>
                </a:lnTo>
                <a:lnTo>
                  <a:pt x="1579" y="1534"/>
                </a:lnTo>
                <a:lnTo>
                  <a:pt x="1586" y="1537"/>
                </a:lnTo>
                <a:lnTo>
                  <a:pt x="1590" y="1538"/>
                </a:lnTo>
                <a:lnTo>
                  <a:pt x="1594" y="1539"/>
                </a:lnTo>
                <a:lnTo>
                  <a:pt x="1596" y="1539"/>
                </a:lnTo>
                <a:lnTo>
                  <a:pt x="1597" y="1539"/>
                </a:lnTo>
                <a:lnTo>
                  <a:pt x="1598" y="1540"/>
                </a:lnTo>
                <a:lnTo>
                  <a:pt x="1599" y="1542"/>
                </a:lnTo>
                <a:lnTo>
                  <a:pt x="1601" y="1543"/>
                </a:lnTo>
                <a:lnTo>
                  <a:pt x="1603" y="1544"/>
                </a:lnTo>
                <a:lnTo>
                  <a:pt x="1607" y="1544"/>
                </a:lnTo>
                <a:lnTo>
                  <a:pt x="1610" y="1545"/>
                </a:lnTo>
                <a:lnTo>
                  <a:pt x="1611" y="1546"/>
                </a:lnTo>
                <a:lnTo>
                  <a:pt x="1611" y="1547"/>
                </a:lnTo>
                <a:lnTo>
                  <a:pt x="1608" y="1549"/>
                </a:lnTo>
                <a:lnTo>
                  <a:pt x="1598" y="1555"/>
                </a:lnTo>
                <a:lnTo>
                  <a:pt x="1588" y="1560"/>
                </a:lnTo>
                <a:lnTo>
                  <a:pt x="1584" y="1562"/>
                </a:lnTo>
                <a:lnTo>
                  <a:pt x="1579" y="1564"/>
                </a:lnTo>
                <a:lnTo>
                  <a:pt x="1577" y="1567"/>
                </a:lnTo>
                <a:lnTo>
                  <a:pt x="1576" y="1570"/>
                </a:lnTo>
                <a:lnTo>
                  <a:pt x="1578" y="1578"/>
                </a:lnTo>
                <a:lnTo>
                  <a:pt x="1580" y="1586"/>
                </a:lnTo>
                <a:lnTo>
                  <a:pt x="1581" y="1590"/>
                </a:lnTo>
                <a:lnTo>
                  <a:pt x="1581" y="1592"/>
                </a:lnTo>
                <a:lnTo>
                  <a:pt x="1580" y="1593"/>
                </a:lnTo>
                <a:lnTo>
                  <a:pt x="1577" y="1592"/>
                </a:lnTo>
                <a:lnTo>
                  <a:pt x="1559" y="1589"/>
                </a:lnTo>
                <a:lnTo>
                  <a:pt x="1527" y="1587"/>
                </a:lnTo>
                <a:lnTo>
                  <a:pt x="1510" y="1585"/>
                </a:lnTo>
                <a:lnTo>
                  <a:pt x="1493" y="1583"/>
                </a:lnTo>
                <a:lnTo>
                  <a:pt x="1487" y="1581"/>
                </a:lnTo>
                <a:lnTo>
                  <a:pt x="1481" y="1580"/>
                </a:lnTo>
                <a:lnTo>
                  <a:pt x="1477" y="1578"/>
                </a:lnTo>
                <a:lnTo>
                  <a:pt x="1472" y="1576"/>
                </a:lnTo>
                <a:lnTo>
                  <a:pt x="1458" y="1563"/>
                </a:lnTo>
                <a:lnTo>
                  <a:pt x="1440" y="1550"/>
                </a:lnTo>
                <a:lnTo>
                  <a:pt x="1431" y="1545"/>
                </a:lnTo>
                <a:lnTo>
                  <a:pt x="1422" y="1543"/>
                </a:lnTo>
                <a:lnTo>
                  <a:pt x="1419" y="1543"/>
                </a:lnTo>
                <a:lnTo>
                  <a:pt x="1416" y="1544"/>
                </a:lnTo>
                <a:lnTo>
                  <a:pt x="1413" y="1545"/>
                </a:lnTo>
                <a:lnTo>
                  <a:pt x="1412" y="1548"/>
                </a:lnTo>
                <a:lnTo>
                  <a:pt x="1408" y="1556"/>
                </a:lnTo>
                <a:lnTo>
                  <a:pt x="1403" y="1562"/>
                </a:lnTo>
                <a:lnTo>
                  <a:pt x="1398" y="1568"/>
                </a:lnTo>
                <a:lnTo>
                  <a:pt x="1394" y="1573"/>
                </a:lnTo>
                <a:lnTo>
                  <a:pt x="1390" y="1578"/>
                </a:lnTo>
                <a:lnTo>
                  <a:pt x="1388" y="1583"/>
                </a:lnTo>
                <a:lnTo>
                  <a:pt x="1387" y="1585"/>
                </a:lnTo>
                <a:lnTo>
                  <a:pt x="1387" y="1587"/>
                </a:lnTo>
                <a:lnTo>
                  <a:pt x="1387" y="1589"/>
                </a:lnTo>
                <a:lnTo>
                  <a:pt x="1388" y="1590"/>
                </a:lnTo>
                <a:lnTo>
                  <a:pt x="1394" y="1600"/>
                </a:lnTo>
                <a:lnTo>
                  <a:pt x="1401" y="1611"/>
                </a:lnTo>
                <a:lnTo>
                  <a:pt x="1403" y="1616"/>
                </a:lnTo>
                <a:lnTo>
                  <a:pt x="1405" y="1621"/>
                </a:lnTo>
                <a:lnTo>
                  <a:pt x="1406" y="1625"/>
                </a:lnTo>
                <a:lnTo>
                  <a:pt x="1405" y="1628"/>
                </a:lnTo>
                <a:lnTo>
                  <a:pt x="1400" y="1636"/>
                </a:lnTo>
                <a:lnTo>
                  <a:pt x="1395" y="1649"/>
                </a:lnTo>
                <a:lnTo>
                  <a:pt x="1392" y="1654"/>
                </a:lnTo>
                <a:lnTo>
                  <a:pt x="1389" y="1657"/>
                </a:lnTo>
                <a:lnTo>
                  <a:pt x="1387" y="1657"/>
                </a:lnTo>
                <a:lnTo>
                  <a:pt x="1384" y="1657"/>
                </a:lnTo>
                <a:lnTo>
                  <a:pt x="1383" y="1656"/>
                </a:lnTo>
                <a:lnTo>
                  <a:pt x="1381" y="1653"/>
                </a:lnTo>
                <a:lnTo>
                  <a:pt x="1374" y="1638"/>
                </a:lnTo>
                <a:lnTo>
                  <a:pt x="1366" y="1622"/>
                </a:lnTo>
                <a:lnTo>
                  <a:pt x="1360" y="1614"/>
                </a:lnTo>
                <a:lnTo>
                  <a:pt x="1355" y="1606"/>
                </a:lnTo>
                <a:lnTo>
                  <a:pt x="1350" y="1600"/>
                </a:lnTo>
                <a:lnTo>
                  <a:pt x="1345" y="1594"/>
                </a:lnTo>
                <a:lnTo>
                  <a:pt x="1334" y="1588"/>
                </a:lnTo>
                <a:lnTo>
                  <a:pt x="1327" y="1584"/>
                </a:lnTo>
                <a:lnTo>
                  <a:pt x="1323" y="1583"/>
                </a:lnTo>
                <a:lnTo>
                  <a:pt x="1321" y="1583"/>
                </a:lnTo>
                <a:lnTo>
                  <a:pt x="1301" y="1592"/>
                </a:lnTo>
                <a:lnTo>
                  <a:pt x="1289" y="1592"/>
                </a:lnTo>
                <a:lnTo>
                  <a:pt x="1263" y="1592"/>
                </a:lnTo>
                <a:lnTo>
                  <a:pt x="1236" y="1591"/>
                </a:lnTo>
                <a:lnTo>
                  <a:pt x="1221" y="1589"/>
                </a:lnTo>
                <a:lnTo>
                  <a:pt x="1217" y="1587"/>
                </a:lnTo>
                <a:lnTo>
                  <a:pt x="1214" y="1583"/>
                </a:lnTo>
                <a:lnTo>
                  <a:pt x="1214" y="1581"/>
                </a:lnTo>
                <a:lnTo>
                  <a:pt x="1215" y="1579"/>
                </a:lnTo>
                <a:lnTo>
                  <a:pt x="1217" y="1577"/>
                </a:lnTo>
                <a:lnTo>
                  <a:pt x="1220" y="1574"/>
                </a:lnTo>
                <a:lnTo>
                  <a:pt x="1225" y="1571"/>
                </a:lnTo>
                <a:lnTo>
                  <a:pt x="1229" y="1569"/>
                </a:lnTo>
                <a:lnTo>
                  <a:pt x="1233" y="1565"/>
                </a:lnTo>
                <a:lnTo>
                  <a:pt x="1236" y="1562"/>
                </a:lnTo>
                <a:lnTo>
                  <a:pt x="1239" y="1556"/>
                </a:lnTo>
                <a:lnTo>
                  <a:pt x="1240" y="1552"/>
                </a:lnTo>
                <a:lnTo>
                  <a:pt x="1238" y="1547"/>
                </a:lnTo>
                <a:lnTo>
                  <a:pt x="1232" y="1537"/>
                </a:lnTo>
                <a:lnTo>
                  <a:pt x="1226" y="1530"/>
                </a:lnTo>
                <a:lnTo>
                  <a:pt x="1221" y="1525"/>
                </a:lnTo>
                <a:lnTo>
                  <a:pt x="1218" y="1523"/>
                </a:lnTo>
                <a:lnTo>
                  <a:pt x="1214" y="1521"/>
                </a:lnTo>
                <a:lnTo>
                  <a:pt x="1211" y="1520"/>
                </a:lnTo>
                <a:lnTo>
                  <a:pt x="1206" y="1519"/>
                </a:lnTo>
                <a:lnTo>
                  <a:pt x="1198" y="1519"/>
                </a:lnTo>
                <a:lnTo>
                  <a:pt x="1191" y="1519"/>
                </a:lnTo>
                <a:lnTo>
                  <a:pt x="1185" y="1520"/>
                </a:lnTo>
                <a:lnTo>
                  <a:pt x="1179" y="1521"/>
                </a:lnTo>
                <a:lnTo>
                  <a:pt x="1175" y="1522"/>
                </a:lnTo>
                <a:lnTo>
                  <a:pt x="1170" y="1522"/>
                </a:lnTo>
                <a:lnTo>
                  <a:pt x="1165" y="1521"/>
                </a:lnTo>
                <a:lnTo>
                  <a:pt x="1162" y="1519"/>
                </a:lnTo>
                <a:lnTo>
                  <a:pt x="1155" y="1514"/>
                </a:lnTo>
                <a:lnTo>
                  <a:pt x="1142" y="1505"/>
                </a:lnTo>
                <a:lnTo>
                  <a:pt x="1127" y="1496"/>
                </a:lnTo>
                <a:lnTo>
                  <a:pt x="1109" y="1486"/>
                </a:lnTo>
                <a:lnTo>
                  <a:pt x="1091" y="1478"/>
                </a:lnTo>
                <a:lnTo>
                  <a:pt x="1075" y="1472"/>
                </a:lnTo>
                <a:lnTo>
                  <a:pt x="1068" y="1470"/>
                </a:lnTo>
                <a:lnTo>
                  <a:pt x="1063" y="1470"/>
                </a:lnTo>
                <a:lnTo>
                  <a:pt x="1059" y="1470"/>
                </a:lnTo>
                <a:lnTo>
                  <a:pt x="1055" y="1472"/>
                </a:lnTo>
                <a:lnTo>
                  <a:pt x="1048" y="1481"/>
                </a:lnTo>
                <a:lnTo>
                  <a:pt x="1042" y="1490"/>
                </a:lnTo>
                <a:lnTo>
                  <a:pt x="1039" y="1492"/>
                </a:lnTo>
                <a:lnTo>
                  <a:pt x="1037" y="1493"/>
                </a:lnTo>
                <a:lnTo>
                  <a:pt x="1033" y="1494"/>
                </a:lnTo>
                <a:lnTo>
                  <a:pt x="1030" y="1492"/>
                </a:lnTo>
                <a:lnTo>
                  <a:pt x="1028" y="1489"/>
                </a:lnTo>
                <a:lnTo>
                  <a:pt x="1025" y="1480"/>
                </a:lnTo>
                <a:lnTo>
                  <a:pt x="1022" y="1471"/>
                </a:lnTo>
                <a:lnTo>
                  <a:pt x="1019" y="1461"/>
                </a:lnTo>
                <a:lnTo>
                  <a:pt x="1016" y="1452"/>
                </a:lnTo>
                <a:lnTo>
                  <a:pt x="1013" y="1445"/>
                </a:lnTo>
                <a:lnTo>
                  <a:pt x="1011" y="1442"/>
                </a:lnTo>
                <a:lnTo>
                  <a:pt x="1010" y="1441"/>
                </a:lnTo>
                <a:lnTo>
                  <a:pt x="1008" y="1441"/>
                </a:lnTo>
                <a:lnTo>
                  <a:pt x="1007" y="1442"/>
                </a:lnTo>
                <a:lnTo>
                  <a:pt x="1000" y="1456"/>
                </a:lnTo>
                <a:lnTo>
                  <a:pt x="992" y="1472"/>
                </a:lnTo>
                <a:lnTo>
                  <a:pt x="987" y="1479"/>
                </a:lnTo>
                <a:lnTo>
                  <a:pt x="983" y="1485"/>
                </a:lnTo>
                <a:lnTo>
                  <a:pt x="982" y="1486"/>
                </a:lnTo>
                <a:lnTo>
                  <a:pt x="980" y="1489"/>
                </a:lnTo>
                <a:lnTo>
                  <a:pt x="979" y="1489"/>
                </a:lnTo>
                <a:lnTo>
                  <a:pt x="978" y="1489"/>
                </a:lnTo>
                <a:lnTo>
                  <a:pt x="972" y="1474"/>
                </a:lnTo>
                <a:lnTo>
                  <a:pt x="959" y="1448"/>
                </a:lnTo>
                <a:lnTo>
                  <a:pt x="953" y="1434"/>
                </a:lnTo>
                <a:lnTo>
                  <a:pt x="947" y="1424"/>
                </a:lnTo>
                <a:lnTo>
                  <a:pt x="943" y="1419"/>
                </a:lnTo>
                <a:lnTo>
                  <a:pt x="940" y="1417"/>
                </a:lnTo>
                <a:lnTo>
                  <a:pt x="938" y="1416"/>
                </a:lnTo>
                <a:lnTo>
                  <a:pt x="935" y="1416"/>
                </a:lnTo>
                <a:lnTo>
                  <a:pt x="932" y="1419"/>
                </a:lnTo>
                <a:lnTo>
                  <a:pt x="929" y="1421"/>
                </a:lnTo>
                <a:lnTo>
                  <a:pt x="928" y="1425"/>
                </a:lnTo>
                <a:lnTo>
                  <a:pt x="927" y="1428"/>
                </a:lnTo>
                <a:lnTo>
                  <a:pt x="927" y="1431"/>
                </a:lnTo>
                <a:lnTo>
                  <a:pt x="927" y="1434"/>
                </a:lnTo>
                <a:lnTo>
                  <a:pt x="929" y="1437"/>
                </a:lnTo>
                <a:lnTo>
                  <a:pt x="930" y="1441"/>
                </a:lnTo>
                <a:lnTo>
                  <a:pt x="932" y="1445"/>
                </a:lnTo>
                <a:lnTo>
                  <a:pt x="934" y="1448"/>
                </a:lnTo>
                <a:lnTo>
                  <a:pt x="934" y="1451"/>
                </a:lnTo>
                <a:lnTo>
                  <a:pt x="934" y="1454"/>
                </a:lnTo>
                <a:lnTo>
                  <a:pt x="933" y="1457"/>
                </a:lnTo>
                <a:lnTo>
                  <a:pt x="930" y="1461"/>
                </a:lnTo>
                <a:lnTo>
                  <a:pt x="927" y="1464"/>
                </a:lnTo>
                <a:lnTo>
                  <a:pt x="922" y="1468"/>
                </a:lnTo>
                <a:lnTo>
                  <a:pt x="919" y="1469"/>
                </a:lnTo>
                <a:lnTo>
                  <a:pt x="916" y="1470"/>
                </a:lnTo>
                <a:lnTo>
                  <a:pt x="913" y="1469"/>
                </a:lnTo>
                <a:lnTo>
                  <a:pt x="910" y="1469"/>
                </a:lnTo>
                <a:lnTo>
                  <a:pt x="904" y="1465"/>
                </a:lnTo>
                <a:lnTo>
                  <a:pt x="897" y="1462"/>
                </a:lnTo>
                <a:lnTo>
                  <a:pt x="891" y="1459"/>
                </a:lnTo>
                <a:lnTo>
                  <a:pt x="886" y="1457"/>
                </a:lnTo>
                <a:lnTo>
                  <a:pt x="883" y="1457"/>
                </a:lnTo>
                <a:lnTo>
                  <a:pt x="881" y="1458"/>
                </a:lnTo>
                <a:lnTo>
                  <a:pt x="879" y="1460"/>
                </a:lnTo>
                <a:lnTo>
                  <a:pt x="878" y="1462"/>
                </a:lnTo>
                <a:lnTo>
                  <a:pt x="875" y="1468"/>
                </a:lnTo>
                <a:lnTo>
                  <a:pt x="873" y="1472"/>
                </a:lnTo>
                <a:lnTo>
                  <a:pt x="870" y="1475"/>
                </a:lnTo>
                <a:lnTo>
                  <a:pt x="868" y="1478"/>
                </a:lnTo>
                <a:lnTo>
                  <a:pt x="862" y="1484"/>
                </a:lnTo>
                <a:lnTo>
                  <a:pt x="854" y="1495"/>
                </a:lnTo>
                <a:lnTo>
                  <a:pt x="846" y="1511"/>
                </a:lnTo>
                <a:lnTo>
                  <a:pt x="838" y="1524"/>
                </a:lnTo>
                <a:lnTo>
                  <a:pt x="831" y="1536"/>
                </a:lnTo>
                <a:lnTo>
                  <a:pt x="829" y="1539"/>
                </a:lnTo>
                <a:lnTo>
                  <a:pt x="824" y="1538"/>
                </a:lnTo>
                <a:lnTo>
                  <a:pt x="815" y="1534"/>
                </a:lnTo>
                <a:lnTo>
                  <a:pt x="810" y="1530"/>
                </a:lnTo>
                <a:lnTo>
                  <a:pt x="806" y="1527"/>
                </a:lnTo>
                <a:lnTo>
                  <a:pt x="805" y="1526"/>
                </a:lnTo>
                <a:lnTo>
                  <a:pt x="804" y="1524"/>
                </a:lnTo>
                <a:lnTo>
                  <a:pt x="804" y="1523"/>
                </a:lnTo>
                <a:lnTo>
                  <a:pt x="804" y="1521"/>
                </a:lnTo>
                <a:lnTo>
                  <a:pt x="805" y="1517"/>
                </a:lnTo>
                <a:lnTo>
                  <a:pt x="805" y="1512"/>
                </a:lnTo>
                <a:lnTo>
                  <a:pt x="803" y="1505"/>
                </a:lnTo>
                <a:lnTo>
                  <a:pt x="801" y="1499"/>
                </a:lnTo>
                <a:lnTo>
                  <a:pt x="799" y="1494"/>
                </a:lnTo>
                <a:lnTo>
                  <a:pt x="796" y="1489"/>
                </a:lnTo>
                <a:lnTo>
                  <a:pt x="791" y="1485"/>
                </a:lnTo>
                <a:lnTo>
                  <a:pt x="787" y="1485"/>
                </a:lnTo>
                <a:lnTo>
                  <a:pt x="779" y="1485"/>
                </a:lnTo>
                <a:lnTo>
                  <a:pt x="772" y="1487"/>
                </a:lnTo>
                <a:lnTo>
                  <a:pt x="768" y="1490"/>
                </a:lnTo>
                <a:lnTo>
                  <a:pt x="766" y="1492"/>
                </a:lnTo>
                <a:lnTo>
                  <a:pt x="766" y="1497"/>
                </a:lnTo>
                <a:lnTo>
                  <a:pt x="767" y="1502"/>
                </a:lnTo>
                <a:lnTo>
                  <a:pt x="770" y="1515"/>
                </a:lnTo>
                <a:lnTo>
                  <a:pt x="773" y="1525"/>
                </a:lnTo>
                <a:lnTo>
                  <a:pt x="773" y="1529"/>
                </a:lnTo>
                <a:lnTo>
                  <a:pt x="773" y="1533"/>
                </a:lnTo>
                <a:lnTo>
                  <a:pt x="772" y="1535"/>
                </a:lnTo>
                <a:lnTo>
                  <a:pt x="770" y="1538"/>
                </a:lnTo>
                <a:lnTo>
                  <a:pt x="768" y="1539"/>
                </a:lnTo>
                <a:lnTo>
                  <a:pt x="764" y="1538"/>
                </a:lnTo>
                <a:lnTo>
                  <a:pt x="760" y="1537"/>
                </a:lnTo>
                <a:lnTo>
                  <a:pt x="756" y="1535"/>
                </a:lnTo>
                <a:lnTo>
                  <a:pt x="747" y="1531"/>
                </a:lnTo>
                <a:lnTo>
                  <a:pt x="743" y="1529"/>
                </a:lnTo>
                <a:lnTo>
                  <a:pt x="737" y="1522"/>
                </a:lnTo>
                <a:lnTo>
                  <a:pt x="719" y="1505"/>
                </a:lnTo>
                <a:lnTo>
                  <a:pt x="710" y="1497"/>
                </a:lnTo>
                <a:lnTo>
                  <a:pt x="699" y="1489"/>
                </a:lnTo>
                <a:lnTo>
                  <a:pt x="689" y="1483"/>
                </a:lnTo>
                <a:lnTo>
                  <a:pt x="681" y="1480"/>
                </a:lnTo>
                <a:lnTo>
                  <a:pt x="663" y="1477"/>
                </a:lnTo>
                <a:lnTo>
                  <a:pt x="641" y="1473"/>
                </a:lnTo>
                <a:lnTo>
                  <a:pt x="623" y="1469"/>
                </a:lnTo>
                <a:lnTo>
                  <a:pt x="615" y="1468"/>
                </a:lnTo>
                <a:lnTo>
                  <a:pt x="613" y="1463"/>
                </a:lnTo>
                <a:lnTo>
                  <a:pt x="608" y="1454"/>
                </a:lnTo>
                <a:lnTo>
                  <a:pt x="604" y="1449"/>
                </a:lnTo>
                <a:lnTo>
                  <a:pt x="598" y="1446"/>
                </a:lnTo>
                <a:lnTo>
                  <a:pt x="594" y="1446"/>
                </a:lnTo>
                <a:lnTo>
                  <a:pt x="590" y="1445"/>
                </a:lnTo>
                <a:lnTo>
                  <a:pt x="585" y="1446"/>
                </a:lnTo>
                <a:lnTo>
                  <a:pt x="581" y="1447"/>
                </a:lnTo>
                <a:lnTo>
                  <a:pt x="564" y="1454"/>
                </a:lnTo>
                <a:lnTo>
                  <a:pt x="556" y="1459"/>
                </a:lnTo>
                <a:lnTo>
                  <a:pt x="553" y="1461"/>
                </a:lnTo>
                <a:lnTo>
                  <a:pt x="550" y="1461"/>
                </a:lnTo>
                <a:lnTo>
                  <a:pt x="547" y="1460"/>
                </a:lnTo>
                <a:lnTo>
                  <a:pt x="544" y="1457"/>
                </a:lnTo>
                <a:lnTo>
                  <a:pt x="537" y="1450"/>
                </a:lnTo>
                <a:lnTo>
                  <a:pt x="528" y="1442"/>
                </a:lnTo>
                <a:lnTo>
                  <a:pt x="524" y="1439"/>
                </a:lnTo>
                <a:lnTo>
                  <a:pt x="521" y="1438"/>
                </a:lnTo>
                <a:lnTo>
                  <a:pt x="518" y="1438"/>
                </a:lnTo>
                <a:lnTo>
                  <a:pt x="516" y="1440"/>
                </a:lnTo>
                <a:lnTo>
                  <a:pt x="514" y="1442"/>
                </a:lnTo>
                <a:lnTo>
                  <a:pt x="510" y="1443"/>
                </a:lnTo>
                <a:lnTo>
                  <a:pt x="505" y="1445"/>
                </a:lnTo>
                <a:lnTo>
                  <a:pt x="501" y="1446"/>
                </a:lnTo>
                <a:lnTo>
                  <a:pt x="494" y="1446"/>
                </a:lnTo>
                <a:lnTo>
                  <a:pt x="491" y="1446"/>
                </a:lnTo>
                <a:lnTo>
                  <a:pt x="482" y="1441"/>
                </a:lnTo>
                <a:lnTo>
                  <a:pt x="465" y="1431"/>
                </a:lnTo>
                <a:lnTo>
                  <a:pt x="454" y="1426"/>
                </a:lnTo>
                <a:lnTo>
                  <a:pt x="445" y="1421"/>
                </a:lnTo>
                <a:lnTo>
                  <a:pt x="437" y="1419"/>
                </a:lnTo>
                <a:lnTo>
                  <a:pt x="433" y="1419"/>
                </a:lnTo>
                <a:lnTo>
                  <a:pt x="427" y="1425"/>
                </a:lnTo>
                <a:lnTo>
                  <a:pt x="421" y="1431"/>
                </a:lnTo>
                <a:lnTo>
                  <a:pt x="418" y="1433"/>
                </a:lnTo>
                <a:lnTo>
                  <a:pt x="415" y="1434"/>
                </a:lnTo>
                <a:lnTo>
                  <a:pt x="413" y="1434"/>
                </a:lnTo>
                <a:lnTo>
                  <a:pt x="411" y="1431"/>
                </a:lnTo>
                <a:lnTo>
                  <a:pt x="408" y="1419"/>
                </a:lnTo>
                <a:lnTo>
                  <a:pt x="403" y="1406"/>
                </a:lnTo>
                <a:lnTo>
                  <a:pt x="399" y="1399"/>
                </a:lnTo>
                <a:lnTo>
                  <a:pt x="394" y="1395"/>
                </a:lnTo>
                <a:lnTo>
                  <a:pt x="391" y="1394"/>
                </a:lnTo>
                <a:lnTo>
                  <a:pt x="388" y="1394"/>
                </a:lnTo>
                <a:lnTo>
                  <a:pt x="385" y="1394"/>
                </a:lnTo>
                <a:lnTo>
                  <a:pt x="382" y="1394"/>
                </a:lnTo>
                <a:lnTo>
                  <a:pt x="374" y="1397"/>
                </a:lnTo>
                <a:lnTo>
                  <a:pt x="369" y="1401"/>
                </a:lnTo>
                <a:lnTo>
                  <a:pt x="366" y="1405"/>
                </a:lnTo>
                <a:lnTo>
                  <a:pt x="363" y="1408"/>
                </a:lnTo>
                <a:lnTo>
                  <a:pt x="361" y="1414"/>
                </a:lnTo>
                <a:lnTo>
                  <a:pt x="360" y="1419"/>
                </a:lnTo>
                <a:lnTo>
                  <a:pt x="360" y="1423"/>
                </a:lnTo>
                <a:lnTo>
                  <a:pt x="360" y="1425"/>
                </a:lnTo>
                <a:lnTo>
                  <a:pt x="360" y="1426"/>
                </a:lnTo>
                <a:lnTo>
                  <a:pt x="358" y="1426"/>
                </a:lnTo>
                <a:lnTo>
                  <a:pt x="356" y="1423"/>
                </a:lnTo>
                <a:lnTo>
                  <a:pt x="353" y="1415"/>
                </a:lnTo>
                <a:lnTo>
                  <a:pt x="352" y="1408"/>
                </a:lnTo>
                <a:lnTo>
                  <a:pt x="352" y="1403"/>
                </a:lnTo>
                <a:lnTo>
                  <a:pt x="351" y="1399"/>
                </a:lnTo>
                <a:lnTo>
                  <a:pt x="349" y="1395"/>
                </a:lnTo>
                <a:lnTo>
                  <a:pt x="346" y="1392"/>
                </a:lnTo>
                <a:lnTo>
                  <a:pt x="343" y="1390"/>
                </a:lnTo>
                <a:lnTo>
                  <a:pt x="337" y="1386"/>
                </a:lnTo>
                <a:lnTo>
                  <a:pt x="327" y="1381"/>
                </a:lnTo>
                <a:lnTo>
                  <a:pt x="321" y="1377"/>
                </a:lnTo>
                <a:lnTo>
                  <a:pt x="316" y="1376"/>
                </a:lnTo>
                <a:lnTo>
                  <a:pt x="313" y="1376"/>
                </a:lnTo>
                <a:lnTo>
                  <a:pt x="309" y="1376"/>
                </a:lnTo>
                <a:lnTo>
                  <a:pt x="306" y="1376"/>
                </a:lnTo>
                <a:lnTo>
                  <a:pt x="303" y="1379"/>
                </a:lnTo>
                <a:lnTo>
                  <a:pt x="290" y="1387"/>
                </a:lnTo>
                <a:lnTo>
                  <a:pt x="273" y="1398"/>
                </a:lnTo>
                <a:lnTo>
                  <a:pt x="265" y="1403"/>
                </a:lnTo>
                <a:lnTo>
                  <a:pt x="259" y="1407"/>
                </a:lnTo>
                <a:lnTo>
                  <a:pt x="256" y="1407"/>
                </a:lnTo>
                <a:lnTo>
                  <a:pt x="254" y="1408"/>
                </a:lnTo>
                <a:lnTo>
                  <a:pt x="252" y="1408"/>
                </a:lnTo>
                <a:lnTo>
                  <a:pt x="251" y="1407"/>
                </a:lnTo>
                <a:lnTo>
                  <a:pt x="249" y="1403"/>
                </a:lnTo>
                <a:lnTo>
                  <a:pt x="247" y="1401"/>
                </a:lnTo>
                <a:lnTo>
                  <a:pt x="245" y="1401"/>
                </a:lnTo>
                <a:lnTo>
                  <a:pt x="242" y="1403"/>
                </a:lnTo>
                <a:lnTo>
                  <a:pt x="236" y="1407"/>
                </a:lnTo>
                <a:lnTo>
                  <a:pt x="230" y="1411"/>
                </a:lnTo>
                <a:lnTo>
                  <a:pt x="225" y="1417"/>
                </a:lnTo>
                <a:lnTo>
                  <a:pt x="215" y="1427"/>
                </a:lnTo>
                <a:lnTo>
                  <a:pt x="209" y="1431"/>
                </a:lnTo>
                <a:lnTo>
                  <a:pt x="203" y="1435"/>
                </a:lnTo>
                <a:lnTo>
                  <a:pt x="197" y="1438"/>
                </a:lnTo>
                <a:lnTo>
                  <a:pt x="192" y="1440"/>
                </a:lnTo>
                <a:lnTo>
                  <a:pt x="187" y="1441"/>
                </a:lnTo>
                <a:lnTo>
                  <a:pt x="183" y="1443"/>
                </a:lnTo>
                <a:lnTo>
                  <a:pt x="177" y="1447"/>
                </a:lnTo>
                <a:lnTo>
                  <a:pt x="173" y="1451"/>
                </a:lnTo>
                <a:lnTo>
                  <a:pt x="169" y="1456"/>
                </a:lnTo>
                <a:lnTo>
                  <a:pt x="165" y="1461"/>
                </a:lnTo>
                <a:lnTo>
                  <a:pt x="163" y="1467"/>
                </a:lnTo>
                <a:lnTo>
                  <a:pt x="160" y="1472"/>
                </a:lnTo>
                <a:lnTo>
                  <a:pt x="154" y="1484"/>
                </a:lnTo>
                <a:lnTo>
                  <a:pt x="147" y="1499"/>
                </a:lnTo>
                <a:lnTo>
                  <a:pt x="143" y="1505"/>
                </a:lnTo>
                <a:lnTo>
                  <a:pt x="139" y="1511"/>
                </a:lnTo>
                <a:lnTo>
                  <a:pt x="136" y="1514"/>
                </a:lnTo>
                <a:lnTo>
                  <a:pt x="133" y="1516"/>
                </a:lnTo>
                <a:lnTo>
                  <a:pt x="124" y="1518"/>
                </a:lnTo>
                <a:lnTo>
                  <a:pt x="108" y="1523"/>
                </a:lnTo>
                <a:lnTo>
                  <a:pt x="100" y="1525"/>
                </a:lnTo>
                <a:lnTo>
                  <a:pt x="93" y="1528"/>
                </a:lnTo>
                <a:lnTo>
                  <a:pt x="87" y="1531"/>
                </a:lnTo>
                <a:lnTo>
                  <a:pt x="84" y="1535"/>
                </a:lnTo>
                <a:lnTo>
                  <a:pt x="80" y="1541"/>
                </a:lnTo>
                <a:lnTo>
                  <a:pt x="77" y="1548"/>
                </a:lnTo>
                <a:lnTo>
                  <a:pt x="76" y="1552"/>
                </a:lnTo>
                <a:lnTo>
                  <a:pt x="75" y="1556"/>
                </a:lnTo>
                <a:lnTo>
                  <a:pt x="75" y="1559"/>
                </a:lnTo>
                <a:lnTo>
                  <a:pt x="77" y="1561"/>
                </a:lnTo>
                <a:lnTo>
                  <a:pt x="88" y="1568"/>
                </a:lnTo>
                <a:lnTo>
                  <a:pt x="107" y="1582"/>
                </a:lnTo>
                <a:lnTo>
                  <a:pt x="117" y="1589"/>
                </a:lnTo>
                <a:lnTo>
                  <a:pt x="125" y="1595"/>
                </a:lnTo>
                <a:lnTo>
                  <a:pt x="131" y="1602"/>
                </a:lnTo>
                <a:lnTo>
                  <a:pt x="135" y="1607"/>
                </a:lnTo>
                <a:lnTo>
                  <a:pt x="139" y="1617"/>
                </a:lnTo>
                <a:lnTo>
                  <a:pt x="146" y="1628"/>
                </a:lnTo>
                <a:lnTo>
                  <a:pt x="153" y="1636"/>
                </a:lnTo>
                <a:lnTo>
                  <a:pt x="155" y="1639"/>
                </a:lnTo>
                <a:lnTo>
                  <a:pt x="160" y="1639"/>
                </a:lnTo>
                <a:lnTo>
                  <a:pt x="169" y="1638"/>
                </a:lnTo>
                <a:lnTo>
                  <a:pt x="173" y="1639"/>
                </a:lnTo>
                <a:lnTo>
                  <a:pt x="177" y="1640"/>
                </a:lnTo>
                <a:lnTo>
                  <a:pt x="180" y="1642"/>
                </a:lnTo>
                <a:lnTo>
                  <a:pt x="181" y="1643"/>
                </a:lnTo>
                <a:lnTo>
                  <a:pt x="182" y="1644"/>
                </a:lnTo>
                <a:lnTo>
                  <a:pt x="182" y="1646"/>
                </a:lnTo>
                <a:lnTo>
                  <a:pt x="185" y="1658"/>
                </a:lnTo>
                <a:lnTo>
                  <a:pt x="189" y="1667"/>
                </a:lnTo>
                <a:lnTo>
                  <a:pt x="189" y="1670"/>
                </a:lnTo>
                <a:lnTo>
                  <a:pt x="189" y="1674"/>
                </a:lnTo>
                <a:lnTo>
                  <a:pt x="189" y="1679"/>
                </a:lnTo>
                <a:lnTo>
                  <a:pt x="187" y="1684"/>
                </a:lnTo>
                <a:lnTo>
                  <a:pt x="186" y="1687"/>
                </a:lnTo>
                <a:lnTo>
                  <a:pt x="185" y="1688"/>
                </a:lnTo>
                <a:lnTo>
                  <a:pt x="183" y="1689"/>
                </a:lnTo>
                <a:lnTo>
                  <a:pt x="181" y="1690"/>
                </a:lnTo>
                <a:lnTo>
                  <a:pt x="177" y="1690"/>
                </a:lnTo>
                <a:lnTo>
                  <a:pt x="174" y="1688"/>
                </a:lnTo>
                <a:lnTo>
                  <a:pt x="170" y="1686"/>
                </a:lnTo>
                <a:lnTo>
                  <a:pt x="165" y="1683"/>
                </a:lnTo>
                <a:lnTo>
                  <a:pt x="140" y="1664"/>
                </a:lnTo>
                <a:lnTo>
                  <a:pt x="136" y="1659"/>
                </a:lnTo>
                <a:lnTo>
                  <a:pt x="130" y="1664"/>
                </a:lnTo>
                <a:lnTo>
                  <a:pt x="119" y="1675"/>
                </a:lnTo>
                <a:lnTo>
                  <a:pt x="103" y="1689"/>
                </a:lnTo>
                <a:lnTo>
                  <a:pt x="88" y="1700"/>
                </a:lnTo>
                <a:lnTo>
                  <a:pt x="81" y="1704"/>
                </a:lnTo>
                <a:lnTo>
                  <a:pt x="74" y="1706"/>
                </a:lnTo>
                <a:lnTo>
                  <a:pt x="66" y="1709"/>
                </a:lnTo>
                <a:lnTo>
                  <a:pt x="60" y="1710"/>
                </a:lnTo>
                <a:lnTo>
                  <a:pt x="55" y="1710"/>
                </a:lnTo>
                <a:lnTo>
                  <a:pt x="51" y="1712"/>
                </a:lnTo>
                <a:lnTo>
                  <a:pt x="50" y="1712"/>
                </a:lnTo>
                <a:lnTo>
                  <a:pt x="49" y="1713"/>
                </a:lnTo>
                <a:lnTo>
                  <a:pt x="49" y="1714"/>
                </a:lnTo>
                <a:lnTo>
                  <a:pt x="50" y="1716"/>
                </a:lnTo>
                <a:lnTo>
                  <a:pt x="65" y="1730"/>
                </a:lnTo>
                <a:lnTo>
                  <a:pt x="79" y="1741"/>
                </a:lnTo>
                <a:lnTo>
                  <a:pt x="79" y="1746"/>
                </a:lnTo>
                <a:lnTo>
                  <a:pt x="81" y="1754"/>
                </a:lnTo>
                <a:lnTo>
                  <a:pt x="82" y="1758"/>
                </a:lnTo>
                <a:lnTo>
                  <a:pt x="84" y="1761"/>
                </a:lnTo>
                <a:lnTo>
                  <a:pt x="87" y="1764"/>
                </a:lnTo>
                <a:lnTo>
                  <a:pt x="92" y="1767"/>
                </a:lnTo>
                <a:lnTo>
                  <a:pt x="97" y="1770"/>
                </a:lnTo>
                <a:lnTo>
                  <a:pt x="105" y="1772"/>
                </a:lnTo>
                <a:lnTo>
                  <a:pt x="114" y="1776"/>
                </a:lnTo>
                <a:lnTo>
                  <a:pt x="123" y="1777"/>
                </a:lnTo>
                <a:lnTo>
                  <a:pt x="140" y="1780"/>
                </a:lnTo>
                <a:lnTo>
                  <a:pt x="150" y="1782"/>
                </a:lnTo>
                <a:lnTo>
                  <a:pt x="157" y="1782"/>
                </a:lnTo>
                <a:lnTo>
                  <a:pt x="164" y="1780"/>
                </a:lnTo>
                <a:lnTo>
                  <a:pt x="168" y="1779"/>
                </a:lnTo>
                <a:lnTo>
                  <a:pt x="172" y="1778"/>
                </a:lnTo>
                <a:lnTo>
                  <a:pt x="174" y="1776"/>
                </a:lnTo>
                <a:lnTo>
                  <a:pt x="176" y="1774"/>
                </a:lnTo>
                <a:lnTo>
                  <a:pt x="181" y="1767"/>
                </a:lnTo>
                <a:lnTo>
                  <a:pt x="185" y="1762"/>
                </a:lnTo>
                <a:lnTo>
                  <a:pt x="187" y="1761"/>
                </a:lnTo>
                <a:lnTo>
                  <a:pt x="188" y="1761"/>
                </a:lnTo>
                <a:lnTo>
                  <a:pt x="189" y="1762"/>
                </a:lnTo>
                <a:lnTo>
                  <a:pt x="190" y="1765"/>
                </a:lnTo>
                <a:lnTo>
                  <a:pt x="192" y="1775"/>
                </a:lnTo>
                <a:lnTo>
                  <a:pt x="196" y="1782"/>
                </a:lnTo>
                <a:lnTo>
                  <a:pt x="199" y="1787"/>
                </a:lnTo>
                <a:lnTo>
                  <a:pt x="204" y="1790"/>
                </a:lnTo>
                <a:lnTo>
                  <a:pt x="206" y="1794"/>
                </a:lnTo>
                <a:lnTo>
                  <a:pt x="206" y="1798"/>
                </a:lnTo>
                <a:lnTo>
                  <a:pt x="204" y="1802"/>
                </a:lnTo>
                <a:lnTo>
                  <a:pt x="199" y="1805"/>
                </a:lnTo>
                <a:lnTo>
                  <a:pt x="182" y="1811"/>
                </a:lnTo>
                <a:lnTo>
                  <a:pt x="169" y="1813"/>
                </a:lnTo>
                <a:lnTo>
                  <a:pt x="168" y="1819"/>
                </a:lnTo>
                <a:lnTo>
                  <a:pt x="165" y="1828"/>
                </a:lnTo>
                <a:lnTo>
                  <a:pt x="163" y="1833"/>
                </a:lnTo>
                <a:lnTo>
                  <a:pt x="160" y="1837"/>
                </a:lnTo>
                <a:lnTo>
                  <a:pt x="159" y="1838"/>
                </a:lnTo>
                <a:lnTo>
                  <a:pt x="158" y="1840"/>
                </a:lnTo>
                <a:lnTo>
                  <a:pt x="155" y="1841"/>
                </a:lnTo>
                <a:lnTo>
                  <a:pt x="154" y="1840"/>
                </a:lnTo>
                <a:lnTo>
                  <a:pt x="148" y="1835"/>
                </a:lnTo>
                <a:lnTo>
                  <a:pt x="142" y="1832"/>
                </a:lnTo>
                <a:lnTo>
                  <a:pt x="139" y="1831"/>
                </a:lnTo>
                <a:lnTo>
                  <a:pt x="136" y="1831"/>
                </a:lnTo>
                <a:lnTo>
                  <a:pt x="132" y="1832"/>
                </a:lnTo>
                <a:lnTo>
                  <a:pt x="130" y="1835"/>
                </a:lnTo>
                <a:lnTo>
                  <a:pt x="123" y="1843"/>
                </a:lnTo>
                <a:lnTo>
                  <a:pt x="117" y="1850"/>
                </a:lnTo>
                <a:lnTo>
                  <a:pt x="114" y="1853"/>
                </a:lnTo>
                <a:lnTo>
                  <a:pt x="113" y="1856"/>
                </a:lnTo>
                <a:lnTo>
                  <a:pt x="111" y="1859"/>
                </a:lnTo>
                <a:lnTo>
                  <a:pt x="113" y="1863"/>
                </a:lnTo>
                <a:lnTo>
                  <a:pt x="114" y="1866"/>
                </a:lnTo>
                <a:lnTo>
                  <a:pt x="115" y="1868"/>
                </a:lnTo>
                <a:lnTo>
                  <a:pt x="114" y="1870"/>
                </a:lnTo>
                <a:lnTo>
                  <a:pt x="114" y="1872"/>
                </a:lnTo>
                <a:lnTo>
                  <a:pt x="110" y="1874"/>
                </a:lnTo>
                <a:lnTo>
                  <a:pt x="107" y="1878"/>
                </a:lnTo>
                <a:lnTo>
                  <a:pt x="102" y="1880"/>
                </a:lnTo>
                <a:lnTo>
                  <a:pt x="97" y="1882"/>
                </a:lnTo>
                <a:lnTo>
                  <a:pt x="95" y="1885"/>
                </a:lnTo>
                <a:lnTo>
                  <a:pt x="93" y="1889"/>
                </a:lnTo>
                <a:lnTo>
                  <a:pt x="92" y="1895"/>
                </a:lnTo>
                <a:lnTo>
                  <a:pt x="92" y="1904"/>
                </a:lnTo>
                <a:lnTo>
                  <a:pt x="92" y="1915"/>
                </a:lnTo>
                <a:lnTo>
                  <a:pt x="94" y="1924"/>
                </a:lnTo>
                <a:lnTo>
                  <a:pt x="96" y="1933"/>
                </a:lnTo>
                <a:lnTo>
                  <a:pt x="98" y="1940"/>
                </a:lnTo>
                <a:lnTo>
                  <a:pt x="101" y="1947"/>
                </a:lnTo>
                <a:lnTo>
                  <a:pt x="104" y="1953"/>
                </a:lnTo>
                <a:lnTo>
                  <a:pt x="107" y="1957"/>
                </a:lnTo>
                <a:lnTo>
                  <a:pt x="110" y="1960"/>
                </a:lnTo>
                <a:lnTo>
                  <a:pt x="122" y="1971"/>
                </a:lnTo>
                <a:lnTo>
                  <a:pt x="141" y="1990"/>
                </a:lnTo>
                <a:lnTo>
                  <a:pt x="144" y="1994"/>
                </a:lnTo>
                <a:lnTo>
                  <a:pt x="148" y="1996"/>
                </a:lnTo>
                <a:lnTo>
                  <a:pt x="151" y="1996"/>
                </a:lnTo>
                <a:lnTo>
                  <a:pt x="154" y="1997"/>
                </a:lnTo>
                <a:lnTo>
                  <a:pt x="161" y="1996"/>
                </a:lnTo>
                <a:lnTo>
                  <a:pt x="167" y="1993"/>
                </a:lnTo>
                <a:lnTo>
                  <a:pt x="172" y="1989"/>
                </a:lnTo>
                <a:lnTo>
                  <a:pt x="177" y="1987"/>
                </a:lnTo>
                <a:lnTo>
                  <a:pt x="179" y="1986"/>
                </a:lnTo>
                <a:lnTo>
                  <a:pt x="181" y="1986"/>
                </a:lnTo>
                <a:lnTo>
                  <a:pt x="183" y="1986"/>
                </a:lnTo>
                <a:lnTo>
                  <a:pt x="184" y="1987"/>
                </a:lnTo>
                <a:lnTo>
                  <a:pt x="185" y="1991"/>
                </a:lnTo>
                <a:lnTo>
                  <a:pt x="185" y="1999"/>
                </a:lnTo>
                <a:lnTo>
                  <a:pt x="184" y="2006"/>
                </a:lnTo>
                <a:lnTo>
                  <a:pt x="182" y="2015"/>
                </a:lnTo>
                <a:lnTo>
                  <a:pt x="182" y="2024"/>
                </a:lnTo>
                <a:lnTo>
                  <a:pt x="182" y="2032"/>
                </a:lnTo>
                <a:lnTo>
                  <a:pt x="182" y="2037"/>
                </a:lnTo>
                <a:lnTo>
                  <a:pt x="184" y="2041"/>
                </a:lnTo>
                <a:lnTo>
                  <a:pt x="185" y="2044"/>
                </a:lnTo>
                <a:lnTo>
                  <a:pt x="188" y="2047"/>
                </a:lnTo>
                <a:lnTo>
                  <a:pt x="194" y="2051"/>
                </a:lnTo>
                <a:lnTo>
                  <a:pt x="201" y="2053"/>
                </a:lnTo>
                <a:lnTo>
                  <a:pt x="207" y="2053"/>
                </a:lnTo>
                <a:lnTo>
                  <a:pt x="213" y="2052"/>
                </a:lnTo>
                <a:lnTo>
                  <a:pt x="218" y="2051"/>
                </a:lnTo>
                <a:lnTo>
                  <a:pt x="224" y="2048"/>
                </a:lnTo>
                <a:lnTo>
                  <a:pt x="228" y="2046"/>
                </a:lnTo>
                <a:lnTo>
                  <a:pt x="231" y="2043"/>
                </a:lnTo>
                <a:lnTo>
                  <a:pt x="233" y="2042"/>
                </a:lnTo>
                <a:lnTo>
                  <a:pt x="235" y="2042"/>
                </a:lnTo>
                <a:lnTo>
                  <a:pt x="237" y="2043"/>
                </a:lnTo>
                <a:lnTo>
                  <a:pt x="239" y="2045"/>
                </a:lnTo>
                <a:lnTo>
                  <a:pt x="241" y="2048"/>
                </a:lnTo>
                <a:lnTo>
                  <a:pt x="245" y="2050"/>
                </a:lnTo>
                <a:lnTo>
                  <a:pt x="248" y="2051"/>
                </a:lnTo>
                <a:lnTo>
                  <a:pt x="252" y="2052"/>
                </a:lnTo>
                <a:lnTo>
                  <a:pt x="258" y="2051"/>
                </a:lnTo>
                <a:lnTo>
                  <a:pt x="264" y="2048"/>
                </a:lnTo>
                <a:lnTo>
                  <a:pt x="272" y="2044"/>
                </a:lnTo>
                <a:lnTo>
                  <a:pt x="279" y="2040"/>
                </a:lnTo>
                <a:lnTo>
                  <a:pt x="285" y="2035"/>
                </a:lnTo>
                <a:lnTo>
                  <a:pt x="291" y="2033"/>
                </a:lnTo>
                <a:lnTo>
                  <a:pt x="292" y="2032"/>
                </a:lnTo>
                <a:lnTo>
                  <a:pt x="293" y="2033"/>
                </a:lnTo>
                <a:lnTo>
                  <a:pt x="293" y="2033"/>
                </a:lnTo>
                <a:lnTo>
                  <a:pt x="293" y="2035"/>
                </a:lnTo>
                <a:lnTo>
                  <a:pt x="287" y="2043"/>
                </a:lnTo>
                <a:lnTo>
                  <a:pt x="282" y="2047"/>
                </a:lnTo>
                <a:lnTo>
                  <a:pt x="281" y="2049"/>
                </a:lnTo>
                <a:lnTo>
                  <a:pt x="280" y="2051"/>
                </a:lnTo>
                <a:lnTo>
                  <a:pt x="279" y="2054"/>
                </a:lnTo>
                <a:lnTo>
                  <a:pt x="280" y="2059"/>
                </a:lnTo>
                <a:lnTo>
                  <a:pt x="284" y="2070"/>
                </a:lnTo>
                <a:lnTo>
                  <a:pt x="286" y="2073"/>
                </a:lnTo>
                <a:lnTo>
                  <a:pt x="278" y="2084"/>
                </a:lnTo>
                <a:lnTo>
                  <a:pt x="265" y="2100"/>
                </a:lnTo>
                <a:lnTo>
                  <a:pt x="250" y="2113"/>
                </a:lnTo>
                <a:lnTo>
                  <a:pt x="220" y="2134"/>
                </a:lnTo>
                <a:lnTo>
                  <a:pt x="189" y="2155"/>
                </a:lnTo>
                <a:lnTo>
                  <a:pt x="170" y="2167"/>
                </a:lnTo>
                <a:lnTo>
                  <a:pt x="160" y="2176"/>
                </a:lnTo>
                <a:lnTo>
                  <a:pt x="148" y="2185"/>
                </a:lnTo>
                <a:lnTo>
                  <a:pt x="138" y="2195"/>
                </a:lnTo>
                <a:lnTo>
                  <a:pt x="130" y="2200"/>
                </a:lnTo>
                <a:lnTo>
                  <a:pt x="124" y="2201"/>
                </a:lnTo>
                <a:lnTo>
                  <a:pt x="117" y="2202"/>
                </a:lnTo>
                <a:lnTo>
                  <a:pt x="114" y="2203"/>
                </a:lnTo>
                <a:lnTo>
                  <a:pt x="110" y="2204"/>
                </a:lnTo>
                <a:lnTo>
                  <a:pt x="108" y="2205"/>
                </a:lnTo>
                <a:lnTo>
                  <a:pt x="108" y="2208"/>
                </a:lnTo>
                <a:lnTo>
                  <a:pt x="108" y="2213"/>
                </a:lnTo>
                <a:lnTo>
                  <a:pt x="107" y="2217"/>
                </a:lnTo>
                <a:lnTo>
                  <a:pt x="107" y="2219"/>
                </a:lnTo>
                <a:lnTo>
                  <a:pt x="105" y="2220"/>
                </a:lnTo>
                <a:lnTo>
                  <a:pt x="103" y="2221"/>
                </a:lnTo>
                <a:lnTo>
                  <a:pt x="100" y="2221"/>
                </a:lnTo>
                <a:lnTo>
                  <a:pt x="92" y="2222"/>
                </a:lnTo>
                <a:lnTo>
                  <a:pt x="83" y="2223"/>
                </a:lnTo>
                <a:lnTo>
                  <a:pt x="80" y="2224"/>
                </a:lnTo>
                <a:lnTo>
                  <a:pt x="77" y="2225"/>
                </a:lnTo>
                <a:lnTo>
                  <a:pt x="74" y="2226"/>
                </a:lnTo>
                <a:lnTo>
                  <a:pt x="73" y="2228"/>
                </a:lnTo>
                <a:lnTo>
                  <a:pt x="70" y="2232"/>
                </a:lnTo>
                <a:lnTo>
                  <a:pt x="64" y="2237"/>
                </a:lnTo>
                <a:lnTo>
                  <a:pt x="59" y="2240"/>
                </a:lnTo>
                <a:lnTo>
                  <a:pt x="53" y="2242"/>
                </a:lnTo>
                <a:lnTo>
                  <a:pt x="46" y="2244"/>
                </a:lnTo>
                <a:lnTo>
                  <a:pt x="40" y="2249"/>
                </a:lnTo>
                <a:lnTo>
                  <a:pt x="36" y="2254"/>
                </a:lnTo>
                <a:lnTo>
                  <a:pt x="32" y="2261"/>
                </a:lnTo>
                <a:lnTo>
                  <a:pt x="29" y="2263"/>
                </a:lnTo>
                <a:lnTo>
                  <a:pt x="24" y="2263"/>
                </a:lnTo>
                <a:lnTo>
                  <a:pt x="19" y="2263"/>
                </a:lnTo>
                <a:lnTo>
                  <a:pt x="13" y="2263"/>
                </a:lnTo>
                <a:lnTo>
                  <a:pt x="8" y="2264"/>
                </a:lnTo>
                <a:lnTo>
                  <a:pt x="4" y="2265"/>
                </a:lnTo>
                <a:lnTo>
                  <a:pt x="2" y="2266"/>
                </a:lnTo>
                <a:lnTo>
                  <a:pt x="1" y="2268"/>
                </a:lnTo>
                <a:lnTo>
                  <a:pt x="0" y="2270"/>
                </a:lnTo>
                <a:lnTo>
                  <a:pt x="1" y="2273"/>
                </a:lnTo>
                <a:lnTo>
                  <a:pt x="2" y="2280"/>
                </a:lnTo>
                <a:lnTo>
                  <a:pt x="5" y="2285"/>
                </a:lnTo>
                <a:lnTo>
                  <a:pt x="7" y="2288"/>
                </a:lnTo>
                <a:lnTo>
                  <a:pt x="8" y="2290"/>
                </a:lnTo>
                <a:lnTo>
                  <a:pt x="10" y="2290"/>
                </a:lnTo>
                <a:lnTo>
                  <a:pt x="12" y="2290"/>
                </a:lnTo>
                <a:lnTo>
                  <a:pt x="14" y="2289"/>
                </a:lnTo>
                <a:lnTo>
                  <a:pt x="15" y="2287"/>
                </a:lnTo>
                <a:lnTo>
                  <a:pt x="19" y="2282"/>
                </a:lnTo>
                <a:lnTo>
                  <a:pt x="24" y="2274"/>
                </a:lnTo>
                <a:lnTo>
                  <a:pt x="27" y="2272"/>
                </a:lnTo>
                <a:lnTo>
                  <a:pt x="30" y="2270"/>
                </a:lnTo>
                <a:lnTo>
                  <a:pt x="32" y="2268"/>
                </a:lnTo>
                <a:lnTo>
                  <a:pt x="35" y="2268"/>
                </a:lnTo>
                <a:lnTo>
                  <a:pt x="41" y="2269"/>
                </a:lnTo>
                <a:lnTo>
                  <a:pt x="50" y="2267"/>
                </a:lnTo>
                <a:lnTo>
                  <a:pt x="55" y="2266"/>
                </a:lnTo>
                <a:lnTo>
                  <a:pt x="59" y="2264"/>
                </a:lnTo>
                <a:lnTo>
                  <a:pt x="64" y="2261"/>
                </a:lnTo>
                <a:lnTo>
                  <a:pt x="69" y="2258"/>
                </a:lnTo>
                <a:lnTo>
                  <a:pt x="73" y="2253"/>
                </a:lnTo>
                <a:lnTo>
                  <a:pt x="75" y="2248"/>
                </a:lnTo>
                <a:lnTo>
                  <a:pt x="76" y="2244"/>
                </a:lnTo>
                <a:lnTo>
                  <a:pt x="77" y="2240"/>
                </a:lnTo>
                <a:lnTo>
                  <a:pt x="79" y="2236"/>
                </a:lnTo>
                <a:lnTo>
                  <a:pt x="81" y="2232"/>
                </a:lnTo>
                <a:lnTo>
                  <a:pt x="85" y="2230"/>
                </a:lnTo>
                <a:lnTo>
                  <a:pt x="92" y="2230"/>
                </a:lnTo>
                <a:lnTo>
                  <a:pt x="103" y="2232"/>
                </a:lnTo>
                <a:lnTo>
                  <a:pt x="113" y="2233"/>
                </a:lnTo>
                <a:lnTo>
                  <a:pt x="116" y="2233"/>
                </a:lnTo>
                <a:lnTo>
                  <a:pt x="120" y="2231"/>
                </a:lnTo>
                <a:lnTo>
                  <a:pt x="124" y="2228"/>
                </a:lnTo>
                <a:lnTo>
                  <a:pt x="128" y="2223"/>
                </a:lnTo>
                <a:lnTo>
                  <a:pt x="137" y="2214"/>
                </a:lnTo>
                <a:lnTo>
                  <a:pt x="144" y="2206"/>
                </a:lnTo>
                <a:lnTo>
                  <a:pt x="147" y="2204"/>
                </a:lnTo>
                <a:lnTo>
                  <a:pt x="151" y="2203"/>
                </a:lnTo>
                <a:lnTo>
                  <a:pt x="155" y="2204"/>
                </a:lnTo>
                <a:lnTo>
                  <a:pt x="161" y="2205"/>
                </a:lnTo>
                <a:lnTo>
                  <a:pt x="167" y="2206"/>
                </a:lnTo>
                <a:lnTo>
                  <a:pt x="172" y="2206"/>
                </a:lnTo>
                <a:lnTo>
                  <a:pt x="176" y="2204"/>
                </a:lnTo>
                <a:lnTo>
                  <a:pt x="182" y="2203"/>
                </a:lnTo>
                <a:lnTo>
                  <a:pt x="187" y="2199"/>
                </a:lnTo>
                <a:lnTo>
                  <a:pt x="190" y="2197"/>
                </a:lnTo>
                <a:lnTo>
                  <a:pt x="191" y="2192"/>
                </a:lnTo>
                <a:lnTo>
                  <a:pt x="194" y="2183"/>
                </a:lnTo>
                <a:lnTo>
                  <a:pt x="196" y="2181"/>
                </a:lnTo>
                <a:lnTo>
                  <a:pt x="197" y="2180"/>
                </a:lnTo>
                <a:lnTo>
                  <a:pt x="199" y="2179"/>
                </a:lnTo>
                <a:lnTo>
                  <a:pt x="203" y="2178"/>
                </a:lnTo>
                <a:lnTo>
                  <a:pt x="205" y="2178"/>
                </a:lnTo>
                <a:lnTo>
                  <a:pt x="208" y="2179"/>
                </a:lnTo>
                <a:lnTo>
                  <a:pt x="212" y="2181"/>
                </a:lnTo>
                <a:lnTo>
                  <a:pt x="215" y="2184"/>
                </a:lnTo>
                <a:lnTo>
                  <a:pt x="224" y="2192"/>
                </a:lnTo>
                <a:lnTo>
                  <a:pt x="233" y="2197"/>
                </a:lnTo>
                <a:lnTo>
                  <a:pt x="242" y="2201"/>
                </a:lnTo>
                <a:lnTo>
                  <a:pt x="251" y="2203"/>
                </a:lnTo>
                <a:lnTo>
                  <a:pt x="257" y="2204"/>
                </a:lnTo>
                <a:lnTo>
                  <a:pt x="261" y="2204"/>
                </a:lnTo>
                <a:lnTo>
                  <a:pt x="262" y="2202"/>
                </a:lnTo>
                <a:lnTo>
                  <a:pt x="262" y="2201"/>
                </a:lnTo>
                <a:lnTo>
                  <a:pt x="261" y="2199"/>
                </a:lnTo>
                <a:lnTo>
                  <a:pt x="259" y="2196"/>
                </a:lnTo>
                <a:lnTo>
                  <a:pt x="248" y="2184"/>
                </a:lnTo>
                <a:lnTo>
                  <a:pt x="237" y="2174"/>
                </a:lnTo>
                <a:lnTo>
                  <a:pt x="232" y="2170"/>
                </a:lnTo>
                <a:lnTo>
                  <a:pt x="230" y="2165"/>
                </a:lnTo>
                <a:lnTo>
                  <a:pt x="229" y="2164"/>
                </a:lnTo>
                <a:lnTo>
                  <a:pt x="229" y="2163"/>
                </a:lnTo>
                <a:lnTo>
                  <a:pt x="230" y="2162"/>
                </a:lnTo>
                <a:lnTo>
                  <a:pt x="231" y="2162"/>
                </a:lnTo>
                <a:lnTo>
                  <a:pt x="239" y="2161"/>
                </a:lnTo>
                <a:lnTo>
                  <a:pt x="252" y="2160"/>
                </a:lnTo>
                <a:lnTo>
                  <a:pt x="258" y="2159"/>
                </a:lnTo>
                <a:lnTo>
                  <a:pt x="263" y="2158"/>
                </a:lnTo>
                <a:lnTo>
                  <a:pt x="268" y="2156"/>
                </a:lnTo>
                <a:lnTo>
                  <a:pt x="270" y="2153"/>
                </a:lnTo>
                <a:lnTo>
                  <a:pt x="274" y="2148"/>
                </a:lnTo>
                <a:lnTo>
                  <a:pt x="280" y="2140"/>
                </a:lnTo>
                <a:lnTo>
                  <a:pt x="290" y="2132"/>
                </a:lnTo>
                <a:lnTo>
                  <a:pt x="300" y="2122"/>
                </a:lnTo>
                <a:lnTo>
                  <a:pt x="311" y="2113"/>
                </a:lnTo>
                <a:lnTo>
                  <a:pt x="320" y="2104"/>
                </a:lnTo>
                <a:lnTo>
                  <a:pt x="326" y="2096"/>
                </a:lnTo>
                <a:lnTo>
                  <a:pt x="330" y="2089"/>
                </a:lnTo>
                <a:lnTo>
                  <a:pt x="333" y="2083"/>
                </a:lnTo>
                <a:lnTo>
                  <a:pt x="337" y="2075"/>
                </a:lnTo>
                <a:lnTo>
                  <a:pt x="342" y="2067"/>
                </a:lnTo>
                <a:lnTo>
                  <a:pt x="348" y="2059"/>
                </a:lnTo>
                <a:lnTo>
                  <a:pt x="360" y="2044"/>
                </a:lnTo>
                <a:lnTo>
                  <a:pt x="367" y="2034"/>
                </a:lnTo>
                <a:lnTo>
                  <a:pt x="374" y="2021"/>
                </a:lnTo>
                <a:lnTo>
                  <a:pt x="385" y="1996"/>
                </a:lnTo>
                <a:lnTo>
                  <a:pt x="394" y="1973"/>
                </a:lnTo>
                <a:lnTo>
                  <a:pt x="397" y="1963"/>
                </a:lnTo>
                <a:lnTo>
                  <a:pt x="406" y="1955"/>
                </a:lnTo>
                <a:lnTo>
                  <a:pt x="423" y="1939"/>
                </a:lnTo>
                <a:lnTo>
                  <a:pt x="432" y="1932"/>
                </a:lnTo>
                <a:lnTo>
                  <a:pt x="440" y="1925"/>
                </a:lnTo>
                <a:lnTo>
                  <a:pt x="444" y="1924"/>
                </a:lnTo>
                <a:lnTo>
                  <a:pt x="446" y="1923"/>
                </a:lnTo>
                <a:lnTo>
                  <a:pt x="448" y="1924"/>
                </a:lnTo>
                <a:lnTo>
                  <a:pt x="449" y="1926"/>
                </a:lnTo>
                <a:lnTo>
                  <a:pt x="450" y="1936"/>
                </a:lnTo>
                <a:lnTo>
                  <a:pt x="450" y="1942"/>
                </a:lnTo>
                <a:lnTo>
                  <a:pt x="449" y="1944"/>
                </a:lnTo>
                <a:lnTo>
                  <a:pt x="448" y="1945"/>
                </a:lnTo>
                <a:lnTo>
                  <a:pt x="446" y="1946"/>
                </a:lnTo>
                <a:lnTo>
                  <a:pt x="444" y="1946"/>
                </a:lnTo>
                <a:lnTo>
                  <a:pt x="438" y="1946"/>
                </a:lnTo>
                <a:lnTo>
                  <a:pt x="434" y="1946"/>
                </a:lnTo>
                <a:lnTo>
                  <a:pt x="432" y="1946"/>
                </a:lnTo>
                <a:lnTo>
                  <a:pt x="429" y="1948"/>
                </a:lnTo>
                <a:lnTo>
                  <a:pt x="427" y="1952"/>
                </a:lnTo>
                <a:lnTo>
                  <a:pt x="425" y="1956"/>
                </a:lnTo>
                <a:lnTo>
                  <a:pt x="419" y="1966"/>
                </a:lnTo>
                <a:lnTo>
                  <a:pt x="414" y="1977"/>
                </a:lnTo>
                <a:lnTo>
                  <a:pt x="411" y="1981"/>
                </a:lnTo>
                <a:lnTo>
                  <a:pt x="410" y="1985"/>
                </a:lnTo>
                <a:lnTo>
                  <a:pt x="409" y="1989"/>
                </a:lnTo>
                <a:lnTo>
                  <a:pt x="410" y="1993"/>
                </a:lnTo>
                <a:lnTo>
                  <a:pt x="410" y="1997"/>
                </a:lnTo>
                <a:lnTo>
                  <a:pt x="410" y="2001"/>
                </a:lnTo>
                <a:lnTo>
                  <a:pt x="409" y="2005"/>
                </a:lnTo>
                <a:lnTo>
                  <a:pt x="408" y="2010"/>
                </a:lnTo>
                <a:lnTo>
                  <a:pt x="404" y="2019"/>
                </a:lnTo>
                <a:lnTo>
                  <a:pt x="399" y="2024"/>
                </a:lnTo>
                <a:lnTo>
                  <a:pt x="395" y="2031"/>
                </a:lnTo>
                <a:lnTo>
                  <a:pt x="391" y="2044"/>
                </a:lnTo>
                <a:lnTo>
                  <a:pt x="388" y="2051"/>
                </a:lnTo>
                <a:lnTo>
                  <a:pt x="385" y="2059"/>
                </a:lnTo>
                <a:lnTo>
                  <a:pt x="381" y="2065"/>
                </a:lnTo>
                <a:lnTo>
                  <a:pt x="375" y="2070"/>
                </a:lnTo>
                <a:lnTo>
                  <a:pt x="363" y="2077"/>
                </a:lnTo>
                <a:lnTo>
                  <a:pt x="351" y="2081"/>
                </a:lnTo>
                <a:lnTo>
                  <a:pt x="347" y="2083"/>
                </a:lnTo>
                <a:lnTo>
                  <a:pt x="344" y="2085"/>
                </a:lnTo>
                <a:lnTo>
                  <a:pt x="342" y="2088"/>
                </a:lnTo>
                <a:lnTo>
                  <a:pt x="342" y="2092"/>
                </a:lnTo>
                <a:lnTo>
                  <a:pt x="343" y="2096"/>
                </a:lnTo>
                <a:lnTo>
                  <a:pt x="346" y="2100"/>
                </a:lnTo>
                <a:lnTo>
                  <a:pt x="349" y="2103"/>
                </a:lnTo>
                <a:lnTo>
                  <a:pt x="353" y="2105"/>
                </a:lnTo>
                <a:lnTo>
                  <a:pt x="357" y="2108"/>
                </a:lnTo>
                <a:lnTo>
                  <a:pt x="359" y="2110"/>
                </a:lnTo>
                <a:lnTo>
                  <a:pt x="360" y="2111"/>
                </a:lnTo>
                <a:lnTo>
                  <a:pt x="360" y="2113"/>
                </a:lnTo>
                <a:lnTo>
                  <a:pt x="359" y="2115"/>
                </a:lnTo>
                <a:lnTo>
                  <a:pt x="357" y="2117"/>
                </a:lnTo>
                <a:lnTo>
                  <a:pt x="353" y="2121"/>
                </a:lnTo>
                <a:lnTo>
                  <a:pt x="351" y="2126"/>
                </a:lnTo>
                <a:lnTo>
                  <a:pt x="349" y="2129"/>
                </a:lnTo>
                <a:lnTo>
                  <a:pt x="348" y="2133"/>
                </a:lnTo>
                <a:lnTo>
                  <a:pt x="348" y="2136"/>
                </a:lnTo>
                <a:lnTo>
                  <a:pt x="348" y="2139"/>
                </a:lnTo>
                <a:lnTo>
                  <a:pt x="349" y="2140"/>
                </a:lnTo>
                <a:lnTo>
                  <a:pt x="351" y="2141"/>
                </a:lnTo>
                <a:lnTo>
                  <a:pt x="355" y="2141"/>
                </a:lnTo>
                <a:lnTo>
                  <a:pt x="358" y="2139"/>
                </a:lnTo>
                <a:lnTo>
                  <a:pt x="362" y="2136"/>
                </a:lnTo>
                <a:lnTo>
                  <a:pt x="366" y="2133"/>
                </a:lnTo>
                <a:lnTo>
                  <a:pt x="372" y="2127"/>
                </a:lnTo>
                <a:lnTo>
                  <a:pt x="375" y="2123"/>
                </a:lnTo>
                <a:lnTo>
                  <a:pt x="387" y="2118"/>
                </a:lnTo>
                <a:lnTo>
                  <a:pt x="403" y="2108"/>
                </a:lnTo>
                <a:lnTo>
                  <a:pt x="405" y="2104"/>
                </a:lnTo>
                <a:lnTo>
                  <a:pt x="406" y="2098"/>
                </a:lnTo>
                <a:lnTo>
                  <a:pt x="407" y="2091"/>
                </a:lnTo>
                <a:lnTo>
                  <a:pt x="408" y="2084"/>
                </a:lnTo>
                <a:lnTo>
                  <a:pt x="408" y="2069"/>
                </a:lnTo>
                <a:lnTo>
                  <a:pt x="408" y="2064"/>
                </a:lnTo>
                <a:lnTo>
                  <a:pt x="407" y="2060"/>
                </a:lnTo>
                <a:lnTo>
                  <a:pt x="405" y="2049"/>
                </a:lnTo>
                <a:lnTo>
                  <a:pt x="406" y="2043"/>
                </a:lnTo>
                <a:lnTo>
                  <a:pt x="409" y="2035"/>
                </a:lnTo>
                <a:lnTo>
                  <a:pt x="411" y="2031"/>
                </a:lnTo>
                <a:lnTo>
                  <a:pt x="414" y="2028"/>
                </a:lnTo>
                <a:lnTo>
                  <a:pt x="418" y="2025"/>
                </a:lnTo>
                <a:lnTo>
                  <a:pt x="424" y="2022"/>
                </a:lnTo>
                <a:lnTo>
                  <a:pt x="443" y="2009"/>
                </a:lnTo>
                <a:lnTo>
                  <a:pt x="454" y="2001"/>
                </a:lnTo>
                <a:lnTo>
                  <a:pt x="462" y="1995"/>
                </a:lnTo>
                <a:lnTo>
                  <a:pt x="467" y="1993"/>
                </a:lnTo>
                <a:lnTo>
                  <a:pt x="471" y="1988"/>
                </a:lnTo>
                <a:lnTo>
                  <a:pt x="477" y="1982"/>
                </a:lnTo>
                <a:lnTo>
                  <a:pt x="480" y="1979"/>
                </a:lnTo>
                <a:lnTo>
                  <a:pt x="483" y="1978"/>
                </a:lnTo>
                <a:lnTo>
                  <a:pt x="486" y="1978"/>
                </a:lnTo>
                <a:lnTo>
                  <a:pt x="488" y="1978"/>
                </a:lnTo>
                <a:lnTo>
                  <a:pt x="490" y="1980"/>
                </a:lnTo>
                <a:lnTo>
                  <a:pt x="491" y="1981"/>
                </a:lnTo>
                <a:lnTo>
                  <a:pt x="493" y="1983"/>
                </a:lnTo>
                <a:lnTo>
                  <a:pt x="495" y="1984"/>
                </a:lnTo>
                <a:lnTo>
                  <a:pt x="497" y="1984"/>
                </a:lnTo>
                <a:lnTo>
                  <a:pt x="499" y="1984"/>
                </a:lnTo>
                <a:lnTo>
                  <a:pt x="503" y="1981"/>
                </a:lnTo>
                <a:lnTo>
                  <a:pt x="506" y="1977"/>
                </a:lnTo>
                <a:lnTo>
                  <a:pt x="509" y="1972"/>
                </a:lnTo>
                <a:lnTo>
                  <a:pt x="510" y="1966"/>
                </a:lnTo>
                <a:lnTo>
                  <a:pt x="510" y="1961"/>
                </a:lnTo>
                <a:lnTo>
                  <a:pt x="508" y="1958"/>
                </a:lnTo>
                <a:lnTo>
                  <a:pt x="505" y="1954"/>
                </a:lnTo>
                <a:lnTo>
                  <a:pt x="505" y="1950"/>
                </a:lnTo>
                <a:lnTo>
                  <a:pt x="505" y="1944"/>
                </a:lnTo>
                <a:lnTo>
                  <a:pt x="508" y="1939"/>
                </a:lnTo>
                <a:lnTo>
                  <a:pt x="510" y="1937"/>
                </a:lnTo>
                <a:lnTo>
                  <a:pt x="511" y="1936"/>
                </a:lnTo>
                <a:lnTo>
                  <a:pt x="513" y="1934"/>
                </a:lnTo>
                <a:lnTo>
                  <a:pt x="515" y="1934"/>
                </a:lnTo>
                <a:lnTo>
                  <a:pt x="517" y="1934"/>
                </a:lnTo>
                <a:lnTo>
                  <a:pt x="519" y="1935"/>
                </a:lnTo>
                <a:lnTo>
                  <a:pt x="521" y="1937"/>
                </a:lnTo>
                <a:lnTo>
                  <a:pt x="524" y="1940"/>
                </a:lnTo>
                <a:lnTo>
                  <a:pt x="530" y="1947"/>
                </a:lnTo>
                <a:lnTo>
                  <a:pt x="535" y="1953"/>
                </a:lnTo>
                <a:lnTo>
                  <a:pt x="540" y="1957"/>
                </a:lnTo>
                <a:lnTo>
                  <a:pt x="545" y="1960"/>
                </a:lnTo>
                <a:lnTo>
                  <a:pt x="553" y="1964"/>
                </a:lnTo>
                <a:lnTo>
                  <a:pt x="555" y="1966"/>
                </a:lnTo>
                <a:lnTo>
                  <a:pt x="564" y="1972"/>
                </a:lnTo>
                <a:lnTo>
                  <a:pt x="586" y="1981"/>
                </a:lnTo>
                <a:lnTo>
                  <a:pt x="590" y="1982"/>
                </a:lnTo>
                <a:lnTo>
                  <a:pt x="594" y="1982"/>
                </a:lnTo>
                <a:lnTo>
                  <a:pt x="598" y="1980"/>
                </a:lnTo>
                <a:lnTo>
                  <a:pt x="601" y="1978"/>
                </a:lnTo>
                <a:lnTo>
                  <a:pt x="606" y="1977"/>
                </a:lnTo>
                <a:lnTo>
                  <a:pt x="612" y="1978"/>
                </a:lnTo>
                <a:lnTo>
                  <a:pt x="622" y="1980"/>
                </a:lnTo>
                <a:lnTo>
                  <a:pt x="634" y="1986"/>
                </a:lnTo>
                <a:lnTo>
                  <a:pt x="657" y="2000"/>
                </a:lnTo>
                <a:lnTo>
                  <a:pt x="674" y="2010"/>
                </a:lnTo>
                <a:lnTo>
                  <a:pt x="687" y="2020"/>
                </a:lnTo>
                <a:lnTo>
                  <a:pt x="698" y="2028"/>
                </a:lnTo>
                <a:lnTo>
                  <a:pt x="706" y="2032"/>
                </a:lnTo>
                <a:lnTo>
                  <a:pt x="713" y="2034"/>
                </a:lnTo>
                <a:lnTo>
                  <a:pt x="721" y="2037"/>
                </a:lnTo>
                <a:lnTo>
                  <a:pt x="729" y="2038"/>
                </a:lnTo>
                <a:lnTo>
                  <a:pt x="733" y="2039"/>
                </a:lnTo>
                <a:lnTo>
                  <a:pt x="736" y="2041"/>
                </a:lnTo>
                <a:lnTo>
                  <a:pt x="739" y="2042"/>
                </a:lnTo>
                <a:lnTo>
                  <a:pt x="741" y="2045"/>
                </a:lnTo>
                <a:lnTo>
                  <a:pt x="744" y="2048"/>
                </a:lnTo>
                <a:lnTo>
                  <a:pt x="745" y="2052"/>
                </a:lnTo>
                <a:lnTo>
                  <a:pt x="747" y="2056"/>
                </a:lnTo>
                <a:lnTo>
                  <a:pt x="747" y="2063"/>
                </a:lnTo>
                <a:lnTo>
                  <a:pt x="750" y="2085"/>
                </a:lnTo>
                <a:lnTo>
                  <a:pt x="752" y="2103"/>
                </a:lnTo>
                <a:lnTo>
                  <a:pt x="754" y="2110"/>
                </a:lnTo>
                <a:lnTo>
                  <a:pt x="756" y="2116"/>
                </a:lnTo>
                <a:lnTo>
                  <a:pt x="760" y="2121"/>
                </a:lnTo>
                <a:lnTo>
                  <a:pt x="765" y="2126"/>
                </a:lnTo>
                <a:lnTo>
                  <a:pt x="783" y="2140"/>
                </a:lnTo>
                <a:lnTo>
                  <a:pt x="807" y="2163"/>
                </a:lnTo>
                <a:lnTo>
                  <a:pt x="832" y="2185"/>
                </a:lnTo>
                <a:lnTo>
                  <a:pt x="850" y="2201"/>
                </a:lnTo>
                <a:lnTo>
                  <a:pt x="857" y="2204"/>
                </a:lnTo>
                <a:lnTo>
                  <a:pt x="864" y="2206"/>
                </a:lnTo>
                <a:lnTo>
                  <a:pt x="872" y="2207"/>
                </a:lnTo>
                <a:lnTo>
                  <a:pt x="879" y="2209"/>
                </a:lnTo>
                <a:lnTo>
                  <a:pt x="886" y="2210"/>
                </a:lnTo>
                <a:lnTo>
                  <a:pt x="892" y="2214"/>
                </a:lnTo>
                <a:lnTo>
                  <a:pt x="895" y="2217"/>
                </a:lnTo>
                <a:lnTo>
                  <a:pt x="898" y="2219"/>
                </a:lnTo>
                <a:lnTo>
                  <a:pt x="900" y="2223"/>
                </a:lnTo>
                <a:lnTo>
                  <a:pt x="901" y="2227"/>
                </a:lnTo>
                <a:lnTo>
                  <a:pt x="906" y="2239"/>
                </a:lnTo>
                <a:lnTo>
                  <a:pt x="912" y="2250"/>
                </a:lnTo>
                <a:lnTo>
                  <a:pt x="918" y="2262"/>
                </a:lnTo>
                <a:lnTo>
                  <a:pt x="926" y="2272"/>
                </a:lnTo>
                <a:lnTo>
                  <a:pt x="937" y="2290"/>
                </a:lnTo>
                <a:lnTo>
                  <a:pt x="942" y="2297"/>
                </a:lnTo>
                <a:lnTo>
                  <a:pt x="944" y="2301"/>
                </a:lnTo>
                <a:lnTo>
                  <a:pt x="947" y="2309"/>
                </a:lnTo>
                <a:lnTo>
                  <a:pt x="948" y="2315"/>
                </a:lnTo>
                <a:lnTo>
                  <a:pt x="948" y="2324"/>
                </a:lnTo>
                <a:lnTo>
                  <a:pt x="945" y="2332"/>
                </a:lnTo>
                <a:lnTo>
                  <a:pt x="942" y="2342"/>
                </a:lnTo>
                <a:lnTo>
                  <a:pt x="941" y="2348"/>
                </a:lnTo>
                <a:lnTo>
                  <a:pt x="941" y="2352"/>
                </a:lnTo>
                <a:lnTo>
                  <a:pt x="943" y="2356"/>
                </a:lnTo>
                <a:lnTo>
                  <a:pt x="945" y="2360"/>
                </a:lnTo>
                <a:lnTo>
                  <a:pt x="952" y="2367"/>
                </a:lnTo>
                <a:lnTo>
                  <a:pt x="961" y="2374"/>
                </a:lnTo>
                <a:lnTo>
                  <a:pt x="972" y="2380"/>
                </a:lnTo>
                <a:lnTo>
                  <a:pt x="982" y="2389"/>
                </a:lnTo>
                <a:lnTo>
                  <a:pt x="987" y="2393"/>
                </a:lnTo>
                <a:lnTo>
                  <a:pt x="992" y="2398"/>
                </a:lnTo>
                <a:lnTo>
                  <a:pt x="995" y="2404"/>
                </a:lnTo>
                <a:lnTo>
                  <a:pt x="998" y="2411"/>
                </a:lnTo>
                <a:lnTo>
                  <a:pt x="1009" y="2436"/>
                </a:lnTo>
                <a:lnTo>
                  <a:pt x="1019" y="2460"/>
                </a:lnTo>
                <a:lnTo>
                  <a:pt x="1023" y="2472"/>
                </a:lnTo>
                <a:lnTo>
                  <a:pt x="1025" y="2485"/>
                </a:lnTo>
                <a:lnTo>
                  <a:pt x="1027" y="2500"/>
                </a:lnTo>
                <a:lnTo>
                  <a:pt x="1027" y="2515"/>
                </a:lnTo>
                <a:lnTo>
                  <a:pt x="1025" y="2532"/>
                </a:lnTo>
                <a:lnTo>
                  <a:pt x="1022" y="2547"/>
                </a:lnTo>
                <a:lnTo>
                  <a:pt x="1017" y="2562"/>
                </a:lnTo>
                <a:lnTo>
                  <a:pt x="1013" y="2576"/>
                </a:lnTo>
                <a:lnTo>
                  <a:pt x="1007" y="2590"/>
                </a:lnTo>
                <a:lnTo>
                  <a:pt x="1003" y="2602"/>
                </a:lnTo>
                <a:lnTo>
                  <a:pt x="1001" y="2614"/>
                </a:lnTo>
                <a:lnTo>
                  <a:pt x="1000" y="2626"/>
                </a:lnTo>
                <a:lnTo>
                  <a:pt x="1001" y="2632"/>
                </a:lnTo>
                <a:lnTo>
                  <a:pt x="1003" y="2639"/>
                </a:lnTo>
                <a:lnTo>
                  <a:pt x="1005" y="2645"/>
                </a:lnTo>
                <a:lnTo>
                  <a:pt x="1007" y="2653"/>
                </a:lnTo>
                <a:lnTo>
                  <a:pt x="1015" y="2667"/>
                </a:lnTo>
                <a:lnTo>
                  <a:pt x="1022" y="2683"/>
                </a:lnTo>
                <a:lnTo>
                  <a:pt x="1040" y="2713"/>
                </a:lnTo>
                <a:lnTo>
                  <a:pt x="1053" y="2742"/>
                </a:lnTo>
                <a:lnTo>
                  <a:pt x="1066" y="2768"/>
                </a:lnTo>
                <a:lnTo>
                  <a:pt x="1079" y="2794"/>
                </a:lnTo>
                <a:lnTo>
                  <a:pt x="1086" y="2806"/>
                </a:lnTo>
                <a:lnTo>
                  <a:pt x="1092" y="2816"/>
                </a:lnTo>
                <a:lnTo>
                  <a:pt x="1099" y="2824"/>
                </a:lnTo>
                <a:lnTo>
                  <a:pt x="1106" y="2831"/>
                </a:lnTo>
                <a:lnTo>
                  <a:pt x="1123" y="2837"/>
                </a:lnTo>
                <a:lnTo>
                  <a:pt x="1140" y="2843"/>
                </a:lnTo>
                <a:lnTo>
                  <a:pt x="1149" y="2845"/>
                </a:lnTo>
                <a:lnTo>
                  <a:pt x="1157" y="2850"/>
                </a:lnTo>
                <a:lnTo>
                  <a:pt x="1163" y="2854"/>
                </a:lnTo>
                <a:lnTo>
                  <a:pt x="1168" y="2858"/>
                </a:lnTo>
                <a:lnTo>
                  <a:pt x="1175" y="2872"/>
                </a:lnTo>
                <a:lnTo>
                  <a:pt x="1184" y="2886"/>
                </a:lnTo>
                <a:lnTo>
                  <a:pt x="1192" y="2900"/>
                </a:lnTo>
                <a:lnTo>
                  <a:pt x="1196" y="2910"/>
                </a:lnTo>
                <a:lnTo>
                  <a:pt x="1198" y="2920"/>
                </a:lnTo>
                <a:lnTo>
                  <a:pt x="1199" y="2931"/>
                </a:lnTo>
                <a:lnTo>
                  <a:pt x="1201" y="2938"/>
                </a:lnTo>
                <a:lnTo>
                  <a:pt x="1202" y="2943"/>
                </a:lnTo>
                <a:lnTo>
                  <a:pt x="1205" y="2949"/>
                </a:lnTo>
                <a:lnTo>
                  <a:pt x="1207" y="2953"/>
                </a:lnTo>
                <a:lnTo>
                  <a:pt x="1212" y="2957"/>
                </a:lnTo>
                <a:lnTo>
                  <a:pt x="1216" y="2960"/>
                </a:lnTo>
                <a:lnTo>
                  <a:pt x="1221" y="2962"/>
                </a:lnTo>
                <a:lnTo>
                  <a:pt x="1225" y="2964"/>
                </a:lnTo>
                <a:lnTo>
                  <a:pt x="1229" y="2966"/>
                </a:lnTo>
                <a:lnTo>
                  <a:pt x="1234" y="2968"/>
                </a:lnTo>
                <a:lnTo>
                  <a:pt x="1237" y="2970"/>
                </a:lnTo>
                <a:lnTo>
                  <a:pt x="1239" y="2974"/>
                </a:lnTo>
                <a:lnTo>
                  <a:pt x="1241" y="2989"/>
                </a:lnTo>
                <a:lnTo>
                  <a:pt x="1240" y="2996"/>
                </a:lnTo>
                <a:lnTo>
                  <a:pt x="1238" y="2997"/>
                </a:lnTo>
                <a:lnTo>
                  <a:pt x="1235" y="3000"/>
                </a:lnTo>
                <a:lnTo>
                  <a:pt x="1233" y="3003"/>
                </a:lnTo>
                <a:lnTo>
                  <a:pt x="1232" y="3005"/>
                </a:lnTo>
                <a:lnTo>
                  <a:pt x="1232" y="3008"/>
                </a:lnTo>
                <a:lnTo>
                  <a:pt x="1233" y="3010"/>
                </a:lnTo>
                <a:lnTo>
                  <a:pt x="1235" y="3013"/>
                </a:lnTo>
                <a:lnTo>
                  <a:pt x="1239" y="3015"/>
                </a:lnTo>
                <a:lnTo>
                  <a:pt x="1243" y="3017"/>
                </a:lnTo>
                <a:lnTo>
                  <a:pt x="1248" y="3019"/>
                </a:lnTo>
                <a:lnTo>
                  <a:pt x="1259" y="3023"/>
                </a:lnTo>
                <a:lnTo>
                  <a:pt x="1267" y="3028"/>
                </a:lnTo>
                <a:lnTo>
                  <a:pt x="1273" y="3035"/>
                </a:lnTo>
                <a:lnTo>
                  <a:pt x="1280" y="3044"/>
                </a:lnTo>
                <a:lnTo>
                  <a:pt x="1283" y="3050"/>
                </a:lnTo>
                <a:lnTo>
                  <a:pt x="1285" y="3055"/>
                </a:lnTo>
                <a:lnTo>
                  <a:pt x="1287" y="3060"/>
                </a:lnTo>
                <a:lnTo>
                  <a:pt x="1287" y="3065"/>
                </a:lnTo>
                <a:lnTo>
                  <a:pt x="1287" y="3074"/>
                </a:lnTo>
                <a:lnTo>
                  <a:pt x="1287" y="3079"/>
                </a:lnTo>
                <a:lnTo>
                  <a:pt x="1289" y="3082"/>
                </a:lnTo>
                <a:lnTo>
                  <a:pt x="1294" y="3087"/>
                </a:lnTo>
                <a:lnTo>
                  <a:pt x="1309" y="3092"/>
                </a:lnTo>
                <a:lnTo>
                  <a:pt x="1324" y="3097"/>
                </a:lnTo>
                <a:lnTo>
                  <a:pt x="1327" y="3100"/>
                </a:lnTo>
                <a:lnTo>
                  <a:pt x="1330" y="3101"/>
                </a:lnTo>
                <a:lnTo>
                  <a:pt x="1332" y="3101"/>
                </a:lnTo>
                <a:lnTo>
                  <a:pt x="1334" y="3102"/>
                </a:lnTo>
                <a:lnTo>
                  <a:pt x="1335" y="3102"/>
                </a:lnTo>
                <a:lnTo>
                  <a:pt x="1336" y="3103"/>
                </a:lnTo>
                <a:lnTo>
                  <a:pt x="1337" y="3105"/>
                </a:lnTo>
                <a:lnTo>
                  <a:pt x="1337" y="3108"/>
                </a:lnTo>
                <a:lnTo>
                  <a:pt x="1337" y="3116"/>
                </a:lnTo>
                <a:lnTo>
                  <a:pt x="1338" y="3121"/>
                </a:lnTo>
                <a:lnTo>
                  <a:pt x="1339" y="3124"/>
                </a:lnTo>
                <a:lnTo>
                  <a:pt x="1342" y="3125"/>
                </a:lnTo>
                <a:lnTo>
                  <a:pt x="1347" y="3124"/>
                </a:lnTo>
                <a:lnTo>
                  <a:pt x="1353" y="3122"/>
                </a:lnTo>
                <a:lnTo>
                  <a:pt x="1356" y="3120"/>
                </a:lnTo>
                <a:lnTo>
                  <a:pt x="1358" y="3118"/>
                </a:lnTo>
                <a:lnTo>
                  <a:pt x="1359" y="3115"/>
                </a:lnTo>
                <a:lnTo>
                  <a:pt x="1359" y="3110"/>
                </a:lnTo>
                <a:lnTo>
                  <a:pt x="1357" y="3104"/>
                </a:lnTo>
                <a:lnTo>
                  <a:pt x="1353" y="3098"/>
                </a:lnTo>
                <a:lnTo>
                  <a:pt x="1347" y="3091"/>
                </a:lnTo>
                <a:lnTo>
                  <a:pt x="1339" y="3083"/>
                </a:lnTo>
                <a:lnTo>
                  <a:pt x="1330" y="3072"/>
                </a:lnTo>
                <a:lnTo>
                  <a:pt x="1323" y="3060"/>
                </a:lnTo>
                <a:lnTo>
                  <a:pt x="1317" y="3050"/>
                </a:lnTo>
                <a:lnTo>
                  <a:pt x="1314" y="3041"/>
                </a:lnTo>
                <a:lnTo>
                  <a:pt x="1312" y="3036"/>
                </a:lnTo>
                <a:lnTo>
                  <a:pt x="1310" y="3032"/>
                </a:lnTo>
                <a:lnTo>
                  <a:pt x="1307" y="3029"/>
                </a:lnTo>
                <a:lnTo>
                  <a:pt x="1305" y="3027"/>
                </a:lnTo>
                <a:lnTo>
                  <a:pt x="1295" y="3015"/>
                </a:lnTo>
                <a:lnTo>
                  <a:pt x="1278" y="2992"/>
                </a:lnTo>
                <a:lnTo>
                  <a:pt x="1260" y="2969"/>
                </a:lnTo>
                <a:lnTo>
                  <a:pt x="1250" y="2957"/>
                </a:lnTo>
                <a:lnTo>
                  <a:pt x="1247" y="2951"/>
                </a:lnTo>
                <a:lnTo>
                  <a:pt x="1242" y="2941"/>
                </a:lnTo>
                <a:lnTo>
                  <a:pt x="1240" y="2934"/>
                </a:lnTo>
                <a:lnTo>
                  <a:pt x="1239" y="2929"/>
                </a:lnTo>
                <a:lnTo>
                  <a:pt x="1239" y="2926"/>
                </a:lnTo>
                <a:lnTo>
                  <a:pt x="1239" y="2924"/>
                </a:lnTo>
                <a:lnTo>
                  <a:pt x="1240" y="2923"/>
                </a:lnTo>
                <a:lnTo>
                  <a:pt x="1241" y="2921"/>
                </a:lnTo>
                <a:lnTo>
                  <a:pt x="1247" y="2917"/>
                </a:lnTo>
                <a:lnTo>
                  <a:pt x="1252" y="2915"/>
                </a:lnTo>
                <a:lnTo>
                  <a:pt x="1256" y="2915"/>
                </a:lnTo>
                <a:lnTo>
                  <a:pt x="1259" y="2915"/>
                </a:lnTo>
                <a:lnTo>
                  <a:pt x="1261" y="2917"/>
                </a:lnTo>
                <a:lnTo>
                  <a:pt x="1264" y="2921"/>
                </a:lnTo>
                <a:lnTo>
                  <a:pt x="1269" y="2933"/>
                </a:lnTo>
                <a:lnTo>
                  <a:pt x="1276" y="2944"/>
                </a:lnTo>
                <a:lnTo>
                  <a:pt x="1279" y="2948"/>
                </a:lnTo>
                <a:lnTo>
                  <a:pt x="1280" y="2952"/>
                </a:lnTo>
                <a:lnTo>
                  <a:pt x="1280" y="2956"/>
                </a:lnTo>
                <a:lnTo>
                  <a:pt x="1280" y="2962"/>
                </a:lnTo>
                <a:lnTo>
                  <a:pt x="1280" y="2966"/>
                </a:lnTo>
                <a:lnTo>
                  <a:pt x="1282" y="2971"/>
                </a:lnTo>
                <a:lnTo>
                  <a:pt x="1285" y="2975"/>
                </a:lnTo>
                <a:lnTo>
                  <a:pt x="1290" y="2981"/>
                </a:lnTo>
                <a:lnTo>
                  <a:pt x="1298" y="2986"/>
                </a:lnTo>
                <a:lnTo>
                  <a:pt x="1306" y="2994"/>
                </a:lnTo>
                <a:lnTo>
                  <a:pt x="1314" y="3004"/>
                </a:lnTo>
                <a:lnTo>
                  <a:pt x="1322" y="3013"/>
                </a:lnTo>
                <a:lnTo>
                  <a:pt x="1335" y="3032"/>
                </a:lnTo>
                <a:lnTo>
                  <a:pt x="1343" y="3042"/>
                </a:lnTo>
                <a:lnTo>
                  <a:pt x="1348" y="3049"/>
                </a:lnTo>
                <a:lnTo>
                  <a:pt x="1357" y="3055"/>
                </a:lnTo>
                <a:lnTo>
                  <a:pt x="1368" y="3063"/>
                </a:lnTo>
                <a:lnTo>
                  <a:pt x="1380" y="3074"/>
                </a:lnTo>
                <a:lnTo>
                  <a:pt x="1392" y="3084"/>
                </a:lnTo>
                <a:lnTo>
                  <a:pt x="1401" y="3093"/>
                </a:lnTo>
                <a:lnTo>
                  <a:pt x="1405" y="3097"/>
                </a:lnTo>
                <a:lnTo>
                  <a:pt x="1410" y="3101"/>
                </a:lnTo>
                <a:lnTo>
                  <a:pt x="1413" y="3106"/>
                </a:lnTo>
                <a:lnTo>
                  <a:pt x="1417" y="3113"/>
                </a:lnTo>
                <a:lnTo>
                  <a:pt x="1421" y="3119"/>
                </a:lnTo>
                <a:lnTo>
                  <a:pt x="1425" y="3124"/>
                </a:lnTo>
                <a:lnTo>
                  <a:pt x="1431" y="3129"/>
                </a:lnTo>
                <a:lnTo>
                  <a:pt x="1435" y="3134"/>
                </a:lnTo>
                <a:lnTo>
                  <a:pt x="1439" y="3138"/>
                </a:lnTo>
                <a:lnTo>
                  <a:pt x="1442" y="3142"/>
                </a:lnTo>
                <a:lnTo>
                  <a:pt x="1443" y="3146"/>
                </a:lnTo>
                <a:lnTo>
                  <a:pt x="1442" y="3152"/>
                </a:lnTo>
                <a:lnTo>
                  <a:pt x="1438" y="3162"/>
                </a:lnTo>
                <a:lnTo>
                  <a:pt x="1433" y="3168"/>
                </a:lnTo>
                <a:lnTo>
                  <a:pt x="1432" y="3171"/>
                </a:lnTo>
                <a:lnTo>
                  <a:pt x="1431" y="3173"/>
                </a:lnTo>
                <a:lnTo>
                  <a:pt x="1431" y="3175"/>
                </a:lnTo>
                <a:lnTo>
                  <a:pt x="1431" y="3178"/>
                </a:lnTo>
                <a:lnTo>
                  <a:pt x="1436" y="3185"/>
                </a:lnTo>
                <a:lnTo>
                  <a:pt x="1446" y="3196"/>
                </a:lnTo>
                <a:lnTo>
                  <a:pt x="1461" y="3209"/>
                </a:lnTo>
                <a:lnTo>
                  <a:pt x="1477" y="3222"/>
                </a:lnTo>
                <a:lnTo>
                  <a:pt x="1487" y="3227"/>
                </a:lnTo>
                <a:lnTo>
                  <a:pt x="1499" y="3233"/>
                </a:lnTo>
                <a:lnTo>
                  <a:pt x="1513" y="3238"/>
                </a:lnTo>
                <a:lnTo>
                  <a:pt x="1528" y="3245"/>
                </a:lnTo>
                <a:lnTo>
                  <a:pt x="1555" y="3254"/>
                </a:lnTo>
                <a:lnTo>
                  <a:pt x="1577" y="3262"/>
                </a:lnTo>
                <a:lnTo>
                  <a:pt x="1596" y="3273"/>
                </a:lnTo>
                <a:lnTo>
                  <a:pt x="1617" y="3284"/>
                </a:lnTo>
                <a:lnTo>
                  <a:pt x="1628" y="3290"/>
                </a:lnTo>
                <a:lnTo>
                  <a:pt x="1636" y="3294"/>
                </a:lnTo>
                <a:lnTo>
                  <a:pt x="1639" y="3294"/>
                </a:lnTo>
                <a:lnTo>
                  <a:pt x="1642" y="3295"/>
                </a:lnTo>
                <a:lnTo>
                  <a:pt x="1645" y="3294"/>
                </a:lnTo>
                <a:lnTo>
                  <a:pt x="1647" y="3292"/>
                </a:lnTo>
                <a:lnTo>
                  <a:pt x="1656" y="3282"/>
                </a:lnTo>
                <a:lnTo>
                  <a:pt x="1666" y="3273"/>
                </a:lnTo>
                <a:lnTo>
                  <a:pt x="1672" y="3269"/>
                </a:lnTo>
                <a:lnTo>
                  <a:pt x="1677" y="3267"/>
                </a:lnTo>
                <a:lnTo>
                  <a:pt x="1681" y="3264"/>
                </a:lnTo>
                <a:lnTo>
                  <a:pt x="1684" y="3266"/>
                </a:lnTo>
                <a:lnTo>
                  <a:pt x="1688" y="3270"/>
                </a:lnTo>
                <a:lnTo>
                  <a:pt x="1693" y="3277"/>
                </a:lnTo>
                <a:lnTo>
                  <a:pt x="1695" y="3280"/>
                </a:lnTo>
                <a:lnTo>
                  <a:pt x="1698" y="3282"/>
                </a:lnTo>
                <a:lnTo>
                  <a:pt x="1703" y="3284"/>
                </a:lnTo>
                <a:lnTo>
                  <a:pt x="1708" y="3284"/>
                </a:lnTo>
                <a:lnTo>
                  <a:pt x="1716" y="3285"/>
                </a:lnTo>
                <a:lnTo>
                  <a:pt x="1722" y="3289"/>
                </a:lnTo>
                <a:lnTo>
                  <a:pt x="1728" y="3292"/>
                </a:lnTo>
                <a:lnTo>
                  <a:pt x="1734" y="3297"/>
                </a:lnTo>
                <a:lnTo>
                  <a:pt x="1745" y="3306"/>
                </a:lnTo>
                <a:lnTo>
                  <a:pt x="1753" y="3315"/>
                </a:lnTo>
                <a:lnTo>
                  <a:pt x="1764" y="3321"/>
                </a:lnTo>
                <a:lnTo>
                  <a:pt x="1778" y="3329"/>
                </a:lnTo>
                <a:lnTo>
                  <a:pt x="1793" y="3336"/>
                </a:lnTo>
                <a:lnTo>
                  <a:pt x="1803" y="3341"/>
                </a:lnTo>
                <a:lnTo>
                  <a:pt x="1806" y="3342"/>
                </a:lnTo>
                <a:lnTo>
                  <a:pt x="1810" y="3341"/>
                </a:lnTo>
                <a:lnTo>
                  <a:pt x="1813" y="3338"/>
                </a:lnTo>
                <a:lnTo>
                  <a:pt x="1818" y="3337"/>
                </a:lnTo>
                <a:lnTo>
                  <a:pt x="1820" y="3336"/>
                </a:lnTo>
                <a:lnTo>
                  <a:pt x="1822" y="3336"/>
                </a:lnTo>
                <a:lnTo>
                  <a:pt x="1826" y="3337"/>
                </a:lnTo>
                <a:lnTo>
                  <a:pt x="1828" y="3338"/>
                </a:lnTo>
                <a:lnTo>
                  <a:pt x="1831" y="3340"/>
                </a:lnTo>
                <a:lnTo>
                  <a:pt x="1833" y="3343"/>
                </a:lnTo>
                <a:lnTo>
                  <a:pt x="1836" y="3348"/>
                </a:lnTo>
                <a:lnTo>
                  <a:pt x="1839" y="3354"/>
                </a:lnTo>
                <a:lnTo>
                  <a:pt x="1849" y="3374"/>
                </a:lnTo>
                <a:lnTo>
                  <a:pt x="1856" y="3387"/>
                </a:lnTo>
                <a:lnTo>
                  <a:pt x="1862" y="3396"/>
                </a:lnTo>
                <a:lnTo>
                  <a:pt x="1870" y="3407"/>
                </a:lnTo>
                <a:lnTo>
                  <a:pt x="1876" y="3413"/>
                </a:lnTo>
                <a:lnTo>
                  <a:pt x="1884" y="3421"/>
                </a:lnTo>
                <a:lnTo>
                  <a:pt x="1895" y="3429"/>
                </a:lnTo>
                <a:lnTo>
                  <a:pt x="1905" y="3436"/>
                </a:lnTo>
                <a:lnTo>
                  <a:pt x="1925" y="3450"/>
                </a:lnTo>
                <a:lnTo>
                  <a:pt x="1936" y="3458"/>
                </a:lnTo>
                <a:lnTo>
                  <a:pt x="1938" y="3460"/>
                </a:lnTo>
                <a:lnTo>
                  <a:pt x="1942" y="3465"/>
                </a:lnTo>
                <a:lnTo>
                  <a:pt x="1947" y="3468"/>
                </a:lnTo>
                <a:lnTo>
                  <a:pt x="1953" y="3472"/>
                </a:lnTo>
                <a:lnTo>
                  <a:pt x="1962" y="3474"/>
                </a:lnTo>
                <a:lnTo>
                  <a:pt x="1969" y="3476"/>
                </a:lnTo>
                <a:lnTo>
                  <a:pt x="1973" y="3476"/>
                </a:lnTo>
                <a:lnTo>
                  <a:pt x="1978" y="3476"/>
                </a:lnTo>
                <a:lnTo>
                  <a:pt x="1982" y="3476"/>
                </a:lnTo>
                <a:lnTo>
                  <a:pt x="1986" y="3475"/>
                </a:lnTo>
                <a:lnTo>
                  <a:pt x="1998" y="3467"/>
                </a:lnTo>
                <a:lnTo>
                  <a:pt x="2007" y="3459"/>
                </a:lnTo>
                <a:lnTo>
                  <a:pt x="2011" y="3457"/>
                </a:lnTo>
                <a:lnTo>
                  <a:pt x="2015" y="3456"/>
                </a:lnTo>
                <a:lnTo>
                  <a:pt x="2020" y="3457"/>
                </a:lnTo>
                <a:lnTo>
                  <a:pt x="2027" y="3460"/>
                </a:lnTo>
                <a:lnTo>
                  <a:pt x="2033" y="3464"/>
                </a:lnTo>
                <a:lnTo>
                  <a:pt x="2039" y="3466"/>
                </a:lnTo>
                <a:lnTo>
                  <a:pt x="2045" y="3467"/>
                </a:lnTo>
                <a:lnTo>
                  <a:pt x="2049" y="3468"/>
                </a:lnTo>
                <a:lnTo>
                  <a:pt x="2053" y="3469"/>
                </a:lnTo>
                <a:lnTo>
                  <a:pt x="2055" y="3471"/>
                </a:lnTo>
                <a:lnTo>
                  <a:pt x="2057" y="3474"/>
                </a:lnTo>
                <a:lnTo>
                  <a:pt x="2057" y="3478"/>
                </a:lnTo>
                <a:lnTo>
                  <a:pt x="2058" y="3485"/>
                </a:lnTo>
                <a:lnTo>
                  <a:pt x="2061" y="3491"/>
                </a:lnTo>
                <a:lnTo>
                  <a:pt x="2064" y="3497"/>
                </a:lnTo>
                <a:lnTo>
                  <a:pt x="2068" y="3504"/>
                </a:lnTo>
                <a:lnTo>
                  <a:pt x="2070" y="3512"/>
                </a:lnTo>
                <a:lnTo>
                  <a:pt x="2070" y="3520"/>
                </a:lnTo>
                <a:lnTo>
                  <a:pt x="2069" y="3524"/>
                </a:lnTo>
                <a:lnTo>
                  <a:pt x="2068" y="3530"/>
                </a:lnTo>
                <a:lnTo>
                  <a:pt x="2064" y="3534"/>
                </a:lnTo>
                <a:lnTo>
                  <a:pt x="2060" y="3539"/>
                </a:lnTo>
                <a:lnTo>
                  <a:pt x="2039" y="3564"/>
                </a:lnTo>
                <a:lnTo>
                  <a:pt x="2016" y="3591"/>
                </a:lnTo>
                <a:lnTo>
                  <a:pt x="2006" y="3604"/>
                </a:lnTo>
                <a:lnTo>
                  <a:pt x="1996" y="3615"/>
                </a:lnTo>
                <a:lnTo>
                  <a:pt x="1989" y="3626"/>
                </a:lnTo>
                <a:lnTo>
                  <a:pt x="1986" y="3633"/>
                </a:lnTo>
                <a:lnTo>
                  <a:pt x="1985" y="3641"/>
                </a:lnTo>
                <a:lnTo>
                  <a:pt x="1985" y="3651"/>
                </a:lnTo>
                <a:lnTo>
                  <a:pt x="1986" y="3662"/>
                </a:lnTo>
                <a:lnTo>
                  <a:pt x="1987" y="3672"/>
                </a:lnTo>
                <a:lnTo>
                  <a:pt x="1991" y="3691"/>
                </a:lnTo>
                <a:lnTo>
                  <a:pt x="1992" y="3698"/>
                </a:lnTo>
                <a:lnTo>
                  <a:pt x="1987" y="3703"/>
                </a:lnTo>
                <a:lnTo>
                  <a:pt x="1978" y="3717"/>
                </a:lnTo>
                <a:lnTo>
                  <a:pt x="1972" y="3727"/>
                </a:lnTo>
                <a:lnTo>
                  <a:pt x="1968" y="3736"/>
                </a:lnTo>
                <a:lnTo>
                  <a:pt x="1967" y="3740"/>
                </a:lnTo>
                <a:lnTo>
                  <a:pt x="1966" y="3745"/>
                </a:lnTo>
                <a:lnTo>
                  <a:pt x="1967" y="3750"/>
                </a:lnTo>
                <a:lnTo>
                  <a:pt x="1968" y="3754"/>
                </a:lnTo>
                <a:lnTo>
                  <a:pt x="1972" y="3762"/>
                </a:lnTo>
                <a:lnTo>
                  <a:pt x="1981" y="3772"/>
                </a:lnTo>
                <a:lnTo>
                  <a:pt x="1990" y="3782"/>
                </a:lnTo>
                <a:lnTo>
                  <a:pt x="2001" y="3794"/>
                </a:lnTo>
                <a:lnTo>
                  <a:pt x="2012" y="3807"/>
                </a:lnTo>
                <a:lnTo>
                  <a:pt x="2023" y="3824"/>
                </a:lnTo>
                <a:lnTo>
                  <a:pt x="2028" y="3832"/>
                </a:lnTo>
                <a:lnTo>
                  <a:pt x="2032" y="3843"/>
                </a:lnTo>
                <a:lnTo>
                  <a:pt x="2036" y="3853"/>
                </a:lnTo>
                <a:lnTo>
                  <a:pt x="2039" y="3865"/>
                </a:lnTo>
                <a:lnTo>
                  <a:pt x="2046" y="3886"/>
                </a:lnTo>
                <a:lnTo>
                  <a:pt x="2050" y="3903"/>
                </a:lnTo>
                <a:lnTo>
                  <a:pt x="2054" y="3915"/>
                </a:lnTo>
                <a:lnTo>
                  <a:pt x="2058" y="3925"/>
                </a:lnTo>
                <a:lnTo>
                  <a:pt x="2063" y="3934"/>
                </a:lnTo>
                <a:lnTo>
                  <a:pt x="2070" y="3942"/>
                </a:lnTo>
                <a:lnTo>
                  <a:pt x="2077" y="3952"/>
                </a:lnTo>
                <a:lnTo>
                  <a:pt x="2086" y="3963"/>
                </a:lnTo>
                <a:lnTo>
                  <a:pt x="2093" y="3970"/>
                </a:lnTo>
                <a:lnTo>
                  <a:pt x="2101" y="3976"/>
                </a:lnTo>
                <a:lnTo>
                  <a:pt x="2110" y="3982"/>
                </a:lnTo>
                <a:lnTo>
                  <a:pt x="2119" y="3987"/>
                </a:lnTo>
                <a:lnTo>
                  <a:pt x="2140" y="3998"/>
                </a:lnTo>
                <a:lnTo>
                  <a:pt x="2162" y="4008"/>
                </a:lnTo>
                <a:lnTo>
                  <a:pt x="2182" y="4018"/>
                </a:lnTo>
                <a:lnTo>
                  <a:pt x="2199" y="4028"/>
                </a:lnTo>
                <a:lnTo>
                  <a:pt x="2205" y="4032"/>
                </a:lnTo>
                <a:lnTo>
                  <a:pt x="2209" y="4038"/>
                </a:lnTo>
                <a:lnTo>
                  <a:pt x="2211" y="4040"/>
                </a:lnTo>
                <a:lnTo>
                  <a:pt x="2212" y="4043"/>
                </a:lnTo>
                <a:lnTo>
                  <a:pt x="2212" y="4045"/>
                </a:lnTo>
                <a:lnTo>
                  <a:pt x="2212" y="4047"/>
                </a:lnTo>
                <a:lnTo>
                  <a:pt x="2210" y="4067"/>
                </a:lnTo>
                <a:lnTo>
                  <a:pt x="2209" y="4086"/>
                </a:lnTo>
                <a:lnTo>
                  <a:pt x="2209" y="4103"/>
                </a:lnTo>
                <a:lnTo>
                  <a:pt x="2211" y="4116"/>
                </a:lnTo>
                <a:lnTo>
                  <a:pt x="2213" y="4127"/>
                </a:lnTo>
                <a:lnTo>
                  <a:pt x="2214" y="4132"/>
                </a:lnTo>
                <a:lnTo>
                  <a:pt x="2214" y="4136"/>
                </a:lnTo>
                <a:lnTo>
                  <a:pt x="2213" y="4139"/>
                </a:lnTo>
                <a:lnTo>
                  <a:pt x="2211" y="4146"/>
                </a:lnTo>
                <a:lnTo>
                  <a:pt x="2209" y="4155"/>
                </a:lnTo>
                <a:lnTo>
                  <a:pt x="2207" y="4166"/>
                </a:lnTo>
                <a:lnTo>
                  <a:pt x="2206" y="4175"/>
                </a:lnTo>
                <a:lnTo>
                  <a:pt x="2205" y="4185"/>
                </a:lnTo>
                <a:lnTo>
                  <a:pt x="2204" y="4196"/>
                </a:lnTo>
                <a:lnTo>
                  <a:pt x="2202" y="4204"/>
                </a:lnTo>
                <a:lnTo>
                  <a:pt x="2201" y="4210"/>
                </a:lnTo>
                <a:lnTo>
                  <a:pt x="2199" y="4221"/>
                </a:lnTo>
                <a:lnTo>
                  <a:pt x="2195" y="4243"/>
                </a:lnTo>
                <a:lnTo>
                  <a:pt x="2193" y="4263"/>
                </a:lnTo>
                <a:lnTo>
                  <a:pt x="2192" y="4272"/>
                </a:lnTo>
                <a:lnTo>
                  <a:pt x="2188" y="4271"/>
                </a:lnTo>
                <a:lnTo>
                  <a:pt x="2179" y="4270"/>
                </a:lnTo>
                <a:lnTo>
                  <a:pt x="2173" y="4270"/>
                </a:lnTo>
                <a:lnTo>
                  <a:pt x="2170" y="4271"/>
                </a:lnTo>
                <a:lnTo>
                  <a:pt x="2168" y="4272"/>
                </a:lnTo>
                <a:lnTo>
                  <a:pt x="2167" y="4273"/>
                </a:lnTo>
                <a:lnTo>
                  <a:pt x="2167" y="4276"/>
                </a:lnTo>
                <a:lnTo>
                  <a:pt x="2167" y="4278"/>
                </a:lnTo>
                <a:lnTo>
                  <a:pt x="2179" y="4288"/>
                </a:lnTo>
                <a:lnTo>
                  <a:pt x="2190" y="4298"/>
                </a:lnTo>
                <a:lnTo>
                  <a:pt x="2190" y="4306"/>
                </a:lnTo>
                <a:lnTo>
                  <a:pt x="2189" y="4315"/>
                </a:lnTo>
                <a:lnTo>
                  <a:pt x="2187" y="4324"/>
                </a:lnTo>
                <a:lnTo>
                  <a:pt x="2187" y="4329"/>
                </a:lnTo>
                <a:lnTo>
                  <a:pt x="2181" y="4337"/>
                </a:lnTo>
                <a:lnTo>
                  <a:pt x="2173" y="4346"/>
                </a:lnTo>
                <a:lnTo>
                  <a:pt x="2173" y="4351"/>
                </a:lnTo>
                <a:lnTo>
                  <a:pt x="2173" y="4361"/>
                </a:lnTo>
                <a:lnTo>
                  <a:pt x="2174" y="4373"/>
                </a:lnTo>
                <a:lnTo>
                  <a:pt x="2176" y="4382"/>
                </a:lnTo>
                <a:lnTo>
                  <a:pt x="2178" y="4388"/>
                </a:lnTo>
                <a:lnTo>
                  <a:pt x="2179" y="4393"/>
                </a:lnTo>
                <a:lnTo>
                  <a:pt x="2179" y="4397"/>
                </a:lnTo>
                <a:lnTo>
                  <a:pt x="2178" y="4401"/>
                </a:lnTo>
                <a:lnTo>
                  <a:pt x="2174" y="4415"/>
                </a:lnTo>
                <a:lnTo>
                  <a:pt x="2171" y="4430"/>
                </a:lnTo>
                <a:lnTo>
                  <a:pt x="2168" y="4439"/>
                </a:lnTo>
                <a:lnTo>
                  <a:pt x="2164" y="4453"/>
                </a:lnTo>
                <a:lnTo>
                  <a:pt x="2158" y="4468"/>
                </a:lnTo>
                <a:lnTo>
                  <a:pt x="2150" y="4484"/>
                </a:lnTo>
                <a:lnTo>
                  <a:pt x="2143" y="4498"/>
                </a:lnTo>
                <a:lnTo>
                  <a:pt x="2138" y="4507"/>
                </a:lnTo>
                <a:lnTo>
                  <a:pt x="2136" y="4510"/>
                </a:lnTo>
                <a:lnTo>
                  <a:pt x="2136" y="4513"/>
                </a:lnTo>
                <a:lnTo>
                  <a:pt x="2135" y="4517"/>
                </a:lnTo>
                <a:lnTo>
                  <a:pt x="2136" y="4519"/>
                </a:lnTo>
                <a:lnTo>
                  <a:pt x="2138" y="4523"/>
                </a:lnTo>
                <a:lnTo>
                  <a:pt x="2141" y="4526"/>
                </a:lnTo>
                <a:lnTo>
                  <a:pt x="2142" y="4527"/>
                </a:lnTo>
                <a:lnTo>
                  <a:pt x="2143" y="4528"/>
                </a:lnTo>
                <a:lnTo>
                  <a:pt x="2143" y="4530"/>
                </a:lnTo>
                <a:lnTo>
                  <a:pt x="2142" y="4532"/>
                </a:lnTo>
                <a:lnTo>
                  <a:pt x="2139" y="4535"/>
                </a:lnTo>
                <a:lnTo>
                  <a:pt x="2137" y="4536"/>
                </a:lnTo>
                <a:lnTo>
                  <a:pt x="2136" y="4537"/>
                </a:lnTo>
                <a:lnTo>
                  <a:pt x="2136" y="4539"/>
                </a:lnTo>
                <a:lnTo>
                  <a:pt x="2136" y="4541"/>
                </a:lnTo>
                <a:lnTo>
                  <a:pt x="2136" y="4543"/>
                </a:lnTo>
                <a:lnTo>
                  <a:pt x="2141" y="4556"/>
                </a:lnTo>
                <a:lnTo>
                  <a:pt x="2145" y="4571"/>
                </a:lnTo>
                <a:lnTo>
                  <a:pt x="2138" y="4583"/>
                </a:lnTo>
                <a:lnTo>
                  <a:pt x="2130" y="4594"/>
                </a:lnTo>
                <a:lnTo>
                  <a:pt x="2130" y="4600"/>
                </a:lnTo>
                <a:lnTo>
                  <a:pt x="2129" y="4607"/>
                </a:lnTo>
                <a:lnTo>
                  <a:pt x="2129" y="4616"/>
                </a:lnTo>
                <a:lnTo>
                  <a:pt x="2129" y="4630"/>
                </a:lnTo>
                <a:lnTo>
                  <a:pt x="2129" y="4645"/>
                </a:lnTo>
                <a:lnTo>
                  <a:pt x="2129" y="4661"/>
                </a:lnTo>
                <a:lnTo>
                  <a:pt x="2129" y="4667"/>
                </a:lnTo>
                <a:lnTo>
                  <a:pt x="2128" y="4674"/>
                </a:lnTo>
                <a:lnTo>
                  <a:pt x="2126" y="4680"/>
                </a:lnTo>
                <a:lnTo>
                  <a:pt x="2124" y="4685"/>
                </a:lnTo>
                <a:lnTo>
                  <a:pt x="2117" y="4693"/>
                </a:lnTo>
                <a:lnTo>
                  <a:pt x="2110" y="4698"/>
                </a:lnTo>
                <a:lnTo>
                  <a:pt x="2106" y="4702"/>
                </a:lnTo>
                <a:lnTo>
                  <a:pt x="2105" y="4705"/>
                </a:lnTo>
                <a:lnTo>
                  <a:pt x="2105" y="4710"/>
                </a:lnTo>
                <a:lnTo>
                  <a:pt x="2107" y="4718"/>
                </a:lnTo>
                <a:lnTo>
                  <a:pt x="2113" y="4730"/>
                </a:lnTo>
                <a:lnTo>
                  <a:pt x="2116" y="4739"/>
                </a:lnTo>
                <a:lnTo>
                  <a:pt x="2116" y="4741"/>
                </a:lnTo>
                <a:lnTo>
                  <a:pt x="2116" y="4744"/>
                </a:lnTo>
                <a:lnTo>
                  <a:pt x="2115" y="4746"/>
                </a:lnTo>
                <a:lnTo>
                  <a:pt x="2114" y="4747"/>
                </a:lnTo>
                <a:lnTo>
                  <a:pt x="2111" y="4749"/>
                </a:lnTo>
                <a:lnTo>
                  <a:pt x="2107" y="4750"/>
                </a:lnTo>
                <a:lnTo>
                  <a:pt x="2106" y="4750"/>
                </a:lnTo>
                <a:lnTo>
                  <a:pt x="2105" y="4752"/>
                </a:lnTo>
                <a:lnTo>
                  <a:pt x="2104" y="4755"/>
                </a:lnTo>
                <a:lnTo>
                  <a:pt x="2104" y="4760"/>
                </a:lnTo>
                <a:lnTo>
                  <a:pt x="2105" y="4765"/>
                </a:lnTo>
                <a:lnTo>
                  <a:pt x="2106" y="4768"/>
                </a:lnTo>
                <a:lnTo>
                  <a:pt x="2107" y="4770"/>
                </a:lnTo>
                <a:lnTo>
                  <a:pt x="2108" y="4771"/>
                </a:lnTo>
                <a:lnTo>
                  <a:pt x="2110" y="4773"/>
                </a:lnTo>
                <a:lnTo>
                  <a:pt x="2110" y="4775"/>
                </a:lnTo>
                <a:lnTo>
                  <a:pt x="2108" y="4778"/>
                </a:lnTo>
                <a:lnTo>
                  <a:pt x="2106" y="4784"/>
                </a:lnTo>
                <a:lnTo>
                  <a:pt x="2099" y="4793"/>
                </a:lnTo>
                <a:lnTo>
                  <a:pt x="2090" y="4802"/>
                </a:lnTo>
                <a:lnTo>
                  <a:pt x="2086" y="4807"/>
                </a:lnTo>
                <a:lnTo>
                  <a:pt x="2084" y="4813"/>
                </a:lnTo>
                <a:lnTo>
                  <a:pt x="2084" y="4816"/>
                </a:lnTo>
                <a:lnTo>
                  <a:pt x="2085" y="4820"/>
                </a:lnTo>
                <a:lnTo>
                  <a:pt x="2086" y="4825"/>
                </a:lnTo>
                <a:lnTo>
                  <a:pt x="2089" y="4830"/>
                </a:lnTo>
                <a:lnTo>
                  <a:pt x="2092" y="4837"/>
                </a:lnTo>
                <a:lnTo>
                  <a:pt x="2094" y="4841"/>
                </a:lnTo>
                <a:lnTo>
                  <a:pt x="2095" y="4841"/>
                </a:lnTo>
                <a:lnTo>
                  <a:pt x="2096" y="4840"/>
                </a:lnTo>
                <a:lnTo>
                  <a:pt x="2096" y="4839"/>
                </a:lnTo>
                <a:lnTo>
                  <a:pt x="2097" y="4838"/>
                </a:lnTo>
                <a:lnTo>
                  <a:pt x="2097" y="4833"/>
                </a:lnTo>
                <a:lnTo>
                  <a:pt x="2098" y="4827"/>
                </a:lnTo>
                <a:lnTo>
                  <a:pt x="2100" y="4820"/>
                </a:lnTo>
                <a:lnTo>
                  <a:pt x="2102" y="4814"/>
                </a:lnTo>
                <a:lnTo>
                  <a:pt x="2105" y="4809"/>
                </a:lnTo>
                <a:lnTo>
                  <a:pt x="2108" y="4806"/>
                </a:lnTo>
                <a:lnTo>
                  <a:pt x="2112" y="4804"/>
                </a:lnTo>
                <a:lnTo>
                  <a:pt x="2114" y="4804"/>
                </a:lnTo>
                <a:lnTo>
                  <a:pt x="2115" y="4806"/>
                </a:lnTo>
                <a:lnTo>
                  <a:pt x="2116" y="4809"/>
                </a:lnTo>
                <a:lnTo>
                  <a:pt x="2116" y="4813"/>
                </a:lnTo>
                <a:lnTo>
                  <a:pt x="2115" y="4819"/>
                </a:lnTo>
                <a:lnTo>
                  <a:pt x="2106" y="4837"/>
                </a:lnTo>
                <a:lnTo>
                  <a:pt x="2101" y="4849"/>
                </a:lnTo>
                <a:lnTo>
                  <a:pt x="2103" y="4859"/>
                </a:lnTo>
                <a:lnTo>
                  <a:pt x="2105" y="4871"/>
                </a:lnTo>
                <a:lnTo>
                  <a:pt x="2107" y="4883"/>
                </a:lnTo>
                <a:lnTo>
                  <a:pt x="2107" y="4893"/>
                </a:lnTo>
                <a:lnTo>
                  <a:pt x="2105" y="4898"/>
                </a:lnTo>
                <a:lnTo>
                  <a:pt x="2102" y="4902"/>
                </a:lnTo>
                <a:lnTo>
                  <a:pt x="2100" y="4905"/>
                </a:lnTo>
                <a:lnTo>
                  <a:pt x="2099" y="4907"/>
                </a:lnTo>
                <a:lnTo>
                  <a:pt x="2098" y="4912"/>
                </a:lnTo>
                <a:lnTo>
                  <a:pt x="2097" y="4917"/>
                </a:lnTo>
                <a:lnTo>
                  <a:pt x="2100" y="4932"/>
                </a:lnTo>
                <a:lnTo>
                  <a:pt x="2103" y="4943"/>
                </a:lnTo>
                <a:lnTo>
                  <a:pt x="2100" y="4954"/>
                </a:lnTo>
                <a:lnTo>
                  <a:pt x="2096" y="4965"/>
                </a:lnTo>
                <a:lnTo>
                  <a:pt x="2099" y="4971"/>
                </a:lnTo>
                <a:lnTo>
                  <a:pt x="2104" y="4979"/>
                </a:lnTo>
                <a:lnTo>
                  <a:pt x="2114" y="4994"/>
                </a:lnTo>
                <a:lnTo>
                  <a:pt x="2134" y="5025"/>
                </a:lnTo>
                <a:lnTo>
                  <a:pt x="2145" y="5040"/>
                </a:lnTo>
                <a:lnTo>
                  <a:pt x="2155" y="5055"/>
                </a:lnTo>
                <a:lnTo>
                  <a:pt x="2164" y="5067"/>
                </a:lnTo>
                <a:lnTo>
                  <a:pt x="2169" y="5073"/>
                </a:lnTo>
                <a:lnTo>
                  <a:pt x="2173" y="5076"/>
                </a:lnTo>
                <a:lnTo>
                  <a:pt x="2176" y="5079"/>
                </a:lnTo>
                <a:lnTo>
                  <a:pt x="2178" y="5081"/>
                </a:lnTo>
                <a:lnTo>
                  <a:pt x="2179" y="5084"/>
                </a:lnTo>
                <a:lnTo>
                  <a:pt x="2179" y="5090"/>
                </a:lnTo>
                <a:lnTo>
                  <a:pt x="2179" y="5093"/>
                </a:lnTo>
                <a:lnTo>
                  <a:pt x="2181" y="5096"/>
                </a:lnTo>
                <a:lnTo>
                  <a:pt x="2181" y="5097"/>
                </a:lnTo>
                <a:lnTo>
                  <a:pt x="2183" y="5099"/>
                </a:lnTo>
                <a:lnTo>
                  <a:pt x="2188" y="5103"/>
                </a:lnTo>
                <a:lnTo>
                  <a:pt x="2196" y="5104"/>
                </a:lnTo>
                <a:lnTo>
                  <a:pt x="2216" y="5110"/>
                </a:lnTo>
                <a:lnTo>
                  <a:pt x="2229" y="5114"/>
                </a:lnTo>
                <a:lnTo>
                  <a:pt x="2239" y="5116"/>
                </a:lnTo>
                <a:lnTo>
                  <a:pt x="2244" y="5117"/>
                </a:lnTo>
                <a:lnTo>
                  <a:pt x="2249" y="5118"/>
                </a:lnTo>
                <a:lnTo>
                  <a:pt x="2254" y="5120"/>
                </a:lnTo>
                <a:lnTo>
                  <a:pt x="2258" y="5123"/>
                </a:lnTo>
                <a:lnTo>
                  <a:pt x="2268" y="5132"/>
                </a:lnTo>
                <a:lnTo>
                  <a:pt x="2274" y="5138"/>
                </a:lnTo>
                <a:lnTo>
                  <a:pt x="2277" y="5141"/>
                </a:lnTo>
                <a:lnTo>
                  <a:pt x="2279" y="5142"/>
                </a:lnTo>
                <a:lnTo>
                  <a:pt x="2281" y="5142"/>
                </a:lnTo>
                <a:lnTo>
                  <a:pt x="2283" y="5140"/>
                </a:lnTo>
                <a:lnTo>
                  <a:pt x="2287" y="5134"/>
                </a:lnTo>
                <a:lnTo>
                  <a:pt x="2289" y="5128"/>
                </a:lnTo>
                <a:lnTo>
                  <a:pt x="2291" y="5125"/>
                </a:lnTo>
                <a:lnTo>
                  <a:pt x="2295" y="5122"/>
                </a:lnTo>
                <a:lnTo>
                  <a:pt x="2300" y="5115"/>
                </a:lnTo>
                <a:lnTo>
                  <a:pt x="2309" y="5103"/>
                </a:lnTo>
                <a:lnTo>
                  <a:pt x="2313" y="5097"/>
                </a:lnTo>
                <a:lnTo>
                  <a:pt x="2317" y="5092"/>
                </a:lnTo>
                <a:lnTo>
                  <a:pt x="2322" y="5089"/>
                </a:lnTo>
                <a:lnTo>
                  <a:pt x="2326" y="5088"/>
                </a:lnTo>
                <a:lnTo>
                  <a:pt x="2334" y="5089"/>
                </a:lnTo>
                <a:lnTo>
                  <a:pt x="2339" y="5090"/>
                </a:lnTo>
                <a:lnTo>
                  <a:pt x="2342" y="5092"/>
                </a:lnTo>
                <a:lnTo>
                  <a:pt x="2344" y="5093"/>
                </a:lnTo>
                <a:lnTo>
                  <a:pt x="2348" y="5094"/>
                </a:lnTo>
                <a:lnTo>
                  <a:pt x="2353" y="5094"/>
                </a:lnTo>
                <a:lnTo>
                  <a:pt x="2357" y="5094"/>
                </a:lnTo>
                <a:lnTo>
                  <a:pt x="2361" y="5093"/>
                </a:lnTo>
                <a:lnTo>
                  <a:pt x="2366" y="5090"/>
                </a:lnTo>
                <a:lnTo>
                  <a:pt x="2367" y="5089"/>
                </a:lnTo>
                <a:close/>
                <a:moveTo>
                  <a:pt x="7702" y="1402"/>
                </a:moveTo>
                <a:lnTo>
                  <a:pt x="7724" y="1392"/>
                </a:lnTo>
                <a:lnTo>
                  <a:pt x="7743" y="1399"/>
                </a:lnTo>
                <a:lnTo>
                  <a:pt x="7759" y="1385"/>
                </a:lnTo>
                <a:lnTo>
                  <a:pt x="7762" y="1384"/>
                </a:lnTo>
                <a:lnTo>
                  <a:pt x="7771" y="1382"/>
                </a:lnTo>
                <a:lnTo>
                  <a:pt x="7775" y="1381"/>
                </a:lnTo>
                <a:lnTo>
                  <a:pt x="7778" y="1379"/>
                </a:lnTo>
                <a:lnTo>
                  <a:pt x="7780" y="1376"/>
                </a:lnTo>
                <a:lnTo>
                  <a:pt x="7781" y="1374"/>
                </a:lnTo>
                <a:lnTo>
                  <a:pt x="7783" y="1368"/>
                </a:lnTo>
                <a:lnTo>
                  <a:pt x="7785" y="1361"/>
                </a:lnTo>
                <a:lnTo>
                  <a:pt x="7785" y="1358"/>
                </a:lnTo>
                <a:lnTo>
                  <a:pt x="7783" y="1353"/>
                </a:lnTo>
                <a:lnTo>
                  <a:pt x="7778" y="1351"/>
                </a:lnTo>
                <a:lnTo>
                  <a:pt x="7769" y="1349"/>
                </a:lnTo>
                <a:lnTo>
                  <a:pt x="7760" y="1348"/>
                </a:lnTo>
                <a:lnTo>
                  <a:pt x="7753" y="1345"/>
                </a:lnTo>
                <a:lnTo>
                  <a:pt x="7746" y="1342"/>
                </a:lnTo>
                <a:lnTo>
                  <a:pt x="7741" y="1340"/>
                </a:lnTo>
                <a:lnTo>
                  <a:pt x="7737" y="1338"/>
                </a:lnTo>
                <a:lnTo>
                  <a:pt x="7732" y="1338"/>
                </a:lnTo>
                <a:lnTo>
                  <a:pt x="7727" y="1341"/>
                </a:lnTo>
                <a:lnTo>
                  <a:pt x="7720" y="1346"/>
                </a:lnTo>
                <a:lnTo>
                  <a:pt x="7708" y="1358"/>
                </a:lnTo>
                <a:lnTo>
                  <a:pt x="7698" y="1365"/>
                </a:lnTo>
                <a:lnTo>
                  <a:pt x="7692" y="1369"/>
                </a:lnTo>
                <a:lnTo>
                  <a:pt x="7687" y="1373"/>
                </a:lnTo>
                <a:lnTo>
                  <a:pt x="7684" y="1376"/>
                </a:lnTo>
                <a:lnTo>
                  <a:pt x="7681" y="1380"/>
                </a:lnTo>
                <a:lnTo>
                  <a:pt x="7681" y="1384"/>
                </a:lnTo>
                <a:lnTo>
                  <a:pt x="7685" y="1388"/>
                </a:lnTo>
                <a:lnTo>
                  <a:pt x="7692" y="1395"/>
                </a:lnTo>
                <a:lnTo>
                  <a:pt x="7696" y="1399"/>
                </a:lnTo>
                <a:lnTo>
                  <a:pt x="7702" y="1402"/>
                </a:lnTo>
                <a:close/>
                <a:moveTo>
                  <a:pt x="6968" y="1025"/>
                </a:moveTo>
                <a:lnTo>
                  <a:pt x="7013" y="1101"/>
                </a:lnTo>
                <a:lnTo>
                  <a:pt x="7017" y="1104"/>
                </a:lnTo>
                <a:lnTo>
                  <a:pt x="7029" y="1111"/>
                </a:lnTo>
                <a:lnTo>
                  <a:pt x="7036" y="1114"/>
                </a:lnTo>
                <a:lnTo>
                  <a:pt x="7042" y="1118"/>
                </a:lnTo>
                <a:lnTo>
                  <a:pt x="7049" y="1119"/>
                </a:lnTo>
                <a:lnTo>
                  <a:pt x="7055" y="1118"/>
                </a:lnTo>
                <a:lnTo>
                  <a:pt x="7063" y="1114"/>
                </a:lnTo>
                <a:lnTo>
                  <a:pt x="7072" y="1112"/>
                </a:lnTo>
                <a:lnTo>
                  <a:pt x="7075" y="1110"/>
                </a:lnTo>
                <a:lnTo>
                  <a:pt x="7077" y="1108"/>
                </a:lnTo>
                <a:lnTo>
                  <a:pt x="7078" y="1105"/>
                </a:lnTo>
                <a:lnTo>
                  <a:pt x="7079" y="1101"/>
                </a:lnTo>
                <a:lnTo>
                  <a:pt x="7082" y="1091"/>
                </a:lnTo>
                <a:lnTo>
                  <a:pt x="7087" y="1082"/>
                </a:lnTo>
                <a:lnTo>
                  <a:pt x="7088" y="1080"/>
                </a:lnTo>
                <a:lnTo>
                  <a:pt x="7088" y="1079"/>
                </a:lnTo>
                <a:lnTo>
                  <a:pt x="7088" y="1077"/>
                </a:lnTo>
                <a:lnTo>
                  <a:pt x="7087" y="1075"/>
                </a:lnTo>
                <a:lnTo>
                  <a:pt x="7084" y="1072"/>
                </a:lnTo>
                <a:lnTo>
                  <a:pt x="7076" y="1068"/>
                </a:lnTo>
                <a:lnTo>
                  <a:pt x="7055" y="1061"/>
                </a:lnTo>
                <a:lnTo>
                  <a:pt x="7036" y="1053"/>
                </a:lnTo>
                <a:lnTo>
                  <a:pt x="7019" y="1046"/>
                </a:lnTo>
                <a:lnTo>
                  <a:pt x="7009" y="1044"/>
                </a:lnTo>
                <a:lnTo>
                  <a:pt x="7003" y="1043"/>
                </a:lnTo>
                <a:lnTo>
                  <a:pt x="6996" y="1040"/>
                </a:lnTo>
                <a:lnTo>
                  <a:pt x="6993" y="1038"/>
                </a:lnTo>
                <a:lnTo>
                  <a:pt x="6990" y="1035"/>
                </a:lnTo>
                <a:lnTo>
                  <a:pt x="6988" y="1033"/>
                </a:lnTo>
                <a:lnTo>
                  <a:pt x="6986" y="1029"/>
                </a:lnTo>
                <a:lnTo>
                  <a:pt x="6984" y="1025"/>
                </a:lnTo>
                <a:lnTo>
                  <a:pt x="6982" y="1024"/>
                </a:lnTo>
                <a:lnTo>
                  <a:pt x="6981" y="1023"/>
                </a:lnTo>
                <a:lnTo>
                  <a:pt x="6978" y="1023"/>
                </a:lnTo>
                <a:lnTo>
                  <a:pt x="6976" y="1024"/>
                </a:lnTo>
                <a:lnTo>
                  <a:pt x="6976" y="1025"/>
                </a:lnTo>
                <a:lnTo>
                  <a:pt x="6972" y="1025"/>
                </a:lnTo>
                <a:lnTo>
                  <a:pt x="6968" y="1025"/>
                </a:lnTo>
                <a:close/>
                <a:moveTo>
                  <a:pt x="6823" y="1091"/>
                </a:moveTo>
                <a:lnTo>
                  <a:pt x="6857" y="1098"/>
                </a:lnTo>
                <a:lnTo>
                  <a:pt x="6861" y="1094"/>
                </a:lnTo>
                <a:lnTo>
                  <a:pt x="6869" y="1085"/>
                </a:lnTo>
                <a:lnTo>
                  <a:pt x="6875" y="1082"/>
                </a:lnTo>
                <a:lnTo>
                  <a:pt x="6880" y="1079"/>
                </a:lnTo>
                <a:lnTo>
                  <a:pt x="6882" y="1078"/>
                </a:lnTo>
                <a:lnTo>
                  <a:pt x="6883" y="1078"/>
                </a:lnTo>
                <a:lnTo>
                  <a:pt x="6885" y="1079"/>
                </a:lnTo>
                <a:lnTo>
                  <a:pt x="6886" y="1080"/>
                </a:lnTo>
                <a:lnTo>
                  <a:pt x="6891" y="1087"/>
                </a:lnTo>
                <a:lnTo>
                  <a:pt x="6898" y="1094"/>
                </a:lnTo>
                <a:lnTo>
                  <a:pt x="6901" y="1097"/>
                </a:lnTo>
                <a:lnTo>
                  <a:pt x="6904" y="1099"/>
                </a:lnTo>
                <a:lnTo>
                  <a:pt x="6906" y="1100"/>
                </a:lnTo>
                <a:lnTo>
                  <a:pt x="6908" y="1099"/>
                </a:lnTo>
                <a:lnTo>
                  <a:pt x="6915" y="1095"/>
                </a:lnTo>
                <a:lnTo>
                  <a:pt x="6924" y="1085"/>
                </a:lnTo>
                <a:lnTo>
                  <a:pt x="6933" y="1075"/>
                </a:lnTo>
                <a:lnTo>
                  <a:pt x="6940" y="1065"/>
                </a:lnTo>
                <a:lnTo>
                  <a:pt x="6940" y="1060"/>
                </a:lnTo>
                <a:lnTo>
                  <a:pt x="6938" y="1053"/>
                </a:lnTo>
                <a:lnTo>
                  <a:pt x="6933" y="1043"/>
                </a:lnTo>
                <a:lnTo>
                  <a:pt x="6928" y="1034"/>
                </a:lnTo>
                <a:lnTo>
                  <a:pt x="6923" y="1025"/>
                </a:lnTo>
                <a:lnTo>
                  <a:pt x="6917" y="1017"/>
                </a:lnTo>
                <a:lnTo>
                  <a:pt x="6911" y="1012"/>
                </a:lnTo>
                <a:lnTo>
                  <a:pt x="6908" y="1009"/>
                </a:lnTo>
                <a:lnTo>
                  <a:pt x="6898" y="1001"/>
                </a:lnTo>
                <a:lnTo>
                  <a:pt x="6883" y="993"/>
                </a:lnTo>
                <a:lnTo>
                  <a:pt x="6876" y="990"/>
                </a:lnTo>
                <a:lnTo>
                  <a:pt x="6869" y="989"/>
                </a:lnTo>
                <a:lnTo>
                  <a:pt x="6867" y="989"/>
                </a:lnTo>
                <a:lnTo>
                  <a:pt x="6864" y="991"/>
                </a:lnTo>
                <a:lnTo>
                  <a:pt x="6863" y="993"/>
                </a:lnTo>
                <a:lnTo>
                  <a:pt x="6862" y="996"/>
                </a:lnTo>
                <a:lnTo>
                  <a:pt x="6858" y="1012"/>
                </a:lnTo>
                <a:lnTo>
                  <a:pt x="6854" y="1022"/>
                </a:lnTo>
                <a:lnTo>
                  <a:pt x="6852" y="1025"/>
                </a:lnTo>
                <a:lnTo>
                  <a:pt x="6850" y="1026"/>
                </a:lnTo>
                <a:lnTo>
                  <a:pt x="6846" y="1025"/>
                </a:lnTo>
                <a:lnTo>
                  <a:pt x="6844" y="1022"/>
                </a:lnTo>
                <a:lnTo>
                  <a:pt x="6840" y="1018"/>
                </a:lnTo>
                <a:lnTo>
                  <a:pt x="6834" y="1012"/>
                </a:lnTo>
                <a:lnTo>
                  <a:pt x="6826" y="1006"/>
                </a:lnTo>
                <a:lnTo>
                  <a:pt x="6818" y="1000"/>
                </a:lnTo>
                <a:lnTo>
                  <a:pt x="6810" y="996"/>
                </a:lnTo>
                <a:lnTo>
                  <a:pt x="6802" y="993"/>
                </a:lnTo>
                <a:lnTo>
                  <a:pt x="6799" y="992"/>
                </a:lnTo>
                <a:lnTo>
                  <a:pt x="6796" y="992"/>
                </a:lnTo>
                <a:lnTo>
                  <a:pt x="6794" y="992"/>
                </a:lnTo>
                <a:lnTo>
                  <a:pt x="6792" y="993"/>
                </a:lnTo>
                <a:lnTo>
                  <a:pt x="6784" y="1001"/>
                </a:lnTo>
                <a:lnTo>
                  <a:pt x="6775" y="1013"/>
                </a:lnTo>
                <a:lnTo>
                  <a:pt x="6771" y="1019"/>
                </a:lnTo>
                <a:lnTo>
                  <a:pt x="6769" y="1024"/>
                </a:lnTo>
                <a:lnTo>
                  <a:pt x="6767" y="1030"/>
                </a:lnTo>
                <a:lnTo>
                  <a:pt x="6767" y="1034"/>
                </a:lnTo>
                <a:lnTo>
                  <a:pt x="6769" y="1040"/>
                </a:lnTo>
                <a:lnTo>
                  <a:pt x="6772" y="1047"/>
                </a:lnTo>
                <a:lnTo>
                  <a:pt x="6775" y="1057"/>
                </a:lnTo>
                <a:lnTo>
                  <a:pt x="6778" y="1074"/>
                </a:lnTo>
                <a:lnTo>
                  <a:pt x="6780" y="1084"/>
                </a:lnTo>
                <a:lnTo>
                  <a:pt x="6784" y="1095"/>
                </a:lnTo>
                <a:lnTo>
                  <a:pt x="6787" y="1105"/>
                </a:lnTo>
                <a:lnTo>
                  <a:pt x="6791" y="1113"/>
                </a:lnTo>
                <a:lnTo>
                  <a:pt x="6795" y="1121"/>
                </a:lnTo>
                <a:lnTo>
                  <a:pt x="6799" y="1125"/>
                </a:lnTo>
                <a:lnTo>
                  <a:pt x="6801" y="1126"/>
                </a:lnTo>
                <a:lnTo>
                  <a:pt x="6802" y="1127"/>
                </a:lnTo>
                <a:lnTo>
                  <a:pt x="6804" y="1126"/>
                </a:lnTo>
                <a:lnTo>
                  <a:pt x="6806" y="1125"/>
                </a:lnTo>
                <a:lnTo>
                  <a:pt x="6815" y="1107"/>
                </a:lnTo>
                <a:lnTo>
                  <a:pt x="6818" y="1098"/>
                </a:lnTo>
                <a:lnTo>
                  <a:pt x="6823" y="1091"/>
                </a:lnTo>
                <a:close/>
                <a:moveTo>
                  <a:pt x="6844" y="1161"/>
                </a:moveTo>
                <a:lnTo>
                  <a:pt x="6845" y="1167"/>
                </a:lnTo>
                <a:lnTo>
                  <a:pt x="6846" y="1173"/>
                </a:lnTo>
                <a:lnTo>
                  <a:pt x="6848" y="1180"/>
                </a:lnTo>
                <a:lnTo>
                  <a:pt x="6851" y="1187"/>
                </a:lnTo>
                <a:lnTo>
                  <a:pt x="6854" y="1198"/>
                </a:lnTo>
                <a:lnTo>
                  <a:pt x="6854" y="1205"/>
                </a:lnTo>
                <a:lnTo>
                  <a:pt x="6847" y="1206"/>
                </a:lnTo>
                <a:lnTo>
                  <a:pt x="6839" y="1208"/>
                </a:lnTo>
                <a:lnTo>
                  <a:pt x="6836" y="1209"/>
                </a:lnTo>
                <a:lnTo>
                  <a:pt x="6835" y="1211"/>
                </a:lnTo>
                <a:lnTo>
                  <a:pt x="6837" y="1213"/>
                </a:lnTo>
                <a:lnTo>
                  <a:pt x="6843" y="1217"/>
                </a:lnTo>
                <a:lnTo>
                  <a:pt x="6852" y="1221"/>
                </a:lnTo>
                <a:lnTo>
                  <a:pt x="6858" y="1223"/>
                </a:lnTo>
                <a:lnTo>
                  <a:pt x="6864" y="1226"/>
                </a:lnTo>
                <a:lnTo>
                  <a:pt x="6869" y="1227"/>
                </a:lnTo>
                <a:lnTo>
                  <a:pt x="6879" y="1228"/>
                </a:lnTo>
                <a:lnTo>
                  <a:pt x="6888" y="1231"/>
                </a:lnTo>
                <a:lnTo>
                  <a:pt x="6894" y="1233"/>
                </a:lnTo>
                <a:lnTo>
                  <a:pt x="6900" y="1235"/>
                </a:lnTo>
                <a:lnTo>
                  <a:pt x="6906" y="1235"/>
                </a:lnTo>
                <a:lnTo>
                  <a:pt x="6912" y="1234"/>
                </a:lnTo>
                <a:lnTo>
                  <a:pt x="6918" y="1232"/>
                </a:lnTo>
                <a:lnTo>
                  <a:pt x="6921" y="1229"/>
                </a:lnTo>
                <a:lnTo>
                  <a:pt x="6922" y="1227"/>
                </a:lnTo>
                <a:lnTo>
                  <a:pt x="6923" y="1225"/>
                </a:lnTo>
                <a:lnTo>
                  <a:pt x="6923" y="1221"/>
                </a:lnTo>
                <a:lnTo>
                  <a:pt x="6922" y="1219"/>
                </a:lnTo>
                <a:lnTo>
                  <a:pt x="6919" y="1213"/>
                </a:lnTo>
                <a:lnTo>
                  <a:pt x="6916" y="1208"/>
                </a:lnTo>
                <a:lnTo>
                  <a:pt x="6911" y="1203"/>
                </a:lnTo>
                <a:lnTo>
                  <a:pt x="6906" y="1197"/>
                </a:lnTo>
                <a:lnTo>
                  <a:pt x="6897" y="1189"/>
                </a:lnTo>
                <a:lnTo>
                  <a:pt x="6885" y="1180"/>
                </a:lnTo>
                <a:lnTo>
                  <a:pt x="6879" y="1175"/>
                </a:lnTo>
                <a:lnTo>
                  <a:pt x="6875" y="1168"/>
                </a:lnTo>
                <a:lnTo>
                  <a:pt x="6871" y="1161"/>
                </a:lnTo>
                <a:lnTo>
                  <a:pt x="6867" y="1152"/>
                </a:lnTo>
                <a:lnTo>
                  <a:pt x="6863" y="1138"/>
                </a:lnTo>
                <a:lnTo>
                  <a:pt x="6860" y="1132"/>
                </a:lnTo>
                <a:lnTo>
                  <a:pt x="6857" y="1133"/>
                </a:lnTo>
                <a:lnTo>
                  <a:pt x="6854" y="1135"/>
                </a:lnTo>
                <a:lnTo>
                  <a:pt x="6850" y="1139"/>
                </a:lnTo>
                <a:lnTo>
                  <a:pt x="6847" y="1142"/>
                </a:lnTo>
                <a:lnTo>
                  <a:pt x="6845" y="1152"/>
                </a:lnTo>
                <a:lnTo>
                  <a:pt x="6844" y="1161"/>
                </a:lnTo>
                <a:close/>
                <a:moveTo>
                  <a:pt x="5969" y="723"/>
                </a:moveTo>
                <a:lnTo>
                  <a:pt x="5964" y="730"/>
                </a:lnTo>
                <a:lnTo>
                  <a:pt x="5956" y="738"/>
                </a:lnTo>
                <a:lnTo>
                  <a:pt x="5946" y="747"/>
                </a:lnTo>
                <a:lnTo>
                  <a:pt x="5937" y="757"/>
                </a:lnTo>
                <a:lnTo>
                  <a:pt x="5933" y="761"/>
                </a:lnTo>
                <a:lnTo>
                  <a:pt x="5930" y="767"/>
                </a:lnTo>
                <a:lnTo>
                  <a:pt x="5928" y="772"/>
                </a:lnTo>
                <a:lnTo>
                  <a:pt x="5925" y="778"/>
                </a:lnTo>
                <a:lnTo>
                  <a:pt x="5925" y="783"/>
                </a:lnTo>
                <a:lnTo>
                  <a:pt x="5926" y="790"/>
                </a:lnTo>
                <a:lnTo>
                  <a:pt x="5930" y="796"/>
                </a:lnTo>
                <a:lnTo>
                  <a:pt x="5935" y="802"/>
                </a:lnTo>
                <a:lnTo>
                  <a:pt x="5941" y="807"/>
                </a:lnTo>
                <a:lnTo>
                  <a:pt x="5947" y="811"/>
                </a:lnTo>
                <a:lnTo>
                  <a:pt x="5953" y="813"/>
                </a:lnTo>
                <a:lnTo>
                  <a:pt x="5958" y="814"/>
                </a:lnTo>
                <a:lnTo>
                  <a:pt x="5963" y="814"/>
                </a:lnTo>
                <a:lnTo>
                  <a:pt x="5968" y="812"/>
                </a:lnTo>
                <a:lnTo>
                  <a:pt x="5974" y="810"/>
                </a:lnTo>
                <a:lnTo>
                  <a:pt x="5978" y="807"/>
                </a:lnTo>
                <a:lnTo>
                  <a:pt x="5986" y="801"/>
                </a:lnTo>
                <a:lnTo>
                  <a:pt x="5994" y="795"/>
                </a:lnTo>
                <a:lnTo>
                  <a:pt x="5997" y="793"/>
                </a:lnTo>
                <a:lnTo>
                  <a:pt x="6000" y="791"/>
                </a:lnTo>
                <a:lnTo>
                  <a:pt x="6003" y="791"/>
                </a:lnTo>
                <a:lnTo>
                  <a:pt x="6005" y="791"/>
                </a:lnTo>
                <a:lnTo>
                  <a:pt x="6007" y="791"/>
                </a:lnTo>
                <a:lnTo>
                  <a:pt x="6010" y="791"/>
                </a:lnTo>
                <a:lnTo>
                  <a:pt x="6014" y="791"/>
                </a:lnTo>
                <a:lnTo>
                  <a:pt x="6019" y="789"/>
                </a:lnTo>
                <a:lnTo>
                  <a:pt x="6027" y="785"/>
                </a:lnTo>
                <a:lnTo>
                  <a:pt x="6038" y="779"/>
                </a:lnTo>
                <a:lnTo>
                  <a:pt x="6046" y="774"/>
                </a:lnTo>
                <a:lnTo>
                  <a:pt x="6054" y="768"/>
                </a:lnTo>
                <a:lnTo>
                  <a:pt x="6060" y="762"/>
                </a:lnTo>
                <a:lnTo>
                  <a:pt x="6063" y="758"/>
                </a:lnTo>
                <a:lnTo>
                  <a:pt x="6062" y="752"/>
                </a:lnTo>
                <a:lnTo>
                  <a:pt x="6058" y="741"/>
                </a:lnTo>
                <a:lnTo>
                  <a:pt x="6054" y="728"/>
                </a:lnTo>
                <a:lnTo>
                  <a:pt x="6048" y="714"/>
                </a:lnTo>
                <a:lnTo>
                  <a:pt x="6038" y="688"/>
                </a:lnTo>
                <a:lnTo>
                  <a:pt x="6032" y="677"/>
                </a:lnTo>
                <a:lnTo>
                  <a:pt x="6029" y="669"/>
                </a:lnTo>
                <a:lnTo>
                  <a:pt x="6022" y="653"/>
                </a:lnTo>
                <a:lnTo>
                  <a:pt x="6017" y="646"/>
                </a:lnTo>
                <a:lnTo>
                  <a:pt x="6011" y="642"/>
                </a:lnTo>
                <a:lnTo>
                  <a:pt x="6009" y="641"/>
                </a:lnTo>
                <a:lnTo>
                  <a:pt x="6006" y="642"/>
                </a:lnTo>
                <a:lnTo>
                  <a:pt x="6004" y="644"/>
                </a:lnTo>
                <a:lnTo>
                  <a:pt x="6002" y="647"/>
                </a:lnTo>
                <a:lnTo>
                  <a:pt x="5995" y="662"/>
                </a:lnTo>
                <a:lnTo>
                  <a:pt x="5987" y="672"/>
                </a:lnTo>
                <a:lnTo>
                  <a:pt x="5981" y="680"/>
                </a:lnTo>
                <a:lnTo>
                  <a:pt x="5976" y="684"/>
                </a:lnTo>
                <a:lnTo>
                  <a:pt x="5970" y="689"/>
                </a:lnTo>
                <a:lnTo>
                  <a:pt x="5967" y="693"/>
                </a:lnTo>
                <a:lnTo>
                  <a:pt x="5965" y="697"/>
                </a:lnTo>
                <a:lnTo>
                  <a:pt x="5964" y="701"/>
                </a:lnTo>
                <a:lnTo>
                  <a:pt x="5967" y="707"/>
                </a:lnTo>
                <a:lnTo>
                  <a:pt x="5972" y="712"/>
                </a:lnTo>
                <a:lnTo>
                  <a:pt x="5969" y="723"/>
                </a:lnTo>
                <a:close/>
                <a:moveTo>
                  <a:pt x="5802" y="468"/>
                </a:moveTo>
                <a:lnTo>
                  <a:pt x="5799" y="476"/>
                </a:lnTo>
                <a:lnTo>
                  <a:pt x="5793" y="485"/>
                </a:lnTo>
                <a:lnTo>
                  <a:pt x="5787" y="493"/>
                </a:lnTo>
                <a:lnTo>
                  <a:pt x="5782" y="501"/>
                </a:lnTo>
                <a:lnTo>
                  <a:pt x="5778" y="508"/>
                </a:lnTo>
                <a:lnTo>
                  <a:pt x="5775" y="515"/>
                </a:lnTo>
                <a:lnTo>
                  <a:pt x="5775" y="518"/>
                </a:lnTo>
                <a:lnTo>
                  <a:pt x="5775" y="521"/>
                </a:lnTo>
                <a:lnTo>
                  <a:pt x="5776" y="526"/>
                </a:lnTo>
                <a:lnTo>
                  <a:pt x="5777" y="530"/>
                </a:lnTo>
                <a:lnTo>
                  <a:pt x="5783" y="537"/>
                </a:lnTo>
                <a:lnTo>
                  <a:pt x="5789" y="545"/>
                </a:lnTo>
                <a:lnTo>
                  <a:pt x="5797" y="551"/>
                </a:lnTo>
                <a:lnTo>
                  <a:pt x="5803" y="556"/>
                </a:lnTo>
                <a:lnTo>
                  <a:pt x="5808" y="560"/>
                </a:lnTo>
                <a:lnTo>
                  <a:pt x="5812" y="563"/>
                </a:lnTo>
                <a:lnTo>
                  <a:pt x="5813" y="565"/>
                </a:lnTo>
                <a:lnTo>
                  <a:pt x="5813" y="567"/>
                </a:lnTo>
                <a:lnTo>
                  <a:pt x="5813" y="567"/>
                </a:lnTo>
                <a:lnTo>
                  <a:pt x="5811" y="567"/>
                </a:lnTo>
                <a:lnTo>
                  <a:pt x="5799" y="563"/>
                </a:lnTo>
                <a:lnTo>
                  <a:pt x="5781" y="557"/>
                </a:lnTo>
                <a:lnTo>
                  <a:pt x="5777" y="556"/>
                </a:lnTo>
                <a:lnTo>
                  <a:pt x="5772" y="556"/>
                </a:lnTo>
                <a:lnTo>
                  <a:pt x="5769" y="556"/>
                </a:lnTo>
                <a:lnTo>
                  <a:pt x="5766" y="557"/>
                </a:lnTo>
                <a:lnTo>
                  <a:pt x="5764" y="559"/>
                </a:lnTo>
                <a:lnTo>
                  <a:pt x="5762" y="562"/>
                </a:lnTo>
                <a:lnTo>
                  <a:pt x="5762" y="567"/>
                </a:lnTo>
                <a:lnTo>
                  <a:pt x="5763" y="572"/>
                </a:lnTo>
                <a:lnTo>
                  <a:pt x="5764" y="577"/>
                </a:lnTo>
                <a:lnTo>
                  <a:pt x="5766" y="582"/>
                </a:lnTo>
                <a:lnTo>
                  <a:pt x="5768" y="587"/>
                </a:lnTo>
                <a:lnTo>
                  <a:pt x="5771" y="592"/>
                </a:lnTo>
                <a:lnTo>
                  <a:pt x="5777" y="599"/>
                </a:lnTo>
                <a:lnTo>
                  <a:pt x="5783" y="604"/>
                </a:lnTo>
                <a:lnTo>
                  <a:pt x="5790" y="607"/>
                </a:lnTo>
                <a:lnTo>
                  <a:pt x="5796" y="608"/>
                </a:lnTo>
                <a:lnTo>
                  <a:pt x="5799" y="608"/>
                </a:lnTo>
                <a:lnTo>
                  <a:pt x="5801" y="607"/>
                </a:lnTo>
                <a:lnTo>
                  <a:pt x="5803" y="606"/>
                </a:lnTo>
                <a:lnTo>
                  <a:pt x="5804" y="605"/>
                </a:lnTo>
                <a:lnTo>
                  <a:pt x="5810" y="594"/>
                </a:lnTo>
                <a:lnTo>
                  <a:pt x="5818" y="582"/>
                </a:lnTo>
                <a:lnTo>
                  <a:pt x="5821" y="577"/>
                </a:lnTo>
                <a:lnTo>
                  <a:pt x="5824" y="574"/>
                </a:lnTo>
                <a:lnTo>
                  <a:pt x="5825" y="574"/>
                </a:lnTo>
                <a:lnTo>
                  <a:pt x="5826" y="573"/>
                </a:lnTo>
                <a:lnTo>
                  <a:pt x="5826" y="574"/>
                </a:lnTo>
                <a:lnTo>
                  <a:pt x="5827" y="575"/>
                </a:lnTo>
                <a:lnTo>
                  <a:pt x="5829" y="582"/>
                </a:lnTo>
                <a:lnTo>
                  <a:pt x="5831" y="591"/>
                </a:lnTo>
                <a:lnTo>
                  <a:pt x="5832" y="595"/>
                </a:lnTo>
                <a:lnTo>
                  <a:pt x="5831" y="599"/>
                </a:lnTo>
                <a:lnTo>
                  <a:pt x="5828" y="603"/>
                </a:lnTo>
                <a:lnTo>
                  <a:pt x="5824" y="608"/>
                </a:lnTo>
                <a:lnTo>
                  <a:pt x="5811" y="616"/>
                </a:lnTo>
                <a:lnTo>
                  <a:pt x="5803" y="621"/>
                </a:lnTo>
                <a:lnTo>
                  <a:pt x="5802" y="623"/>
                </a:lnTo>
                <a:lnTo>
                  <a:pt x="5801" y="624"/>
                </a:lnTo>
                <a:lnTo>
                  <a:pt x="5801" y="626"/>
                </a:lnTo>
                <a:lnTo>
                  <a:pt x="5802" y="627"/>
                </a:lnTo>
                <a:lnTo>
                  <a:pt x="5805" y="633"/>
                </a:lnTo>
                <a:lnTo>
                  <a:pt x="5813" y="638"/>
                </a:lnTo>
                <a:lnTo>
                  <a:pt x="5835" y="656"/>
                </a:lnTo>
                <a:lnTo>
                  <a:pt x="5860" y="678"/>
                </a:lnTo>
                <a:lnTo>
                  <a:pt x="5880" y="695"/>
                </a:lnTo>
                <a:lnTo>
                  <a:pt x="5889" y="703"/>
                </a:lnTo>
                <a:lnTo>
                  <a:pt x="5897" y="705"/>
                </a:lnTo>
                <a:lnTo>
                  <a:pt x="5916" y="708"/>
                </a:lnTo>
                <a:lnTo>
                  <a:pt x="5926" y="709"/>
                </a:lnTo>
                <a:lnTo>
                  <a:pt x="5936" y="710"/>
                </a:lnTo>
                <a:lnTo>
                  <a:pt x="5939" y="710"/>
                </a:lnTo>
                <a:lnTo>
                  <a:pt x="5942" y="709"/>
                </a:lnTo>
                <a:lnTo>
                  <a:pt x="5944" y="708"/>
                </a:lnTo>
                <a:lnTo>
                  <a:pt x="5945" y="707"/>
                </a:lnTo>
                <a:lnTo>
                  <a:pt x="5946" y="693"/>
                </a:lnTo>
                <a:lnTo>
                  <a:pt x="5945" y="670"/>
                </a:lnTo>
                <a:lnTo>
                  <a:pt x="5944" y="648"/>
                </a:lnTo>
                <a:lnTo>
                  <a:pt x="5943" y="639"/>
                </a:lnTo>
                <a:lnTo>
                  <a:pt x="5947" y="637"/>
                </a:lnTo>
                <a:lnTo>
                  <a:pt x="5957" y="629"/>
                </a:lnTo>
                <a:lnTo>
                  <a:pt x="5961" y="623"/>
                </a:lnTo>
                <a:lnTo>
                  <a:pt x="5963" y="617"/>
                </a:lnTo>
                <a:lnTo>
                  <a:pt x="5963" y="613"/>
                </a:lnTo>
                <a:lnTo>
                  <a:pt x="5963" y="609"/>
                </a:lnTo>
                <a:lnTo>
                  <a:pt x="5961" y="604"/>
                </a:lnTo>
                <a:lnTo>
                  <a:pt x="5959" y="600"/>
                </a:lnTo>
                <a:lnTo>
                  <a:pt x="5948" y="582"/>
                </a:lnTo>
                <a:lnTo>
                  <a:pt x="5940" y="570"/>
                </a:lnTo>
                <a:lnTo>
                  <a:pt x="5937" y="565"/>
                </a:lnTo>
                <a:lnTo>
                  <a:pt x="5933" y="562"/>
                </a:lnTo>
                <a:lnTo>
                  <a:pt x="5931" y="562"/>
                </a:lnTo>
                <a:lnTo>
                  <a:pt x="5930" y="562"/>
                </a:lnTo>
                <a:lnTo>
                  <a:pt x="5928" y="563"/>
                </a:lnTo>
                <a:lnTo>
                  <a:pt x="5925" y="564"/>
                </a:lnTo>
                <a:lnTo>
                  <a:pt x="5918" y="577"/>
                </a:lnTo>
                <a:lnTo>
                  <a:pt x="5909" y="594"/>
                </a:lnTo>
                <a:lnTo>
                  <a:pt x="5904" y="601"/>
                </a:lnTo>
                <a:lnTo>
                  <a:pt x="5901" y="605"/>
                </a:lnTo>
                <a:lnTo>
                  <a:pt x="5900" y="606"/>
                </a:lnTo>
                <a:lnTo>
                  <a:pt x="5900" y="606"/>
                </a:lnTo>
                <a:lnTo>
                  <a:pt x="5899" y="604"/>
                </a:lnTo>
                <a:lnTo>
                  <a:pt x="5900" y="602"/>
                </a:lnTo>
                <a:lnTo>
                  <a:pt x="5902" y="587"/>
                </a:lnTo>
                <a:lnTo>
                  <a:pt x="5907" y="574"/>
                </a:lnTo>
                <a:lnTo>
                  <a:pt x="5908" y="568"/>
                </a:lnTo>
                <a:lnTo>
                  <a:pt x="5909" y="562"/>
                </a:lnTo>
                <a:lnTo>
                  <a:pt x="5909" y="558"/>
                </a:lnTo>
                <a:lnTo>
                  <a:pt x="5907" y="555"/>
                </a:lnTo>
                <a:lnTo>
                  <a:pt x="5900" y="550"/>
                </a:lnTo>
                <a:lnTo>
                  <a:pt x="5894" y="546"/>
                </a:lnTo>
                <a:lnTo>
                  <a:pt x="5890" y="543"/>
                </a:lnTo>
                <a:lnTo>
                  <a:pt x="5886" y="543"/>
                </a:lnTo>
                <a:lnTo>
                  <a:pt x="5882" y="545"/>
                </a:lnTo>
                <a:lnTo>
                  <a:pt x="5878" y="548"/>
                </a:lnTo>
                <a:lnTo>
                  <a:pt x="5873" y="553"/>
                </a:lnTo>
                <a:lnTo>
                  <a:pt x="5867" y="557"/>
                </a:lnTo>
                <a:lnTo>
                  <a:pt x="5858" y="562"/>
                </a:lnTo>
                <a:lnTo>
                  <a:pt x="5851" y="567"/>
                </a:lnTo>
                <a:lnTo>
                  <a:pt x="5844" y="570"/>
                </a:lnTo>
                <a:lnTo>
                  <a:pt x="5837" y="572"/>
                </a:lnTo>
                <a:lnTo>
                  <a:pt x="5834" y="572"/>
                </a:lnTo>
                <a:lnTo>
                  <a:pt x="5832" y="572"/>
                </a:lnTo>
                <a:lnTo>
                  <a:pt x="5831" y="572"/>
                </a:lnTo>
                <a:lnTo>
                  <a:pt x="5831" y="571"/>
                </a:lnTo>
                <a:lnTo>
                  <a:pt x="5833" y="565"/>
                </a:lnTo>
                <a:lnTo>
                  <a:pt x="5838" y="558"/>
                </a:lnTo>
                <a:lnTo>
                  <a:pt x="5844" y="552"/>
                </a:lnTo>
                <a:lnTo>
                  <a:pt x="5848" y="548"/>
                </a:lnTo>
                <a:lnTo>
                  <a:pt x="5852" y="545"/>
                </a:lnTo>
                <a:lnTo>
                  <a:pt x="5859" y="538"/>
                </a:lnTo>
                <a:lnTo>
                  <a:pt x="5864" y="535"/>
                </a:lnTo>
                <a:lnTo>
                  <a:pt x="5868" y="533"/>
                </a:lnTo>
                <a:lnTo>
                  <a:pt x="5873" y="532"/>
                </a:lnTo>
                <a:lnTo>
                  <a:pt x="5878" y="533"/>
                </a:lnTo>
                <a:lnTo>
                  <a:pt x="5882" y="533"/>
                </a:lnTo>
                <a:lnTo>
                  <a:pt x="5887" y="534"/>
                </a:lnTo>
                <a:lnTo>
                  <a:pt x="5891" y="533"/>
                </a:lnTo>
                <a:lnTo>
                  <a:pt x="5894" y="533"/>
                </a:lnTo>
                <a:lnTo>
                  <a:pt x="5896" y="532"/>
                </a:lnTo>
                <a:lnTo>
                  <a:pt x="5897" y="530"/>
                </a:lnTo>
                <a:lnTo>
                  <a:pt x="5898" y="529"/>
                </a:lnTo>
                <a:lnTo>
                  <a:pt x="5898" y="527"/>
                </a:lnTo>
                <a:lnTo>
                  <a:pt x="5897" y="519"/>
                </a:lnTo>
                <a:lnTo>
                  <a:pt x="5898" y="507"/>
                </a:lnTo>
                <a:lnTo>
                  <a:pt x="5898" y="496"/>
                </a:lnTo>
                <a:lnTo>
                  <a:pt x="5898" y="491"/>
                </a:lnTo>
                <a:lnTo>
                  <a:pt x="5900" y="490"/>
                </a:lnTo>
                <a:lnTo>
                  <a:pt x="5906" y="486"/>
                </a:lnTo>
                <a:lnTo>
                  <a:pt x="5907" y="483"/>
                </a:lnTo>
                <a:lnTo>
                  <a:pt x="5908" y="480"/>
                </a:lnTo>
                <a:lnTo>
                  <a:pt x="5908" y="476"/>
                </a:lnTo>
                <a:lnTo>
                  <a:pt x="5906" y="473"/>
                </a:lnTo>
                <a:lnTo>
                  <a:pt x="5896" y="463"/>
                </a:lnTo>
                <a:lnTo>
                  <a:pt x="5886" y="447"/>
                </a:lnTo>
                <a:lnTo>
                  <a:pt x="5875" y="432"/>
                </a:lnTo>
                <a:lnTo>
                  <a:pt x="5870" y="423"/>
                </a:lnTo>
                <a:lnTo>
                  <a:pt x="5866" y="419"/>
                </a:lnTo>
                <a:lnTo>
                  <a:pt x="5860" y="416"/>
                </a:lnTo>
                <a:lnTo>
                  <a:pt x="5857" y="415"/>
                </a:lnTo>
                <a:lnTo>
                  <a:pt x="5855" y="415"/>
                </a:lnTo>
                <a:lnTo>
                  <a:pt x="5852" y="416"/>
                </a:lnTo>
                <a:lnTo>
                  <a:pt x="5849" y="417"/>
                </a:lnTo>
                <a:lnTo>
                  <a:pt x="5834" y="430"/>
                </a:lnTo>
                <a:lnTo>
                  <a:pt x="5824" y="439"/>
                </a:lnTo>
                <a:lnTo>
                  <a:pt x="5807" y="449"/>
                </a:lnTo>
                <a:lnTo>
                  <a:pt x="5802" y="468"/>
                </a:lnTo>
                <a:close/>
                <a:moveTo>
                  <a:pt x="5133" y="336"/>
                </a:moveTo>
                <a:lnTo>
                  <a:pt x="5135" y="340"/>
                </a:lnTo>
                <a:lnTo>
                  <a:pt x="5139" y="342"/>
                </a:lnTo>
                <a:lnTo>
                  <a:pt x="5142" y="343"/>
                </a:lnTo>
                <a:lnTo>
                  <a:pt x="5146" y="343"/>
                </a:lnTo>
                <a:lnTo>
                  <a:pt x="5151" y="342"/>
                </a:lnTo>
                <a:lnTo>
                  <a:pt x="5153" y="340"/>
                </a:lnTo>
                <a:lnTo>
                  <a:pt x="5153" y="337"/>
                </a:lnTo>
                <a:lnTo>
                  <a:pt x="5150" y="332"/>
                </a:lnTo>
                <a:lnTo>
                  <a:pt x="5147" y="327"/>
                </a:lnTo>
                <a:lnTo>
                  <a:pt x="5143" y="323"/>
                </a:lnTo>
                <a:lnTo>
                  <a:pt x="5139" y="320"/>
                </a:lnTo>
                <a:lnTo>
                  <a:pt x="5132" y="317"/>
                </a:lnTo>
                <a:lnTo>
                  <a:pt x="5130" y="316"/>
                </a:lnTo>
                <a:lnTo>
                  <a:pt x="5127" y="316"/>
                </a:lnTo>
                <a:lnTo>
                  <a:pt x="5125" y="316"/>
                </a:lnTo>
                <a:lnTo>
                  <a:pt x="5124" y="317"/>
                </a:lnTo>
                <a:lnTo>
                  <a:pt x="5123" y="321"/>
                </a:lnTo>
                <a:lnTo>
                  <a:pt x="5124" y="327"/>
                </a:lnTo>
                <a:lnTo>
                  <a:pt x="5125" y="331"/>
                </a:lnTo>
                <a:lnTo>
                  <a:pt x="5126" y="332"/>
                </a:lnTo>
                <a:lnTo>
                  <a:pt x="5133" y="336"/>
                </a:lnTo>
                <a:close/>
                <a:moveTo>
                  <a:pt x="5132" y="417"/>
                </a:moveTo>
                <a:lnTo>
                  <a:pt x="5131" y="423"/>
                </a:lnTo>
                <a:lnTo>
                  <a:pt x="5130" y="430"/>
                </a:lnTo>
                <a:lnTo>
                  <a:pt x="5131" y="435"/>
                </a:lnTo>
                <a:lnTo>
                  <a:pt x="5132" y="439"/>
                </a:lnTo>
                <a:lnTo>
                  <a:pt x="5135" y="445"/>
                </a:lnTo>
                <a:lnTo>
                  <a:pt x="5139" y="451"/>
                </a:lnTo>
                <a:lnTo>
                  <a:pt x="5146" y="462"/>
                </a:lnTo>
                <a:lnTo>
                  <a:pt x="5149" y="467"/>
                </a:lnTo>
                <a:lnTo>
                  <a:pt x="5151" y="466"/>
                </a:lnTo>
                <a:lnTo>
                  <a:pt x="5153" y="465"/>
                </a:lnTo>
                <a:lnTo>
                  <a:pt x="5156" y="461"/>
                </a:lnTo>
                <a:lnTo>
                  <a:pt x="5161" y="455"/>
                </a:lnTo>
                <a:lnTo>
                  <a:pt x="5166" y="449"/>
                </a:lnTo>
                <a:lnTo>
                  <a:pt x="5171" y="446"/>
                </a:lnTo>
                <a:lnTo>
                  <a:pt x="5176" y="444"/>
                </a:lnTo>
                <a:lnTo>
                  <a:pt x="5182" y="442"/>
                </a:lnTo>
                <a:lnTo>
                  <a:pt x="5186" y="441"/>
                </a:lnTo>
                <a:lnTo>
                  <a:pt x="5189" y="438"/>
                </a:lnTo>
                <a:lnTo>
                  <a:pt x="5190" y="437"/>
                </a:lnTo>
                <a:lnTo>
                  <a:pt x="5190" y="435"/>
                </a:lnTo>
                <a:lnTo>
                  <a:pt x="5190" y="431"/>
                </a:lnTo>
                <a:lnTo>
                  <a:pt x="5189" y="428"/>
                </a:lnTo>
                <a:lnTo>
                  <a:pt x="5185" y="411"/>
                </a:lnTo>
                <a:lnTo>
                  <a:pt x="5182" y="397"/>
                </a:lnTo>
                <a:lnTo>
                  <a:pt x="5178" y="384"/>
                </a:lnTo>
                <a:lnTo>
                  <a:pt x="5176" y="378"/>
                </a:lnTo>
                <a:lnTo>
                  <a:pt x="5171" y="378"/>
                </a:lnTo>
                <a:lnTo>
                  <a:pt x="5164" y="380"/>
                </a:lnTo>
                <a:lnTo>
                  <a:pt x="5157" y="383"/>
                </a:lnTo>
                <a:lnTo>
                  <a:pt x="5154" y="385"/>
                </a:lnTo>
                <a:lnTo>
                  <a:pt x="5151" y="387"/>
                </a:lnTo>
                <a:lnTo>
                  <a:pt x="5147" y="390"/>
                </a:lnTo>
                <a:lnTo>
                  <a:pt x="5141" y="401"/>
                </a:lnTo>
                <a:lnTo>
                  <a:pt x="5134" y="408"/>
                </a:lnTo>
                <a:lnTo>
                  <a:pt x="5132" y="417"/>
                </a:lnTo>
                <a:close/>
                <a:moveTo>
                  <a:pt x="4895" y="531"/>
                </a:moveTo>
                <a:lnTo>
                  <a:pt x="4897" y="535"/>
                </a:lnTo>
                <a:lnTo>
                  <a:pt x="4899" y="540"/>
                </a:lnTo>
                <a:lnTo>
                  <a:pt x="4902" y="545"/>
                </a:lnTo>
                <a:lnTo>
                  <a:pt x="4906" y="548"/>
                </a:lnTo>
                <a:lnTo>
                  <a:pt x="4908" y="550"/>
                </a:lnTo>
                <a:lnTo>
                  <a:pt x="4910" y="550"/>
                </a:lnTo>
                <a:lnTo>
                  <a:pt x="4913" y="551"/>
                </a:lnTo>
                <a:lnTo>
                  <a:pt x="4916" y="550"/>
                </a:lnTo>
                <a:lnTo>
                  <a:pt x="4920" y="549"/>
                </a:lnTo>
                <a:lnTo>
                  <a:pt x="4923" y="548"/>
                </a:lnTo>
                <a:lnTo>
                  <a:pt x="4927" y="546"/>
                </a:lnTo>
                <a:lnTo>
                  <a:pt x="4931" y="541"/>
                </a:lnTo>
                <a:lnTo>
                  <a:pt x="4937" y="535"/>
                </a:lnTo>
                <a:lnTo>
                  <a:pt x="4944" y="531"/>
                </a:lnTo>
                <a:lnTo>
                  <a:pt x="4949" y="528"/>
                </a:lnTo>
                <a:lnTo>
                  <a:pt x="4953" y="526"/>
                </a:lnTo>
                <a:lnTo>
                  <a:pt x="4957" y="526"/>
                </a:lnTo>
                <a:lnTo>
                  <a:pt x="4960" y="528"/>
                </a:lnTo>
                <a:lnTo>
                  <a:pt x="4965" y="530"/>
                </a:lnTo>
                <a:lnTo>
                  <a:pt x="4968" y="534"/>
                </a:lnTo>
                <a:lnTo>
                  <a:pt x="4976" y="543"/>
                </a:lnTo>
                <a:lnTo>
                  <a:pt x="4982" y="552"/>
                </a:lnTo>
                <a:lnTo>
                  <a:pt x="4987" y="556"/>
                </a:lnTo>
                <a:lnTo>
                  <a:pt x="4990" y="558"/>
                </a:lnTo>
                <a:lnTo>
                  <a:pt x="4994" y="560"/>
                </a:lnTo>
                <a:lnTo>
                  <a:pt x="4998" y="560"/>
                </a:lnTo>
                <a:lnTo>
                  <a:pt x="5003" y="558"/>
                </a:lnTo>
                <a:lnTo>
                  <a:pt x="5012" y="552"/>
                </a:lnTo>
                <a:lnTo>
                  <a:pt x="5021" y="545"/>
                </a:lnTo>
                <a:lnTo>
                  <a:pt x="5032" y="536"/>
                </a:lnTo>
                <a:lnTo>
                  <a:pt x="5041" y="529"/>
                </a:lnTo>
                <a:lnTo>
                  <a:pt x="5050" y="524"/>
                </a:lnTo>
                <a:lnTo>
                  <a:pt x="5053" y="521"/>
                </a:lnTo>
                <a:lnTo>
                  <a:pt x="5055" y="520"/>
                </a:lnTo>
                <a:lnTo>
                  <a:pt x="5057" y="520"/>
                </a:lnTo>
                <a:lnTo>
                  <a:pt x="5058" y="520"/>
                </a:lnTo>
                <a:lnTo>
                  <a:pt x="5056" y="532"/>
                </a:lnTo>
                <a:lnTo>
                  <a:pt x="5053" y="548"/>
                </a:lnTo>
                <a:lnTo>
                  <a:pt x="5050" y="556"/>
                </a:lnTo>
                <a:lnTo>
                  <a:pt x="5046" y="563"/>
                </a:lnTo>
                <a:lnTo>
                  <a:pt x="5043" y="569"/>
                </a:lnTo>
                <a:lnTo>
                  <a:pt x="5041" y="572"/>
                </a:lnTo>
                <a:lnTo>
                  <a:pt x="5033" y="575"/>
                </a:lnTo>
                <a:lnTo>
                  <a:pt x="5025" y="578"/>
                </a:lnTo>
                <a:lnTo>
                  <a:pt x="5022" y="579"/>
                </a:lnTo>
                <a:lnTo>
                  <a:pt x="5022" y="581"/>
                </a:lnTo>
                <a:lnTo>
                  <a:pt x="5024" y="583"/>
                </a:lnTo>
                <a:lnTo>
                  <a:pt x="5029" y="586"/>
                </a:lnTo>
                <a:lnTo>
                  <a:pt x="5033" y="587"/>
                </a:lnTo>
                <a:lnTo>
                  <a:pt x="5036" y="589"/>
                </a:lnTo>
                <a:lnTo>
                  <a:pt x="5040" y="587"/>
                </a:lnTo>
                <a:lnTo>
                  <a:pt x="5044" y="587"/>
                </a:lnTo>
                <a:lnTo>
                  <a:pt x="5052" y="583"/>
                </a:lnTo>
                <a:lnTo>
                  <a:pt x="5060" y="577"/>
                </a:lnTo>
                <a:lnTo>
                  <a:pt x="5066" y="571"/>
                </a:lnTo>
                <a:lnTo>
                  <a:pt x="5070" y="562"/>
                </a:lnTo>
                <a:lnTo>
                  <a:pt x="5072" y="559"/>
                </a:lnTo>
                <a:lnTo>
                  <a:pt x="5073" y="555"/>
                </a:lnTo>
                <a:lnTo>
                  <a:pt x="5073" y="551"/>
                </a:lnTo>
                <a:lnTo>
                  <a:pt x="5072" y="548"/>
                </a:lnTo>
                <a:lnTo>
                  <a:pt x="5067" y="536"/>
                </a:lnTo>
                <a:lnTo>
                  <a:pt x="5064" y="530"/>
                </a:lnTo>
                <a:lnTo>
                  <a:pt x="5064" y="528"/>
                </a:lnTo>
                <a:lnTo>
                  <a:pt x="5064" y="527"/>
                </a:lnTo>
                <a:lnTo>
                  <a:pt x="5065" y="525"/>
                </a:lnTo>
                <a:lnTo>
                  <a:pt x="5066" y="524"/>
                </a:lnTo>
                <a:lnTo>
                  <a:pt x="5074" y="520"/>
                </a:lnTo>
                <a:lnTo>
                  <a:pt x="5082" y="516"/>
                </a:lnTo>
                <a:lnTo>
                  <a:pt x="5091" y="513"/>
                </a:lnTo>
                <a:lnTo>
                  <a:pt x="5098" y="513"/>
                </a:lnTo>
                <a:lnTo>
                  <a:pt x="5100" y="511"/>
                </a:lnTo>
                <a:lnTo>
                  <a:pt x="5103" y="506"/>
                </a:lnTo>
                <a:lnTo>
                  <a:pt x="5107" y="498"/>
                </a:lnTo>
                <a:lnTo>
                  <a:pt x="5110" y="489"/>
                </a:lnTo>
                <a:lnTo>
                  <a:pt x="5117" y="473"/>
                </a:lnTo>
                <a:lnTo>
                  <a:pt x="5119" y="465"/>
                </a:lnTo>
                <a:lnTo>
                  <a:pt x="5118" y="457"/>
                </a:lnTo>
                <a:lnTo>
                  <a:pt x="5113" y="438"/>
                </a:lnTo>
                <a:lnTo>
                  <a:pt x="5111" y="433"/>
                </a:lnTo>
                <a:lnTo>
                  <a:pt x="5109" y="429"/>
                </a:lnTo>
                <a:lnTo>
                  <a:pt x="5107" y="426"/>
                </a:lnTo>
                <a:lnTo>
                  <a:pt x="5105" y="424"/>
                </a:lnTo>
                <a:lnTo>
                  <a:pt x="5103" y="422"/>
                </a:lnTo>
                <a:lnTo>
                  <a:pt x="5100" y="422"/>
                </a:lnTo>
                <a:lnTo>
                  <a:pt x="5097" y="423"/>
                </a:lnTo>
                <a:lnTo>
                  <a:pt x="5092" y="426"/>
                </a:lnTo>
                <a:lnTo>
                  <a:pt x="5086" y="436"/>
                </a:lnTo>
                <a:lnTo>
                  <a:pt x="5080" y="445"/>
                </a:lnTo>
                <a:lnTo>
                  <a:pt x="5075" y="457"/>
                </a:lnTo>
                <a:lnTo>
                  <a:pt x="5069" y="467"/>
                </a:lnTo>
                <a:lnTo>
                  <a:pt x="5065" y="476"/>
                </a:lnTo>
                <a:lnTo>
                  <a:pt x="5061" y="484"/>
                </a:lnTo>
                <a:lnTo>
                  <a:pt x="5059" y="486"/>
                </a:lnTo>
                <a:lnTo>
                  <a:pt x="5057" y="487"/>
                </a:lnTo>
                <a:lnTo>
                  <a:pt x="5056" y="488"/>
                </a:lnTo>
                <a:lnTo>
                  <a:pt x="5054" y="487"/>
                </a:lnTo>
                <a:lnTo>
                  <a:pt x="5050" y="486"/>
                </a:lnTo>
                <a:lnTo>
                  <a:pt x="5044" y="485"/>
                </a:lnTo>
                <a:lnTo>
                  <a:pt x="5038" y="485"/>
                </a:lnTo>
                <a:lnTo>
                  <a:pt x="5032" y="485"/>
                </a:lnTo>
                <a:lnTo>
                  <a:pt x="5026" y="484"/>
                </a:lnTo>
                <a:lnTo>
                  <a:pt x="5022" y="482"/>
                </a:lnTo>
                <a:lnTo>
                  <a:pt x="5021" y="481"/>
                </a:lnTo>
                <a:lnTo>
                  <a:pt x="5021" y="479"/>
                </a:lnTo>
                <a:lnTo>
                  <a:pt x="5021" y="476"/>
                </a:lnTo>
                <a:lnTo>
                  <a:pt x="5021" y="474"/>
                </a:lnTo>
                <a:lnTo>
                  <a:pt x="5028" y="461"/>
                </a:lnTo>
                <a:lnTo>
                  <a:pt x="5033" y="446"/>
                </a:lnTo>
                <a:lnTo>
                  <a:pt x="5035" y="440"/>
                </a:lnTo>
                <a:lnTo>
                  <a:pt x="5036" y="433"/>
                </a:lnTo>
                <a:lnTo>
                  <a:pt x="5036" y="428"/>
                </a:lnTo>
                <a:lnTo>
                  <a:pt x="5035" y="425"/>
                </a:lnTo>
                <a:lnTo>
                  <a:pt x="5030" y="417"/>
                </a:lnTo>
                <a:lnTo>
                  <a:pt x="5025" y="408"/>
                </a:lnTo>
                <a:lnTo>
                  <a:pt x="5023" y="404"/>
                </a:lnTo>
                <a:lnTo>
                  <a:pt x="5023" y="401"/>
                </a:lnTo>
                <a:lnTo>
                  <a:pt x="5024" y="398"/>
                </a:lnTo>
                <a:lnTo>
                  <a:pt x="5028" y="396"/>
                </a:lnTo>
                <a:lnTo>
                  <a:pt x="5037" y="393"/>
                </a:lnTo>
                <a:lnTo>
                  <a:pt x="5047" y="386"/>
                </a:lnTo>
                <a:lnTo>
                  <a:pt x="5052" y="383"/>
                </a:lnTo>
                <a:lnTo>
                  <a:pt x="5054" y="380"/>
                </a:lnTo>
                <a:lnTo>
                  <a:pt x="5054" y="379"/>
                </a:lnTo>
                <a:lnTo>
                  <a:pt x="5053" y="377"/>
                </a:lnTo>
                <a:lnTo>
                  <a:pt x="5052" y="376"/>
                </a:lnTo>
                <a:lnTo>
                  <a:pt x="5050" y="375"/>
                </a:lnTo>
                <a:lnTo>
                  <a:pt x="5039" y="372"/>
                </a:lnTo>
                <a:lnTo>
                  <a:pt x="5028" y="371"/>
                </a:lnTo>
                <a:lnTo>
                  <a:pt x="5023" y="370"/>
                </a:lnTo>
                <a:lnTo>
                  <a:pt x="5021" y="368"/>
                </a:lnTo>
                <a:lnTo>
                  <a:pt x="5021" y="366"/>
                </a:lnTo>
                <a:lnTo>
                  <a:pt x="5024" y="363"/>
                </a:lnTo>
                <a:lnTo>
                  <a:pt x="5034" y="357"/>
                </a:lnTo>
                <a:lnTo>
                  <a:pt x="5043" y="352"/>
                </a:lnTo>
                <a:lnTo>
                  <a:pt x="5047" y="349"/>
                </a:lnTo>
                <a:lnTo>
                  <a:pt x="5051" y="346"/>
                </a:lnTo>
                <a:lnTo>
                  <a:pt x="5053" y="343"/>
                </a:lnTo>
                <a:lnTo>
                  <a:pt x="5053" y="341"/>
                </a:lnTo>
                <a:lnTo>
                  <a:pt x="5052" y="333"/>
                </a:lnTo>
                <a:lnTo>
                  <a:pt x="5050" y="321"/>
                </a:lnTo>
                <a:lnTo>
                  <a:pt x="5048" y="316"/>
                </a:lnTo>
                <a:lnTo>
                  <a:pt x="5046" y="313"/>
                </a:lnTo>
                <a:lnTo>
                  <a:pt x="5045" y="312"/>
                </a:lnTo>
                <a:lnTo>
                  <a:pt x="5043" y="312"/>
                </a:lnTo>
                <a:lnTo>
                  <a:pt x="5041" y="312"/>
                </a:lnTo>
                <a:lnTo>
                  <a:pt x="5039" y="314"/>
                </a:lnTo>
                <a:lnTo>
                  <a:pt x="5034" y="318"/>
                </a:lnTo>
                <a:lnTo>
                  <a:pt x="5030" y="324"/>
                </a:lnTo>
                <a:lnTo>
                  <a:pt x="5025" y="331"/>
                </a:lnTo>
                <a:lnTo>
                  <a:pt x="5021" y="338"/>
                </a:lnTo>
                <a:lnTo>
                  <a:pt x="5013" y="352"/>
                </a:lnTo>
                <a:lnTo>
                  <a:pt x="5004" y="362"/>
                </a:lnTo>
                <a:lnTo>
                  <a:pt x="4995" y="370"/>
                </a:lnTo>
                <a:lnTo>
                  <a:pt x="4986" y="379"/>
                </a:lnTo>
                <a:lnTo>
                  <a:pt x="4981" y="384"/>
                </a:lnTo>
                <a:lnTo>
                  <a:pt x="4979" y="389"/>
                </a:lnTo>
                <a:lnTo>
                  <a:pt x="4978" y="395"/>
                </a:lnTo>
                <a:lnTo>
                  <a:pt x="4979" y="401"/>
                </a:lnTo>
                <a:lnTo>
                  <a:pt x="4980" y="404"/>
                </a:lnTo>
                <a:lnTo>
                  <a:pt x="4982" y="407"/>
                </a:lnTo>
                <a:lnTo>
                  <a:pt x="4986" y="409"/>
                </a:lnTo>
                <a:lnTo>
                  <a:pt x="4988" y="410"/>
                </a:lnTo>
                <a:lnTo>
                  <a:pt x="4995" y="414"/>
                </a:lnTo>
                <a:lnTo>
                  <a:pt x="5001" y="416"/>
                </a:lnTo>
                <a:lnTo>
                  <a:pt x="5008" y="417"/>
                </a:lnTo>
                <a:lnTo>
                  <a:pt x="5011" y="419"/>
                </a:lnTo>
                <a:lnTo>
                  <a:pt x="5011" y="420"/>
                </a:lnTo>
                <a:lnTo>
                  <a:pt x="5011" y="421"/>
                </a:lnTo>
                <a:lnTo>
                  <a:pt x="5010" y="423"/>
                </a:lnTo>
                <a:lnTo>
                  <a:pt x="5007" y="425"/>
                </a:lnTo>
                <a:lnTo>
                  <a:pt x="5000" y="429"/>
                </a:lnTo>
                <a:lnTo>
                  <a:pt x="4994" y="432"/>
                </a:lnTo>
                <a:lnTo>
                  <a:pt x="4989" y="435"/>
                </a:lnTo>
                <a:lnTo>
                  <a:pt x="4984" y="436"/>
                </a:lnTo>
                <a:lnTo>
                  <a:pt x="4979" y="437"/>
                </a:lnTo>
                <a:lnTo>
                  <a:pt x="4975" y="437"/>
                </a:lnTo>
                <a:lnTo>
                  <a:pt x="4972" y="435"/>
                </a:lnTo>
                <a:lnTo>
                  <a:pt x="4971" y="432"/>
                </a:lnTo>
                <a:lnTo>
                  <a:pt x="4968" y="418"/>
                </a:lnTo>
                <a:lnTo>
                  <a:pt x="4963" y="398"/>
                </a:lnTo>
                <a:lnTo>
                  <a:pt x="4961" y="394"/>
                </a:lnTo>
                <a:lnTo>
                  <a:pt x="4959" y="390"/>
                </a:lnTo>
                <a:lnTo>
                  <a:pt x="4957" y="387"/>
                </a:lnTo>
                <a:lnTo>
                  <a:pt x="4955" y="385"/>
                </a:lnTo>
                <a:lnTo>
                  <a:pt x="4953" y="384"/>
                </a:lnTo>
                <a:lnTo>
                  <a:pt x="4951" y="384"/>
                </a:lnTo>
                <a:lnTo>
                  <a:pt x="4948" y="387"/>
                </a:lnTo>
                <a:lnTo>
                  <a:pt x="4945" y="390"/>
                </a:lnTo>
                <a:lnTo>
                  <a:pt x="4939" y="400"/>
                </a:lnTo>
                <a:lnTo>
                  <a:pt x="4935" y="407"/>
                </a:lnTo>
                <a:lnTo>
                  <a:pt x="4934" y="415"/>
                </a:lnTo>
                <a:lnTo>
                  <a:pt x="4934" y="420"/>
                </a:lnTo>
                <a:lnTo>
                  <a:pt x="4934" y="425"/>
                </a:lnTo>
                <a:lnTo>
                  <a:pt x="4936" y="429"/>
                </a:lnTo>
                <a:lnTo>
                  <a:pt x="4938" y="433"/>
                </a:lnTo>
                <a:lnTo>
                  <a:pt x="4941" y="438"/>
                </a:lnTo>
                <a:lnTo>
                  <a:pt x="4943" y="440"/>
                </a:lnTo>
                <a:lnTo>
                  <a:pt x="4945" y="441"/>
                </a:lnTo>
                <a:lnTo>
                  <a:pt x="4947" y="441"/>
                </a:lnTo>
                <a:lnTo>
                  <a:pt x="4949" y="442"/>
                </a:lnTo>
                <a:lnTo>
                  <a:pt x="4954" y="442"/>
                </a:lnTo>
                <a:lnTo>
                  <a:pt x="4959" y="441"/>
                </a:lnTo>
                <a:lnTo>
                  <a:pt x="4964" y="441"/>
                </a:lnTo>
                <a:lnTo>
                  <a:pt x="4966" y="441"/>
                </a:lnTo>
                <a:lnTo>
                  <a:pt x="4965" y="443"/>
                </a:lnTo>
                <a:lnTo>
                  <a:pt x="4960" y="446"/>
                </a:lnTo>
                <a:lnTo>
                  <a:pt x="4949" y="452"/>
                </a:lnTo>
                <a:lnTo>
                  <a:pt x="4944" y="455"/>
                </a:lnTo>
                <a:lnTo>
                  <a:pt x="4944" y="457"/>
                </a:lnTo>
                <a:lnTo>
                  <a:pt x="4944" y="458"/>
                </a:lnTo>
                <a:lnTo>
                  <a:pt x="4945" y="460"/>
                </a:lnTo>
                <a:lnTo>
                  <a:pt x="4948" y="463"/>
                </a:lnTo>
                <a:lnTo>
                  <a:pt x="4955" y="470"/>
                </a:lnTo>
                <a:lnTo>
                  <a:pt x="4966" y="476"/>
                </a:lnTo>
                <a:lnTo>
                  <a:pt x="4970" y="480"/>
                </a:lnTo>
                <a:lnTo>
                  <a:pt x="4974" y="482"/>
                </a:lnTo>
                <a:lnTo>
                  <a:pt x="4976" y="484"/>
                </a:lnTo>
                <a:lnTo>
                  <a:pt x="4976" y="486"/>
                </a:lnTo>
                <a:lnTo>
                  <a:pt x="4974" y="491"/>
                </a:lnTo>
                <a:lnTo>
                  <a:pt x="4973" y="497"/>
                </a:lnTo>
                <a:lnTo>
                  <a:pt x="4971" y="499"/>
                </a:lnTo>
                <a:lnTo>
                  <a:pt x="4969" y="501"/>
                </a:lnTo>
                <a:lnTo>
                  <a:pt x="4965" y="499"/>
                </a:lnTo>
                <a:lnTo>
                  <a:pt x="4958" y="496"/>
                </a:lnTo>
                <a:lnTo>
                  <a:pt x="4951" y="492"/>
                </a:lnTo>
                <a:lnTo>
                  <a:pt x="4944" y="489"/>
                </a:lnTo>
                <a:lnTo>
                  <a:pt x="4937" y="489"/>
                </a:lnTo>
                <a:lnTo>
                  <a:pt x="4930" y="489"/>
                </a:lnTo>
                <a:lnTo>
                  <a:pt x="4925" y="490"/>
                </a:lnTo>
                <a:lnTo>
                  <a:pt x="4920" y="492"/>
                </a:lnTo>
                <a:lnTo>
                  <a:pt x="4916" y="495"/>
                </a:lnTo>
                <a:lnTo>
                  <a:pt x="4914" y="497"/>
                </a:lnTo>
                <a:lnTo>
                  <a:pt x="4914" y="507"/>
                </a:lnTo>
                <a:lnTo>
                  <a:pt x="4913" y="512"/>
                </a:lnTo>
                <a:lnTo>
                  <a:pt x="4907" y="515"/>
                </a:lnTo>
                <a:lnTo>
                  <a:pt x="4902" y="516"/>
                </a:lnTo>
                <a:lnTo>
                  <a:pt x="4898" y="520"/>
                </a:lnTo>
                <a:lnTo>
                  <a:pt x="4894" y="524"/>
                </a:lnTo>
                <a:lnTo>
                  <a:pt x="4895" y="528"/>
                </a:lnTo>
                <a:lnTo>
                  <a:pt x="4895" y="531"/>
                </a:lnTo>
                <a:close/>
                <a:moveTo>
                  <a:pt x="4725" y="487"/>
                </a:moveTo>
                <a:lnTo>
                  <a:pt x="4727" y="490"/>
                </a:lnTo>
                <a:lnTo>
                  <a:pt x="4730" y="492"/>
                </a:lnTo>
                <a:lnTo>
                  <a:pt x="4734" y="494"/>
                </a:lnTo>
                <a:lnTo>
                  <a:pt x="4739" y="495"/>
                </a:lnTo>
                <a:lnTo>
                  <a:pt x="4750" y="497"/>
                </a:lnTo>
                <a:lnTo>
                  <a:pt x="4761" y="498"/>
                </a:lnTo>
                <a:lnTo>
                  <a:pt x="4772" y="499"/>
                </a:lnTo>
                <a:lnTo>
                  <a:pt x="4780" y="499"/>
                </a:lnTo>
                <a:lnTo>
                  <a:pt x="4784" y="501"/>
                </a:lnTo>
                <a:lnTo>
                  <a:pt x="4787" y="502"/>
                </a:lnTo>
                <a:lnTo>
                  <a:pt x="4788" y="503"/>
                </a:lnTo>
                <a:lnTo>
                  <a:pt x="4788" y="505"/>
                </a:lnTo>
                <a:lnTo>
                  <a:pt x="4783" y="514"/>
                </a:lnTo>
                <a:lnTo>
                  <a:pt x="4780" y="524"/>
                </a:lnTo>
                <a:lnTo>
                  <a:pt x="4779" y="529"/>
                </a:lnTo>
                <a:lnTo>
                  <a:pt x="4778" y="534"/>
                </a:lnTo>
                <a:lnTo>
                  <a:pt x="4779" y="538"/>
                </a:lnTo>
                <a:lnTo>
                  <a:pt x="4780" y="541"/>
                </a:lnTo>
                <a:lnTo>
                  <a:pt x="4789" y="550"/>
                </a:lnTo>
                <a:lnTo>
                  <a:pt x="4801" y="561"/>
                </a:lnTo>
                <a:lnTo>
                  <a:pt x="4815" y="572"/>
                </a:lnTo>
                <a:lnTo>
                  <a:pt x="4824" y="579"/>
                </a:lnTo>
                <a:lnTo>
                  <a:pt x="4826" y="580"/>
                </a:lnTo>
                <a:lnTo>
                  <a:pt x="4828" y="580"/>
                </a:lnTo>
                <a:lnTo>
                  <a:pt x="4832" y="579"/>
                </a:lnTo>
                <a:lnTo>
                  <a:pt x="4836" y="577"/>
                </a:lnTo>
                <a:lnTo>
                  <a:pt x="4843" y="574"/>
                </a:lnTo>
                <a:lnTo>
                  <a:pt x="4851" y="569"/>
                </a:lnTo>
                <a:lnTo>
                  <a:pt x="4865" y="558"/>
                </a:lnTo>
                <a:lnTo>
                  <a:pt x="4871" y="553"/>
                </a:lnTo>
                <a:lnTo>
                  <a:pt x="4863" y="552"/>
                </a:lnTo>
                <a:lnTo>
                  <a:pt x="4844" y="548"/>
                </a:lnTo>
                <a:lnTo>
                  <a:pt x="4835" y="545"/>
                </a:lnTo>
                <a:lnTo>
                  <a:pt x="4828" y="541"/>
                </a:lnTo>
                <a:lnTo>
                  <a:pt x="4826" y="539"/>
                </a:lnTo>
                <a:lnTo>
                  <a:pt x="4825" y="538"/>
                </a:lnTo>
                <a:lnTo>
                  <a:pt x="4826" y="536"/>
                </a:lnTo>
                <a:lnTo>
                  <a:pt x="4827" y="534"/>
                </a:lnTo>
                <a:lnTo>
                  <a:pt x="4838" y="526"/>
                </a:lnTo>
                <a:lnTo>
                  <a:pt x="4845" y="517"/>
                </a:lnTo>
                <a:lnTo>
                  <a:pt x="4849" y="510"/>
                </a:lnTo>
                <a:lnTo>
                  <a:pt x="4851" y="506"/>
                </a:lnTo>
                <a:lnTo>
                  <a:pt x="4857" y="501"/>
                </a:lnTo>
                <a:lnTo>
                  <a:pt x="4868" y="494"/>
                </a:lnTo>
                <a:lnTo>
                  <a:pt x="4872" y="492"/>
                </a:lnTo>
                <a:lnTo>
                  <a:pt x="4878" y="491"/>
                </a:lnTo>
                <a:lnTo>
                  <a:pt x="4884" y="490"/>
                </a:lnTo>
                <a:lnTo>
                  <a:pt x="4889" y="490"/>
                </a:lnTo>
                <a:lnTo>
                  <a:pt x="4894" y="489"/>
                </a:lnTo>
                <a:lnTo>
                  <a:pt x="4898" y="488"/>
                </a:lnTo>
                <a:lnTo>
                  <a:pt x="4898" y="487"/>
                </a:lnTo>
                <a:lnTo>
                  <a:pt x="4898" y="486"/>
                </a:lnTo>
                <a:lnTo>
                  <a:pt x="4898" y="485"/>
                </a:lnTo>
                <a:lnTo>
                  <a:pt x="4895" y="483"/>
                </a:lnTo>
                <a:lnTo>
                  <a:pt x="4886" y="474"/>
                </a:lnTo>
                <a:lnTo>
                  <a:pt x="4877" y="466"/>
                </a:lnTo>
                <a:lnTo>
                  <a:pt x="4869" y="458"/>
                </a:lnTo>
                <a:lnTo>
                  <a:pt x="4866" y="451"/>
                </a:lnTo>
                <a:lnTo>
                  <a:pt x="4867" y="448"/>
                </a:lnTo>
                <a:lnTo>
                  <a:pt x="4870" y="443"/>
                </a:lnTo>
                <a:lnTo>
                  <a:pt x="4876" y="438"/>
                </a:lnTo>
                <a:lnTo>
                  <a:pt x="4881" y="432"/>
                </a:lnTo>
                <a:lnTo>
                  <a:pt x="4885" y="427"/>
                </a:lnTo>
                <a:lnTo>
                  <a:pt x="4886" y="423"/>
                </a:lnTo>
                <a:lnTo>
                  <a:pt x="4886" y="422"/>
                </a:lnTo>
                <a:lnTo>
                  <a:pt x="4885" y="422"/>
                </a:lnTo>
                <a:lnTo>
                  <a:pt x="4882" y="422"/>
                </a:lnTo>
                <a:lnTo>
                  <a:pt x="4878" y="423"/>
                </a:lnTo>
                <a:lnTo>
                  <a:pt x="4870" y="426"/>
                </a:lnTo>
                <a:lnTo>
                  <a:pt x="4865" y="428"/>
                </a:lnTo>
                <a:lnTo>
                  <a:pt x="4861" y="431"/>
                </a:lnTo>
                <a:lnTo>
                  <a:pt x="4860" y="433"/>
                </a:lnTo>
                <a:lnTo>
                  <a:pt x="4859" y="438"/>
                </a:lnTo>
                <a:lnTo>
                  <a:pt x="4860" y="442"/>
                </a:lnTo>
                <a:lnTo>
                  <a:pt x="4859" y="445"/>
                </a:lnTo>
                <a:lnTo>
                  <a:pt x="4858" y="447"/>
                </a:lnTo>
                <a:lnTo>
                  <a:pt x="4856" y="449"/>
                </a:lnTo>
                <a:lnTo>
                  <a:pt x="4854" y="450"/>
                </a:lnTo>
                <a:lnTo>
                  <a:pt x="4848" y="452"/>
                </a:lnTo>
                <a:lnTo>
                  <a:pt x="4843" y="453"/>
                </a:lnTo>
                <a:lnTo>
                  <a:pt x="4839" y="458"/>
                </a:lnTo>
                <a:lnTo>
                  <a:pt x="4834" y="467"/>
                </a:lnTo>
                <a:lnTo>
                  <a:pt x="4831" y="471"/>
                </a:lnTo>
                <a:lnTo>
                  <a:pt x="4827" y="474"/>
                </a:lnTo>
                <a:lnTo>
                  <a:pt x="4826" y="475"/>
                </a:lnTo>
                <a:lnTo>
                  <a:pt x="4824" y="475"/>
                </a:lnTo>
                <a:lnTo>
                  <a:pt x="4822" y="474"/>
                </a:lnTo>
                <a:lnTo>
                  <a:pt x="4820" y="473"/>
                </a:lnTo>
                <a:lnTo>
                  <a:pt x="4817" y="468"/>
                </a:lnTo>
                <a:lnTo>
                  <a:pt x="4814" y="463"/>
                </a:lnTo>
                <a:lnTo>
                  <a:pt x="4812" y="458"/>
                </a:lnTo>
                <a:lnTo>
                  <a:pt x="4811" y="452"/>
                </a:lnTo>
                <a:lnTo>
                  <a:pt x="4809" y="448"/>
                </a:lnTo>
                <a:lnTo>
                  <a:pt x="4806" y="445"/>
                </a:lnTo>
                <a:lnTo>
                  <a:pt x="4803" y="443"/>
                </a:lnTo>
                <a:lnTo>
                  <a:pt x="4800" y="442"/>
                </a:lnTo>
                <a:lnTo>
                  <a:pt x="4787" y="443"/>
                </a:lnTo>
                <a:lnTo>
                  <a:pt x="4767" y="444"/>
                </a:lnTo>
                <a:lnTo>
                  <a:pt x="4757" y="445"/>
                </a:lnTo>
                <a:lnTo>
                  <a:pt x="4750" y="446"/>
                </a:lnTo>
                <a:lnTo>
                  <a:pt x="4747" y="447"/>
                </a:lnTo>
                <a:lnTo>
                  <a:pt x="4744" y="449"/>
                </a:lnTo>
                <a:lnTo>
                  <a:pt x="4743" y="450"/>
                </a:lnTo>
                <a:lnTo>
                  <a:pt x="4741" y="452"/>
                </a:lnTo>
                <a:lnTo>
                  <a:pt x="4738" y="463"/>
                </a:lnTo>
                <a:lnTo>
                  <a:pt x="4733" y="474"/>
                </a:lnTo>
                <a:lnTo>
                  <a:pt x="4728" y="484"/>
                </a:lnTo>
                <a:lnTo>
                  <a:pt x="4725" y="487"/>
                </a:lnTo>
                <a:close/>
                <a:moveTo>
                  <a:pt x="3991" y="712"/>
                </a:moveTo>
                <a:lnTo>
                  <a:pt x="3993" y="724"/>
                </a:lnTo>
                <a:lnTo>
                  <a:pt x="3995" y="735"/>
                </a:lnTo>
                <a:lnTo>
                  <a:pt x="3999" y="747"/>
                </a:lnTo>
                <a:lnTo>
                  <a:pt x="4002" y="756"/>
                </a:lnTo>
                <a:lnTo>
                  <a:pt x="4005" y="763"/>
                </a:lnTo>
                <a:lnTo>
                  <a:pt x="4008" y="769"/>
                </a:lnTo>
                <a:lnTo>
                  <a:pt x="4009" y="770"/>
                </a:lnTo>
                <a:lnTo>
                  <a:pt x="4010" y="770"/>
                </a:lnTo>
                <a:lnTo>
                  <a:pt x="4011" y="769"/>
                </a:lnTo>
                <a:lnTo>
                  <a:pt x="4012" y="766"/>
                </a:lnTo>
                <a:lnTo>
                  <a:pt x="4014" y="753"/>
                </a:lnTo>
                <a:lnTo>
                  <a:pt x="4016" y="741"/>
                </a:lnTo>
                <a:lnTo>
                  <a:pt x="4017" y="738"/>
                </a:lnTo>
                <a:lnTo>
                  <a:pt x="4020" y="735"/>
                </a:lnTo>
                <a:lnTo>
                  <a:pt x="4021" y="735"/>
                </a:lnTo>
                <a:lnTo>
                  <a:pt x="4022" y="738"/>
                </a:lnTo>
                <a:lnTo>
                  <a:pt x="4025" y="748"/>
                </a:lnTo>
                <a:lnTo>
                  <a:pt x="4030" y="757"/>
                </a:lnTo>
                <a:lnTo>
                  <a:pt x="4033" y="761"/>
                </a:lnTo>
                <a:lnTo>
                  <a:pt x="4037" y="765"/>
                </a:lnTo>
                <a:lnTo>
                  <a:pt x="4041" y="767"/>
                </a:lnTo>
                <a:lnTo>
                  <a:pt x="4044" y="767"/>
                </a:lnTo>
                <a:lnTo>
                  <a:pt x="4049" y="765"/>
                </a:lnTo>
                <a:lnTo>
                  <a:pt x="4056" y="760"/>
                </a:lnTo>
                <a:lnTo>
                  <a:pt x="4066" y="753"/>
                </a:lnTo>
                <a:lnTo>
                  <a:pt x="4075" y="746"/>
                </a:lnTo>
                <a:lnTo>
                  <a:pt x="4085" y="739"/>
                </a:lnTo>
                <a:lnTo>
                  <a:pt x="4092" y="734"/>
                </a:lnTo>
                <a:lnTo>
                  <a:pt x="4094" y="734"/>
                </a:lnTo>
                <a:lnTo>
                  <a:pt x="4097" y="734"/>
                </a:lnTo>
                <a:lnTo>
                  <a:pt x="4098" y="735"/>
                </a:lnTo>
                <a:lnTo>
                  <a:pt x="4098" y="738"/>
                </a:lnTo>
                <a:lnTo>
                  <a:pt x="4097" y="745"/>
                </a:lnTo>
                <a:lnTo>
                  <a:pt x="4094" y="750"/>
                </a:lnTo>
                <a:lnTo>
                  <a:pt x="4090" y="754"/>
                </a:lnTo>
                <a:lnTo>
                  <a:pt x="4086" y="758"/>
                </a:lnTo>
                <a:lnTo>
                  <a:pt x="4076" y="763"/>
                </a:lnTo>
                <a:lnTo>
                  <a:pt x="4070" y="769"/>
                </a:lnTo>
                <a:lnTo>
                  <a:pt x="4065" y="774"/>
                </a:lnTo>
                <a:lnTo>
                  <a:pt x="4057" y="778"/>
                </a:lnTo>
                <a:lnTo>
                  <a:pt x="4054" y="780"/>
                </a:lnTo>
                <a:lnTo>
                  <a:pt x="4052" y="784"/>
                </a:lnTo>
                <a:lnTo>
                  <a:pt x="4051" y="790"/>
                </a:lnTo>
                <a:lnTo>
                  <a:pt x="4051" y="798"/>
                </a:lnTo>
                <a:lnTo>
                  <a:pt x="4052" y="802"/>
                </a:lnTo>
                <a:lnTo>
                  <a:pt x="4054" y="804"/>
                </a:lnTo>
                <a:lnTo>
                  <a:pt x="4056" y="807"/>
                </a:lnTo>
                <a:lnTo>
                  <a:pt x="4058" y="809"/>
                </a:lnTo>
                <a:lnTo>
                  <a:pt x="4065" y="811"/>
                </a:lnTo>
                <a:lnTo>
                  <a:pt x="4071" y="812"/>
                </a:lnTo>
                <a:lnTo>
                  <a:pt x="4076" y="812"/>
                </a:lnTo>
                <a:lnTo>
                  <a:pt x="4081" y="814"/>
                </a:lnTo>
                <a:lnTo>
                  <a:pt x="4082" y="815"/>
                </a:lnTo>
                <a:lnTo>
                  <a:pt x="4083" y="817"/>
                </a:lnTo>
                <a:lnTo>
                  <a:pt x="4082" y="819"/>
                </a:lnTo>
                <a:lnTo>
                  <a:pt x="4082" y="822"/>
                </a:lnTo>
                <a:lnTo>
                  <a:pt x="4080" y="826"/>
                </a:lnTo>
                <a:lnTo>
                  <a:pt x="4078" y="830"/>
                </a:lnTo>
                <a:lnTo>
                  <a:pt x="4075" y="833"/>
                </a:lnTo>
                <a:lnTo>
                  <a:pt x="4072" y="835"/>
                </a:lnTo>
                <a:lnTo>
                  <a:pt x="4066" y="839"/>
                </a:lnTo>
                <a:lnTo>
                  <a:pt x="4058" y="843"/>
                </a:lnTo>
                <a:lnTo>
                  <a:pt x="4052" y="847"/>
                </a:lnTo>
                <a:lnTo>
                  <a:pt x="4048" y="850"/>
                </a:lnTo>
                <a:lnTo>
                  <a:pt x="4047" y="853"/>
                </a:lnTo>
                <a:lnTo>
                  <a:pt x="4047" y="855"/>
                </a:lnTo>
                <a:lnTo>
                  <a:pt x="4047" y="857"/>
                </a:lnTo>
                <a:lnTo>
                  <a:pt x="4048" y="860"/>
                </a:lnTo>
                <a:lnTo>
                  <a:pt x="4059" y="876"/>
                </a:lnTo>
                <a:lnTo>
                  <a:pt x="4078" y="899"/>
                </a:lnTo>
                <a:lnTo>
                  <a:pt x="4088" y="910"/>
                </a:lnTo>
                <a:lnTo>
                  <a:pt x="4096" y="921"/>
                </a:lnTo>
                <a:lnTo>
                  <a:pt x="4104" y="929"/>
                </a:lnTo>
                <a:lnTo>
                  <a:pt x="4111" y="934"/>
                </a:lnTo>
                <a:lnTo>
                  <a:pt x="4113" y="935"/>
                </a:lnTo>
                <a:lnTo>
                  <a:pt x="4116" y="936"/>
                </a:lnTo>
                <a:lnTo>
                  <a:pt x="4118" y="936"/>
                </a:lnTo>
                <a:lnTo>
                  <a:pt x="4120" y="935"/>
                </a:lnTo>
                <a:lnTo>
                  <a:pt x="4125" y="933"/>
                </a:lnTo>
                <a:lnTo>
                  <a:pt x="4130" y="929"/>
                </a:lnTo>
                <a:lnTo>
                  <a:pt x="4133" y="924"/>
                </a:lnTo>
                <a:lnTo>
                  <a:pt x="4136" y="918"/>
                </a:lnTo>
                <a:lnTo>
                  <a:pt x="4138" y="911"/>
                </a:lnTo>
                <a:lnTo>
                  <a:pt x="4139" y="906"/>
                </a:lnTo>
                <a:lnTo>
                  <a:pt x="4142" y="893"/>
                </a:lnTo>
                <a:lnTo>
                  <a:pt x="4148" y="871"/>
                </a:lnTo>
                <a:lnTo>
                  <a:pt x="4157" y="843"/>
                </a:lnTo>
                <a:lnTo>
                  <a:pt x="4167" y="813"/>
                </a:lnTo>
                <a:lnTo>
                  <a:pt x="4177" y="783"/>
                </a:lnTo>
                <a:lnTo>
                  <a:pt x="4185" y="759"/>
                </a:lnTo>
                <a:lnTo>
                  <a:pt x="4188" y="751"/>
                </a:lnTo>
                <a:lnTo>
                  <a:pt x="4191" y="745"/>
                </a:lnTo>
                <a:lnTo>
                  <a:pt x="4192" y="744"/>
                </a:lnTo>
                <a:lnTo>
                  <a:pt x="4192" y="743"/>
                </a:lnTo>
                <a:lnTo>
                  <a:pt x="4193" y="743"/>
                </a:lnTo>
                <a:lnTo>
                  <a:pt x="4193" y="744"/>
                </a:lnTo>
                <a:lnTo>
                  <a:pt x="4197" y="756"/>
                </a:lnTo>
                <a:lnTo>
                  <a:pt x="4201" y="770"/>
                </a:lnTo>
                <a:lnTo>
                  <a:pt x="4202" y="775"/>
                </a:lnTo>
                <a:lnTo>
                  <a:pt x="4204" y="781"/>
                </a:lnTo>
                <a:lnTo>
                  <a:pt x="4204" y="785"/>
                </a:lnTo>
                <a:lnTo>
                  <a:pt x="4204" y="790"/>
                </a:lnTo>
                <a:lnTo>
                  <a:pt x="4204" y="791"/>
                </a:lnTo>
                <a:lnTo>
                  <a:pt x="4204" y="792"/>
                </a:lnTo>
                <a:lnTo>
                  <a:pt x="4205" y="793"/>
                </a:lnTo>
                <a:lnTo>
                  <a:pt x="4207" y="793"/>
                </a:lnTo>
                <a:lnTo>
                  <a:pt x="4210" y="794"/>
                </a:lnTo>
                <a:lnTo>
                  <a:pt x="4214" y="794"/>
                </a:lnTo>
                <a:lnTo>
                  <a:pt x="4219" y="795"/>
                </a:lnTo>
                <a:lnTo>
                  <a:pt x="4221" y="797"/>
                </a:lnTo>
                <a:lnTo>
                  <a:pt x="4222" y="799"/>
                </a:lnTo>
                <a:lnTo>
                  <a:pt x="4221" y="802"/>
                </a:lnTo>
                <a:lnTo>
                  <a:pt x="4220" y="805"/>
                </a:lnTo>
                <a:lnTo>
                  <a:pt x="4219" y="811"/>
                </a:lnTo>
                <a:lnTo>
                  <a:pt x="4209" y="826"/>
                </a:lnTo>
                <a:lnTo>
                  <a:pt x="4204" y="838"/>
                </a:lnTo>
                <a:lnTo>
                  <a:pt x="4202" y="843"/>
                </a:lnTo>
                <a:lnTo>
                  <a:pt x="4202" y="847"/>
                </a:lnTo>
                <a:lnTo>
                  <a:pt x="4204" y="852"/>
                </a:lnTo>
                <a:lnTo>
                  <a:pt x="4208" y="857"/>
                </a:lnTo>
                <a:lnTo>
                  <a:pt x="4211" y="858"/>
                </a:lnTo>
                <a:lnTo>
                  <a:pt x="4214" y="859"/>
                </a:lnTo>
                <a:lnTo>
                  <a:pt x="4219" y="859"/>
                </a:lnTo>
                <a:lnTo>
                  <a:pt x="4223" y="859"/>
                </a:lnTo>
                <a:lnTo>
                  <a:pt x="4232" y="855"/>
                </a:lnTo>
                <a:lnTo>
                  <a:pt x="4242" y="850"/>
                </a:lnTo>
                <a:lnTo>
                  <a:pt x="4251" y="846"/>
                </a:lnTo>
                <a:lnTo>
                  <a:pt x="4258" y="843"/>
                </a:lnTo>
                <a:lnTo>
                  <a:pt x="4261" y="843"/>
                </a:lnTo>
                <a:lnTo>
                  <a:pt x="4263" y="843"/>
                </a:lnTo>
                <a:lnTo>
                  <a:pt x="4264" y="844"/>
                </a:lnTo>
                <a:lnTo>
                  <a:pt x="4264" y="846"/>
                </a:lnTo>
                <a:lnTo>
                  <a:pt x="4258" y="860"/>
                </a:lnTo>
                <a:lnTo>
                  <a:pt x="4250" y="876"/>
                </a:lnTo>
                <a:lnTo>
                  <a:pt x="4247" y="882"/>
                </a:lnTo>
                <a:lnTo>
                  <a:pt x="4245" y="887"/>
                </a:lnTo>
                <a:lnTo>
                  <a:pt x="4245" y="889"/>
                </a:lnTo>
                <a:lnTo>
                  <a:pt x="4246" y="890"/>
                </a:lnTo>
                <a:lnTo>
                  <a:pt x="4246" y="891"/>
                </a:lnTo>
                <a:lnTo>
                  <a:pt x="4248" y="891"/>
                </a:lnTo>
                <a:lnTo>
                  <a:pt x="4253" y="889"/>
                </a:lnTo>
                <a:lnTo>
                  <a:pt x="4258" y="884"/>
                </a:lnTo>
                <a:lnTo>
                  <a:pt x="4265" y="878"/>
                </a:lnTo>
                <a:lnTo>
                  <a:pt x="4270" y="870"/>
                </a:lnTo>
                <a:lnTo>
                  <a:pt x="4275" y="863"/>
                </a:lnTo>
                <a:lnTo>
                  <a:pt x="4280" y="856"/>
                </a:lnTo>
                <a:lnTo>
                  <a:pt x="4284" y="848"/>
                </a:lnTo>
                <a:lnTo>
                  <a:pt x="4286" y="842"/>
                </a:lnTo>
                <a:lnTo>
                  <a:pt x="4290" y="831"/>
                </a:lnTo>
                <a:lnTo>
                  <a:pt x="4296" y="819"/>
                </a:lnTo>
                <a:lnTo>
                  <a:pt x="4298" y="814"/>
                </a:lnTo>
                <a:lnTo>
                  <a:pt x="4299" y="809"/>
                </a:lnTo>
                <a:lnTo>
                  <a:pt x="4299" y="806"/>
                </a:lnTo>
                <a:lnTo>
                  <a:pt x="4298" y="804"/>
                </a:lnTo>
                <a:lnTo>
                  <a:pt x="4297" y="802"/>
                </a:lnTo>
                <a:lnTo>
                  <a:pt x="4295" y="801"/>
                </a:lnTo>
                <a:lnTo>
                  <a:pt x="4291" y="799"/>
                </a:lnTo>
                <a:lnTo>
                  <a:pt x="4285" y="797"/>
                </a:lnTo>
                <a:lnTo>
                  <a:pt x="4279" y="797"/>
                </a:lnTo>
                <a:lnTo>
                  <a:pt x="4273" y="796"/>
                </a:lnTo>
                <a:lnTo>
                  <a:pt x="4268" y="795"/>
                </a:lnTo>
                <a:lnTo>
                  <a:pt x="4264" y="794"/>
                </a:lnTo>
                <a:lnTo>
                  <a:pt x="4262" y="793"/>
                </a:lnTo>
                <a:lnTo>
                  <a:pt x="4261" y="792"/>
                </a:lnTo>
                <a:lnTo>
                  <a:pt x="4260" y="791"/>
                </a:lnTo>
                <a:lnTo>
                  <a:pt x="4260" y="789"/>
                </a:lnTo>
                <a:lnTo>
                  <a:pt x="4261" y="781"/>
                </a:lnTo>
                <a:lnTo>
                  <a:pt x="4263" y="774"/>
                </a:lnTo>
                <a:lnTo>
                  <a:pt x="4263" y="770"/>
                </a:lnTo>
                <a:lnTo>
                  <a:pt x="4263" y="767"/>
                </a:lnTo>
                <a:lnTo>
                  <a:pt x="4262" y="763"/>
                </a:lnTo>
                <a:lnTo>
                  <a:pt x="4260" y="760"/>
                </a:lnTo>
                <a:lnTo>
                  <a:pt x="4253" y="750"/>
                </a:lnTo>
                <a:lnTo>
                  <a:pt x="4246" y="733"/>
                </a:lnTo>
                <a:lnTo>
                  <a:pt x="4242" y="725"/>
                </a:lnTo>
                <a:lnTo>
                  <a:pt x="4238" y="716"/>
                </a:lnTo>
                <a:lnTo>
                  <a:pt x="4233" y="709"/>
                </a:lnTo>
                <a:lnTo>
                  <a:pt x="4228" y="704"/>
                </a:lnTo>
                <a:lnTo>
                  <a:pt x="4217" y="694"/>
                </a:lnTo>
                <a:lnTo>
                  <a:pt x="4202" y="685"/>
                </a:lnTo>
                <a:lnTo>
                  <a:pt x="4196" y="680"/>
                </a:lnTo>
                <a:lnTo>
                  <a:pt x="4191" y="674"/>
                </a:lnTo>
                <a:lnTo>
                  <a:pt x="4190" y="672"/>
                </a:lnTo>
                <a:lnTo>
                  <a:pt x="4189" y="669"/>
                </a:lnTo>
                <a:lnTo>
                  <a:pt x="4190" y="667"/>
                </a:lnTo>
                <a:lnTo>
                  <a:pt x="4191" y="665"/>
                </a:lnTo>
                <a:lnTo>
                  <a:pt x="4196" y="660"/>
                </a:lnTo>
                <a:lnTo>
                  <a:pt x="4200" y="656"/>
                </a:lnTo>
                <a:lnTo>
                  <a:pt x="4205" y="652"/>
                </a:lnTo>
                <a:lnTo>
                  <a:pt x="4210" y="649"/>
                </a:lnTo>
                <a:lnTo>
                  <a:pt x="4217" y="648"/>
                </a:lnTo>
                <a:lnTo>
                  <a:pt x="4224" y="646"/>
                </a:lnTo>
                <a:lnTo>
                  <a:pt x="4231" y="646"/>
                </a:lnTo>
                <a:lnTo>
                  <a:pt x="4240" y="647"/>
                </a:lnTo>
                <a:lnTo>
                  <a:pt x="4258" y="649"/>
                </a:lnTo>
                <a:lnTo>
                  <a:pt x="4276" y="650"/>
                </a:lnTo>
                <a:lnTo>
                  <a:pt x="4285" y="650"/>
                </a:lnTo>
                <a:lnTo>
                  <a:pt x="4292" y="650"/>
                </a:lnTo>
                <a:lnTo>
                  <a:pt x="4298" y="648"/>
                </a:lnTo>
                <a:lnTo>
                  <a:pt x="4304" y="646"/>
                </a:lnTo>
                <a:lnTo>
                  <a:pt x="4309" y="640"/>
                </a:lnTo>
                <a:lnTo>
                  <a:pt x="4316" y="629"/>
                </a:lnTo>
                <a:lnTo>
                  <a:pt x="4326" y="616"/>
                </a:lnTo>
                <a:lnTo>
                  <a:pt x="4334" y="601"/>
                </a:lnTo>
                <a:lnTo>
                  <a:pt x="4350" y="575"/>
                </a:lnTo>
                <a:lnTo>
                  <a:pt x="4357" y="563"/>
                </a:lnTo>
                <a:lnTo>
                  <a:pt x="4362" y="562"/>
                </a:lnTo>
                <a:lnTo>
                  <a:pt x="4373" y="560"/>
                </a:lnTo>
                <a:lnTo>
                  <a:pt x="4377" y="558"/>
                </a:lnTo>
                <a:lnTo>
                  <a:pt x="4380" y="555"/>
                </a:lnTo>
                <a:lnTo>
                  <a:pt x="4381" y="553"/>
                </a:lnTo>
                <a:lnTo>
                  <a:pt x="4381" y="551"/>
                </a:lnTo>
                <a:lnTo>
                  <a:pt x="4379" y="549"/>
                </a:lnTo>
                <a:lnTo>
                  <a:pt x="4377" y="546"/>
                </a:lnTo>
                <a:lnTo>
                  <a:pt x="4375" y="542"/>
                </a:lnTo>
                <a:lnTo>
                  <a:pt x="4371" y="541"/>
                </a:lnTo>
                <a:lnTo>
                  <a:pt x="4367" y="540"/>
                </a:lnTo>
                <a:lnTo>
                  <a:pt x="4363" y="539"/>
                </a:lnTo>
                <a:lnTo>
                  <a:pt x="4354" y="540"/>
                </a:lnTo>
                <a:lnTo>
                  <a:pt x="4344" y="541"/>
                </a:lnTo>
                <a:lnTo>
                  <a:pt x="4335" y="543"/>
                </a:lnTo>
                <a:lnTo>
                  <a:pt x="4326" y="546"/>
                </a:lnTo>
                <a:lnTo>
                  <a:pt x="4322" y="546"/>
                </a:lnTo>
                <a:lnTo>
                  <a:pt x="4319" y="546"/>
                </a:lnTo>
                <a:lnTo>
                  <a:pt x="4316" y="545"/>
                </a:lnTo>
                <a:lnTo>
                  <a:pt x="4314" y="543"/>
                </a:lnTo>
                <a:lnTo>
                  <a:pt x="4305" y="536"/>
                </a:lnTo>
                <a:lnTo>
                  <a:pt x="4292" y="528"/>
                </a:lnTo>
                <a:lnTo>
                  <a:pt x="4280" y="520"/>
                </a:lnTo>
                <a:lnTo>
                  <a:pt x="4270" y="514"/>
                </a:lnTo>
                <a:lnTo>
                  <a:pt x="4258" y="508"/>
                </a:lnTo>
                <a:lnTo>
                  <a:pt x="4247" y="503"/>
                </a:lnTo>
                <a:lnTo>
                  <a:pt x="4242" y="502"/>
                </a:lnTo>
                <a:lnTo>
                  <a:pt x="4238" y="504"/>
                </a:lnTo>
                <a:lnTo>
                  <a:pt x="4235" y="505"/>
                </a:lnTo>
                <a:lnTo>
                  <a:pt x="4234" y="507"/>
                </a:lnTo>
                <a:lnTo>
                  <a:pt x="4233" y="510"/>
                </a:lnTo>
                <a:lnTo>
                  <a:pt x="4232" y="514"/>
                </a:lnTo>
                <a:lnTo>
                  <a:pt x="4231" y="521"/>
                </a:lnTo>
                <a:lnTo>
                  <a:pt x="4229" y="527"/>
                </a:lnTo>
                <a:lnTo>
                  <a:pt x="4226" y="530"/>
                </a:lnTo>
                <a:lnTo>
                  <a:pt x="4223" y="531"/>
                </a:lnTo>
                <a:lnTo>
                  <a:pt x="4220" y="531"/>
                </a:lnTo>
                <a:lnTo>
                  <a:pt x="4216" y="530"/>
                </a:lnTo>
                <a:lnTo>
                  <a:pt x="4212" y="527"/>
                </a:lnTo>
                <a:lnTo>
                  <a:pt x="4209" y="521"/>
                </a:lnTo>
                <a:lnTo>
                  <a:pt x="4205" y="511"/>
                </a:lnTo>
                <a:lnTo>
                  <a:pt x="4203" y="502"/>
                </a:lnTo>
                <a:lnTo>
                  <a:pt x="4201" y="498"/>
                </a:lnTo>
                <a:lnTo>
                  <a:pt x="4199" y="496"/>
                </a:lnTo>
                <a:lnTo>
                  <a:pt x="4195" y="495"/>
                </a:lnTo>
                <a:lnTo>
                  <a:pt x="4189" y="497"/>
                </a:lnTo>
                <a:lnTo>
                  <a:pt x="4183" y="499"/>
                </a:lnTo>
                <a:lnTo>
                  <a:pt x="4176" y="498"/>
                </a:lnTo>
                <a:lnTo>
                  <a:pt x="4168" y="497"/>
                </a:lnTo>
                <a:lnTo>
                  <a:pt x="4161" y="496"/>
                </a:lnTo>
                <a:lnTo>
                  <a:pt x="4158" y="496"/>
                </a:lnTo>
                <a:lnTo>
                  <a:pt x="4155" y="497"/>
                </a:lnTo>
                <a:lnTo>
                  <a:pt x="4152" y="498"/>
                </a:lnTo>
                <a:lnTo>
                  <a:pt x="4149" y="499"/>
                </a:lnTo>
                <a:lnTo>
                  <a:pt x="4147" y="503"/>
                </a:lnTo>
                <a:lnTo>
                  <a:pt x="4146" y="506"/>
                </a:lnTo>
                <a:lnTo>
                  <a:pt x="4145" y="511"/>
                </a:lnTo>
                <a:lnTo>
                  <a:pt x="4145" y="517"/>
                </a:lnTo>
                <a:lnTo>
                  <a:pt x="4145" y="539"/>
                </a:lnTo>
                <a:lnTo>
                  <a:pt x="4144" y="553"/>
                </a:lnTo>
                <a:lnTo>
                  <a:pt x="4144" y="558"/>
                </a:lnTo>
                <a:lnTo>
                  <a:pt x="4145" y="563"/>
                </a:lnTo>
                <a:lnTo>
                  <a:pt x="4147" y="568"/>
                </a:lnTo>
                <a:lnTo>
                  <a:pt x="4152" y="571"/>
                </a:lnTo>
                <a:lnTo>
                  <a:pt x="4158" y="575"/>
                </a:lnTo>
                <a:lnTo>
                  <a:pt x="4166" y="578"/>
                </a:lnTo>
                <a:lnTo>
                  <a:pt x="4177" y="581"/>
                </a:lnTo>
                <a:lnTo>
                  <a:pt x="4186" y="584"/>
                </a:lnTo>
                <a:lnTo>
                  <a:pt x="4195" y="589"/>
                </a:lnTo>
                <a:lnTo>
                  <a:pt x="4201" y="593"/>
                </a:lnTo>
                <a:lnTo>
                  <a:pt x="4202" y="595"/>
                </a:lnTo>
                <a:lnTo>
                  <a:pt x="4202" y="597"/>
                </a:lnTo>
                <a:lnTo>
                  <a:pt x="4201" y="600"/>
                </a:lnTo>
                <a:lnTo>
                  <a:pt x="4199" y="603"/>
                </a:lnTo>
                <a:lnTo>
                  <a:pt x="4192" y="611"/>
                </a:lnTo>
                <a:lnTo>
                  <a:pt x="4188" y="619"/>
                </a:lnTo>
                <a:lnTo>
                  <a:pt x="4184" y="628"/>
                </a:lnTo>
                <a:lnTo>
                  <a:pt x="4181" y="637"/>
                </a:lnTo>
                <a:lnTo>
                  <a:pt x="4177" y="652"/>
                </a:lnTo>
                <a:lnTo>
                  <a:pt x="4176" y="659"/>
                </a:lnTo>
                <a:lnTo>
                  <a:pt x="4174" y="655"/>
                </a:lnTo>
                <a:lnTo>
                  <a:pt x="4167" y="643"/>
                </a:lnTo>
                <a:lnTo>
                  <a:pt x="4161" y="628"/>
                </a:lnTo>
                <a:lnTo>
                  <a:pt x="4153" y="613"/>
                </a:lnTo>
                <a:lnTo>
                  <a:pt x="4143" y="592"/>
                </a:lnTo>
                <a:lnTo>
                  <a:pt x="4133" y="570"/>
                </a:lnTo>
                <a:lnTo>
                  <a:pt x="4126" y="560"/>
                </a:lnTo>
                <a:lnTo>
                  <a:pt x="4121" y="555"/>
                </a:lnTo>
                <a:lnTo>
                  <a:pt x="4119" y="554"/>
                </a:lnTo>
                <a:lnTo>
                  <a:pt x="4117" y="554"/>
                </a:lnTo>
                <a:lnTo>
                  <a:pt x="4115" y="556"/>
                </a:lnTo>
                <a:lnTo>
                  <a:pt x="4113" y="559"/>
                </a:lnTo>
                <a:lnTo>
                  <a:pt x="4109" y="568"/>
                </a:lnTo>
                <a:lnTo>
                  <a:pt x="4103" y="576"/>
                </a:lnTo>
                <a:lnTo>
                  <a:pt x="4098" y="583"/>
                </a:lnTo>
                <a:lnTo>
                  <a:pt x="4093" y="591"/>
                </a:lnTo>
                <a:lnTo>
                  <a:pt x="4088" y="598"/>
                </a:lnTo>
                <a:lnTo>
                  <a:pt x="4085" y="603"/>
                </a:lnTo>
                <a:lnTo>
                  <a:pt x="4082" y="607"/>
                </a:lnTo>
                <a:lnTo>
                  <a:pt x="4082" y="611"/>
                </a:lnTo>
                <a:lnTo>
                  <a:pt x="4080" y="609"/>
                </a:lnTo>
                <a:lnTo>
                  <a:pt x="4072" y="601"/>
                </a:lnTo>
                <a:lnTo>
                  <a:pt x="4067" y="597"/>
                </a:lnTo>
                <a:lnTo>
                  <a:pt x="4060" y="593"/>
                </a:lnTo>
                <a:lnTo>
                  <a:pt x="4054" y="589"/>
                </a:lnTo>
                <a:lnTo>
                  <a:pt x="4048" y="586"/>
                </a:lnTo>
                <a:lnTo>
                  <a:pt x="4030" y="583"/>
                </a:lnTo>
                <a:lnTo>
                  <a:pt x="4006" y="581"/>
                </a:lnTo>
                <a:lnTo>
                  <a:pt x="3994" y="581"/>
                </a:lnTo>
                <a:lnTo>
                  <a:pt x="3985" y="583"/>
                </a:lnTo>
                <a:lnTo>
                  <a:pt x="3981" y="585"/>
                </a:lnTo>
                <a:lnTo>
                  <a:pt x="3979" y="587"/>
                </a:lnTo>
                <a:lnTo>
                  <a:pt x="3977" y="591"/>
                </a:lnTo>
                <a:lnTo>
                  <a:pt x="3977" y="594"/>
                </a:lnTo>
                <a:lnTo>
                  <a:pt x="3978" y="608"/>
                </a:lnTo>
                <a:lnTo>
                  <a:pt x="3979" y="623"/>
                </a:lnTo>
                <a:lnTo>
                  <a:pt x="3980" y="630"/>
                </a:lnTo>
                <a:lnTo>
                  <a:pt x="3982" y="637"/>
                </a:lnTo>
                <a:lnTo>
                  <a:pt x="3985" y="643"/>
                </a:lnTo>
                <a:lnTo>
                  <a:pt x="3987" y="649"/>
                </a:lnTo>
                <a:lnTo>
                  <a:pt x="3994" y="661"/>
                </a:lnTo>
                <a:lnTo>
                  <a:pt x="3999" y="673"/>
                </a:lnTo>
                <a:lnTo>
                  <a:pt x="4001" y="680"/>
                </a:lnTo>
                <a:lnTo>
                  <a:pt x="4002" y="686"/>
                </a:lnTo>
                <a:lnTo>
                  <a:pt x="4002" y="691"/>
                </a:lnTo>
                <a:lnTo>
                  <a:pt x="4002" y="696"/>
                </a:lnTo>
                <a:lnTo>
                  <a:pt x="4002" y="699"/>
                </a:lnTo>
                <a:lnTo>
                  <a:pt x="4001" y="700"/>
                </a:lnTo>
                <a:lnTo>
                  <a:pt x="4000" y="700"/>
                </a:lnTo>
                <a:lnTo>
                  <a:pt x="3999" y="700"/>
                </a:lnTo>
                <a:lnTo>
                  <a:pt x="3995" y="699"/>
                </a:lnTo>
                <a:lnTo>
                  <a:pt x="3992" y="696"/>
                </a:lnTo>
                <a:lnTo>
                  <a:pt x="3989" y="693"/>
                </a:lnTo>
                <a:lnTo>
                  <a:pt x="3986" y="691"/>
                </a:lnTo>
                <a:lnTo>
                  <a:pt x="3984" y="691"/>
                </a:lnTo>
                <a:lnTo>
                  <a:pt x="3982" y="691"/>
                </a:lnTo>
                <a:lnTo>
                  <a:pt x="3981" y="692"/>
                </a:lnTo>
                <a:lnTo>
                  <a:pt x="3980" y="693"/>
                </a:lnTo>
                <a:lnTo>
                  <a:pt x="3978" y="696"/>
                </a:lnTo>
                <a:lnTo>
                  <a:pt x="3977" y="699"/>
                </a:lnTo>
                <a:lnTo>
                  <a:pt x="3978" y="701"/>
                </a:lnTo>
                <a:lnTo>
                  <a:pt x="3979" y="703"/>
                </a:lnTo>
                <a:lnTo>
                  <a:pt x="3983" y="705"/>
                </a:lnTo>
                <a:lnTo>
                  <a:pt x="3985" y="707"/>
                </a:lnTo>
                <a:lnTo>
                  <a:pt x="3989" y="710"/>
                </a:lnTo>
                <a:lnTo>
                  <a:pt x="3991" y="712"/>
                </a:lnTo>
                <a:close/>
                <a:moveTo>
                  <a:pt x="2036" y="1821"/>
                </a:moveTo>
                <a:lnTo>
                  <a:pt x="2039" y="1825"/>
                </a:lnTo>
                <a:lnTo>
                  <a:pt x="2042" y="1828"/>
                </a:lnTo>
                <a:lnTo>
                  <a:pt x="2044" y="1828"/>
                </a:lnTo>
                <a:lnTo>
                  <a:pt x="2046" y="1828"/>
                </a:lnTo>
                <a:lnTo>
                  <a:pt x="2047" y="1827"/>
                </a:lnTo>
                <a:lnTo>
                  <a:pt x="2049" y="1826"/>
                </a:lnTo>
                <a:lnTo>
                  <a:pt x="2053" y="1820"/>
                </a:lnTo>
                <a:lnTo>
                  <a:pt x="2056" y="1813"/>
                </a:lnTo>
                <a:lnTo>
                  <a:pt x="2057" y="1810"/>
                </a:lnTo>
                <a:lnTo>
                  <a:pt x="2057" y="1808"/>
                </a:lnTo>
                <a:lnTo>
                  <a:pt x="2056" y="1806"/>
                </a:lnTo>
                <a:lnTo>
                  <a:pt x="2054" y="1806"/>
                </a:lnTo>
                <a:lnTo>
                  <a:pt x="2046" y="1807"/>
                </a:lnTo>
                <a:lnTo>
                  <a:pt x="2041" y="1809"/>
                </a:lnTo>
                <a:lnTo>
                  <a:pt x="2038" y="1812"/>
                </a:lnTo>
                <a:lnTo>
                  <a:pt x="2036" y="1815"/>
                </a:lnTo>
                <a:lnTo>
                  <a:pt x="2035" y="1819"/>
                </a:lnTo>
                <a:lnTo>
                  <a:pt x="2036" y="1821"/>
                </a:lnTo>
                <a:close/>
                <a:moveTo>
                  <a:pt x="1990" y="1887"/>
                </a:moveTo>
                <a:lnTo>
                  <a:pt x="1991" y="1893"/>
                </a:lnTo>
                <a:lnTo>
                  <a:pt x="1992" y="1898"/>
                </a:lnTo>
                <a:lnTo>
                  <a:pt x="1993" y="1900"/>
                </a:lnTo>
                <a:lnTo>
                  <a:pt x="1994" y="1901"/>
                </a:lnTo>
                <a:lnTo>
                  <a:pt x="1996" y="1901"/>
                </a:lnTo>
                <a:lnTo>
                  <a:pt x="1998" y="1900"/>
                </a:lnTo>
                <a:lnTo>
                  <a:pt x="2004" y="1897"/>
                </a:lnTo>
                <a:lnTo>
                  <a:pt x="2009" y="1893"/>
                </a:lnTo>
                <a:lnTo>
                  <a:pt x="2010" y="1891"/>
                </a:lnTo>
                <a:lnTo>
                  <a:pt x="2012" y="1888"/>
                </a:lnTo>
                <a:lnTo>
                  <a:pt x="2012" y="1885"/>
                </a:lnTo>
                <a:lnTo>
                  <a:pt x="2011" y="1880"/>
                </a:lnTo>
                <a:lnTo>
                  <a:pt x="2009" y="1873"/>
                </a:lnTo>
                <a:lnTo>
                  <a:pt x="2008" y="1868"/>
                </a:lnTo>
                <a:lnTo>
                  <a:pt x="2007" y="1866"/>
                </a:lnTo>
                <a:lnTo>
                  <a:pt x="2006" y="1865"/>
                </a:lnTo>
                <a:lnTo>
                  <a:pt x="2005" y="1866"/>
                </a:lnTo>
                <a:lnTo>
                  <a:pt x="2002" y="1868"/>
                </a:lnTo>
                <a:lnTo>
                  <a:pt x="1993" y="1880"/>
                </a:lnTo>
                <a:lnTo>
                  <a:pt x="1990" y="1887"/>
                </a:lnTo>
                <a:close/>
                <a:moveTo>
                  <a:pt x="1897" y="1867"/>
                </a:moveTo>
                <a:lnTo>
                  <a:pt x="1900" y="1875"/>
                </a:lnTo>
                <a:lnTo>
                  <a:pt x="1904" y="1880"/>
                </a:lnTo>
                <a:lnTo>
                  <a:pt x="1909" y="1882"/>
                </a:lnTo>
                <a:lnTo>
                  <a:pt x="1914" y="1882"/>
                </a:lnTo>
                <a:lnTo>
                  <a:pt x="1918" y="1881"/>
                </a:lnTo>
                <a:lnTo>
                  <a:pt x="1922" y="1879"/>
                </a:lnTo>
                <a:lnTo>
                  <a:pt x="1926" y="1876"/>
                </a:lnTo>
                <a:lnTo>
                  <a:pt x="1929" y="1874"/>
                </a:lnTo>
                <a:lnTo>
                  <a:pt x="1938" y="1867"/>
                </a:lnTo>
                <a:lnTo>
                  <a:pt x="1948" y="1857"/>
                </a:lnTo>
                <a:lnTo>
                  <a:pt x="1951" y="1852"/>
                </a:lnTo>
                <a:lnTo>
                  <a:pt x="1953" y="1849"/>
                </a:lnTo>
                <a:lnTo>
                  <a:pt x="1953" y="1847"/>
                </a:lnTo>
                <a:lnTo>
                  <a:pt x="1952" y="1845"/>
                </a:lnTo>
                <a:lnTo>
                  <a:pt x="1951" y="1844"/>
                </a:lnTo>
                <a:lnTo>
                  <a:pt x="1948" y="1843"/>
                </a:lnTo>
                <a:lnTo>
                  <a:pt x="1937" y="1841"/>
                </a:lnTo>
                <a:lnTo>
                  <a:pt x="1927" y="1840"/>
                </a:lnTo>
                <a:lnTo>
                  <a:pt x="1923" y="1841"/>
                </a:lnTo>
                <a:lnTo>
                  <a:pt x="1920" y="1842"/>
                </a:lnTo>
                <a:lnTo>
                  <a:pt x="1918" y="1845"/>
                </a:lnTo>
                <a:lnTo>
                  <a:pt x="1916" y="1848"/>
                </a:lnTo>
                <a:lnTo>
                  <a:pt x="1915" y="1852"/>
                </a:lnTo>
                <a:lnTo>
                  <a:pt x="1911" y="1855"/>
                </a:lnTo>
                <a:lnTo>
                  <a:pt x="1908" y="1858"/>
                </a:lnTo>
                <a:lnTo>
                  <a:pt x="1905" y="1862"/>
                </a:lnTo>
                <a:lnTo>
                  <a:pt x="1899" y="1866"/>
                </a:lnTo>
                <a:lnTo>
                  <a:pt x="1897" y="1867"/>
                </a:lnTo>
                <a:close/>
                <a:moveTo>
                  <a:pt x="2056" y="1576"/>
                </a:moveTo>
                <a:lnTo>
                  <a:pt x="2054" y="1586"/>
                </a:lnTo>
                <a:lnTo>
                  <a:pt x="2052" y="1595"/>
                </a:lnTo>
                <a:lnTo>
                  <a:pt x="2053" y="1601"/>
                </a:lnTo>
                <a:lnTo>
                  <a:pt x="2055" y="1605"/>
                </a:lnTo>
                <a:lnTo>
                  <a:pt x="2059" y="1609"/>
                </a:lnTo>
                <a:lnTo>
                  <a:pt x="2066" y="1612"/>
                </a:lnTo>
                <a:lnTo>
                  <a:pt x="2073" y="1614"/>
                </a:lnTo>
                <a:lnTo>
                  <a:pt x="2080" y="1615"/>
                </a:lnTo>
                <a:lnTo>
                  <a:pt x="2086" y="1614"/>
                </a:lnTo>
                <a:lnTo>
                  <a:pt x="2092" y="1613"/>
                </a:lnTo>
                <a:lnTo>
                  <a:pt x="2097" y="1610"/>
                </a:lnTo>
                <a:lnTo>
                  <a:pt x="2101" y="1606"/>
                </a:lnTo>
                <a:lnTo>
                  <a:pt x="2104" y="1602"/>
                </a:lnTo>
                <a:lnTo>
                  <a:pt x="2105" y="1596"/>
                </a:lnTo>
                <a:lnTo>
                  <a:pt x="2106" y="1591"/>
                </a:lnTo>
                <a:lnTo>
                  <a:pt x="2105" y="1584"/>
                </a:lnTo>
                <a:lnTo>
                  <a:pt x="2104" y="1578"/>
                </a:lnTo>
                <a:lnTo>
                  <a:pt x="2102" y="1571"/>
                </a:lnTo>
                <a:lnTo>
                  <a:pt x="2100" y="1565"/>
                </a:lnTo>
                <a:lnTo>
                  <a:pt x="2097" y="1561"/>
                </a:lnTo>
                <a:lnTo>
                  <a:pt x="2095" y="1560"/>
                </a:lnTo>
                <a:lnTo>
                  <a:pt x="2093" y="1559"/>
                </a:lnTo>
                <a:lnTo>
                  <a:pt x="2091" y="1559"/>
                </a:lnTo>
                <a:lnTo>
                  <a:pt x="2090" y="1559"/>
                </a:lnTo>
                <a:lnTo>
                  <a:pt x="2081" y="1562"/>
                </a:lnTo>
                <a:lnTo>
                  <a:pt x="2075" y="1564"/>
                </a:lnTo>
                <a:lnTo>
                  <a:pt x="2072" y="1565"/>
                </a:lnTo>
                <a:lnTo>
                  <a:pt x="2069" y="1567"/>
                </a:lnTo>
                <a:lnTo>
                  <a:pt x="2067" y="1569"/>
                </a:lnTo>
                <a:lnTo>
                  <a:pt x="2066" y="1572"/>
                </a:lnTo>
                <a:lnTo>
                  <a:pt x="2064" y="1576"/>
                </a:lnTo>
                <a:lnTo>
                  <a:pt x="2063" y="1576"/>
                </a:lnTo>
                <a:lnTo>
                  <a:pt x="2063" y="1573"/>
                </a:lnTo>
                <a:lnTo>
                  <a:pt x="2062" y="1571"/>
                </a:lnTo>
                <a:lnTo>
                  <a:pt x="2061" y="1570"/>
                </a:lnTo>
                <a:lnTo>
                  <a:pt x="2060" y="1569"/>
                </a:lnTo>
                <a:lnTo>
                  <a:pt x="2059" y="1569"/>
                </a:lnTo>
                <a:lnTo>
                  <a:pt x="2058" y="1570"/>
                </a:lnTo>
                <a:lnTo>
                  <a:pt x="2057" y="1573"/>
                </a:lnTo>
                <a:lnTo>
                  <a:pt x="2056" y="1576"/>
                </a:lnTo>
                <a:close/>
                <a:moveTo>
                  <a:pt x="1688" y="699"/>
                </a:moveTo>
                <a:lnTo>
                  <a:pt x="1694" y="705"/>
                </a:lnTo>
                <a:lnTo>
                  <a:pt x="1699" y="709"/>
                </a:lnTo>
                <a:lnTo>
                  <a:pt x="1704" y="713"/>
                </a:lnTo>
                <a:lnTo>
                  <a:pt x="1709" y="717"/>
                </a:lnTo>
                <a:lnTo>
                  <a:pt x="1720" y="723"/>
                </a:lnTo>
                <a:lnTo>
                  <a:pt x="1728" y="726"/>
                </a:lnTo>
                <a:lnTo>
                  <a:pt x="1734" y="729"/>
                </a:lnTo>
                <a:lnTo>
                  <a:pt x="1739" y="733"/>
                </a:lnTo>
                <a:lnTo>
                  <a:pt x="1739" y="735"/>
                </a:lnTo>
                <a:lnTo>
                  <a:pt x="1738" y="737"/>
                </a:lnTo>
                <a:lnTo>
                  <a:pt x="1737" y="740"/>
                </a:lnTo>
                <a:lnTo>
                  <a:pt x="1733" y="745"/>
                </a:lnTo>
                <a:lnTo>
                  <a:pt x="1729" y="748"/>
                </a:lnTo>
                <a:lnTo>
                  <a:pt x="1726" y="751"/>
                </a:lnTo>
                <a:lnTo>
                  <a:pt x="1723" y="753"/>
                </a:lnTo>
                <a:lnTo>
                  <a:pt x="1719" y="753"/>
                </a:lnTo>
                <a:lnTo>
                  <a:pt x="1713" y="754"/>
                </a:lnTo>
                <a:lnTo>
                  <a:pt x="1708" y="753"/>
                </a:lnTo>
                <a:lnTo>
                  <a:pt x="1707" y="753"/>
                </a:lnTo>
                <a:lnTo>
                  <a:pt x="1706" y="753"/>
                </a:lnTo>
                <a:lnTo>
                  <a:pt x="1705" y="753"/>
                </a:lnTo>
                <a:lnTo>
                  <a:pt x="1706" y="754"/>
                </a:lnTo>
                <a:lnTo>
                  <a:pt x="1709" y="758"/>
                </a:lnTo>
                <a:lnTo>
                  <a:pt x="1716" y="766"/>
                </a:lnTo>
                <a:lnTo>
                  <a:pt x="1721" y="771"/>
                </a:lnTo>
                <a:lnTo>
                  <a:pt x="1725" y="775"/>
                </a:lnTo>
                <a:lnTo>
                  <a:pt x="1729" y="778"/>
                </a:lnTo>
                <a:lnTo>
                  <a:pt x="1733" y="780"/>
                </a:lnTo>
                <a:lnTo>
                  <a:pt x="1742" y="783"/>
                </a:lnTo>
                <a:lnTo>
                  <a:pt x="1749" y="783"/>
                </a:lnTo>
                <a:lnTo>
                  <a:pt x="1756" y="782"/>
                </a:lnTo>
                <a:lnTo>
                  <a:pt x="1761" y="780"/>
                </a:lnTo>
                <a:lnTo>
                  <a:pt x="1765" y="777"/>
                </a:lnTo>
                <a:lnTo>
                  <a:pt x="1766" y="773"/>
                </a:lnTo>
                <a:lnTo>
                  <a:pt x="1767" y="761"/>
                </a:lnTo>
                <a:lnTo>
                  <a:pt x="1768" y="746"/>
                </a:lnTo>
                <a:lnTo>
                  <a:pt x="1770" y="739"/>
                </a:lnTo>
                <a:lnTo>
                  <a:pt x="1772" y="735"/>
                </a:lnTo>
                <a:lnTo>
                  <a:pt x="1773" y="734"/>
                </a:lnTo>
                <a:lnTo>
                  <a:pt x="1774" y="734"/>
                </a:lnTo>
                <a:lnTo>
                  <a:pt x="1776" y="736"/>
                </a:lnTo>
                <a:lnTo>
                  <a:pt x="1778" y="738"/>
                </a:lnTo>
                <a:lnTo>
                  <a:pt x="1782" y="745"/>
                </a:lnTo>
                <a:lnTo>
                  <a:pt x="1784" y="752"/>
                </a:lnTo>
                <a:lnTo>
                  <a:pt x="1786" y="758"/>
                </a:lnTo>
                <a:lnTo>
                  <a:pt x="1786" y="763"/>
                </a:lnTo>
                <a:lnTo>
                  <a:pt x="1787" y="769"/>
                </a:lnTo>
                <a:lnTo>
                  <a:pt x="1788" y="772"/>
                </a:lnTo>
                <a:lnTo>
                  <a:pt x="1789" y="774"/>
                </a:lnTo>
                <a:lnTo>
                  <a:pt x="1791" y="775"/>
                </a:lnTo>
                <a:lnTo>
                  <a:pt x="1794" y="773"/>
                </a:lnTo>
                <a:lnTo>
                  <a:pt x="1796" y="769"/>
                </a:lnTo>
                <a:lnTo>
                  <a:pt x="1797" y="763"/>
                </a:lnTo>
                <a:lnTo>
                  <a:pt x="1798" y="757"/>
                </a:lnTo>
                <a:lnTo>
                  <a:pt x="1800" y="745"/>
                </a:lnTo>
                <a:lnTo>
                  <a:pt x="1801" y="735"/>
                </a:lnTo>
                <a:lnTo>
                  <a:pt x="1801" y="726"/>
                </a:lnTo>
                <a:lnTo>
                  <a:pt x="1801" y="710"/>
                </a:lnTo>
                <a:lnTo>
                  <a:pt x="1801" y="703"/>
                </a:lnTo>
                <a:lnTo>
                  <a:pt x="1804" y="697"/>
                </a:lnTo>
                <a:lnTo>
                  <a:pt x="1805" y="694"/>
                </a:lnTo>
                <a:lnTo>
                  <a:pt x="1806" y="693"/>
                </a:lnTo>
                <a:lnTo>
                  <a:pt x="1808" y="692"/>
                </a:lnTo>
                <a:lnTo>
                  <a:pt x="1810" y="692"/>
                </a:lnTo>
                <a:lnTo>
                  <a:pt x="1815" y="693"/>
                </a:lnTo>
                <a:lnTo>
                  <a:pt x="1820" y="693"/>
                </a:lnTo>
                <a:lnTo>
                  <a:pt x="1826" y="692"/>
                </a:lnTo>
                <a:lnTo>
                  <a:pt x="1830" y="690"/>
                </a:lnTo>
                <a:lnTo>
                  <a:pt x="1839" y="686"/>
                </a:lnTo>
                <a:lnTo>
                  <a:pt x="1843" y="683"/>
                </a:lnTo>
                <a:lnTo>
                  <a:pt x="1849" y="679"/>
                </a:lnTo>
                <a:lnTo>
                  <a:pt x="1858" y="671"/>
                </a:lnTo>
                <a:lnTo>
                  <a:pt x="1867" y="664"/>
                </a:lnTo>
                <a:lnTo>
                  <a:pt x="1873" y="658"/>
                </a:lnTo>
                <a:lnTo>
                  <a:pt x="1873" y="656"/>
                </a:lnTo>
                <a:lnTo>
                  <a:pt x="1872" y="651"/>
                </a:lnTo>
                <a:lnTo>
                  <a:pt x="1870" y="647"/>
                </a:lnTo>
                <a:lnTo>
                  <a:pt x="1866" y="643"/>
                </a:lnTo>
                <a:lnTo>
                  <a:pt x="1862" y="639"/>
                </a:lnTo>
                <a:lnTo>
                  <a:pt x="1858" y="636"/>
                </a:lnTo>
                <a:lnTo>
                  <a:pt x="1853" y="633"/>
                </a:lnTo>
                <a:lnTo>
                  <a:pt x="1848" y="631"/>
                </a:lnTo>
                <a:lnTo>
                  <a:pt x="1839" y="630"/>
                </a:lnTo>
                <a:lnTo>
                  <a:pt x="1832" y="629"/>
                </a:lnTo>
                <a:lnTo>
                  <a:pt x="1829" y="628"/>
                </a:lnTo>
                <a:lnTo>
                  <a:pt x="1827" y="627"/>
                </a:lnTo>
                <a:lnTo>
                  <a:pt x="1825" y="624"/>
                </a:lnTo>
                <a:lnTo>
                  <a:pt x="1825" y="621"/>
                </a:lnTo>
                <a:lnTo>
                  <a:pt x="1825" y="617"/>
                </a:lnTo>
                <a:lnTo>
                  <a:pt x="1826" y="614"/>
                </a:lnTo>
                <a:lnTo>
                  <a:pt x="1829" y="609"/>
                </a:lnTo>
                <a:lnTo>
                  <a:pt x="1831" y="605"/>
                </a:lnTo>
                <a:lnTo>
                  <a:pt x="1833" y="601"/>
                </a:lnTo>
                <a:lnTo>
                  <a:pt x="1834" y="597"/>
                </a:lnTo>
                <a:lnTo>
                  <a:pt x="1833" y="595"/>
                </a:lnTo>
                <a:lnTo>
                  <a:pt x="1832" y="593"/>
                </a:lnTo>
                <a:lnTo>
                  <a:pt x="1831" y="591"/>
                </a:lnTo>
                <a:lnTo>
                  <a:pt x="1829" y="589"/>
                </a:lnTo>
                <a:lnTo>
                  <a:pt x="1816" y="580"/>
                </a:lnTo>
                <a:lnTo>
                  <a:pt x="1801" y="572"/>
                </a:lnTo>
                <a:lnTo>
                  <a:pt x="1794" y="568"/>
                </a:lnTo>
                <a:lnTo>
                  <a:pt x="1789" y="562"/>
                </a:lnTo>
                <a:lnTo>
                  <a:pt x="1787" y="560"/>
                </a:lnTo>
                <a:lnTo>
                  <a:pt x="1786" y="558"/>
                </a:lnTo>
                <a:lnTo>
                  <a:pt x="1785" y="555"/>
                </a:lnTo>
                <a:lnTo>
                  <a:pt x="1785" y="553"/>
                </a:lnTo>
                <a:lnTo>
                  <a:pt x="1786" y="540"/>
                </a:lnTo>
                <a:lnTo>
                  <a:pt x="1786" y="527"/>
                </a:lnTo>
                <a:lnTo>
                  <a:pt x="1785" y="520"/>
                </a:lnTo>
                <a:lnTo>
                  <a:pt x="1784" y="515"/>
                </a:lnTo>
                <a:lnTo>
                  <a:pt x="1782" y="511"/>
                </a:lnTo>
                <a:lnTo>
                  <a:pt x="1777" y="507"/>
                </a:lnTo>
                <a:lnTo>
                  <a:pt x="1766" y="501"/>
                </a:lnTo>
                <a:lnTo>
                  <a:pt x="1753" y="491"/>
                </a:lnTo>
                <a:lnTo>
                  <a:pt x="1747" y="487"/>
                </a:lnTo>
                <a:lnTo>
                  <a:pt x="1742" y="482"/>
                </a:lnTo>
                <a:lnTo>
                  <a:pt x="1739" y="477"/>
                </a:lnTo>
                <a:lnTo>
                  <a:pt x="1738" y="474"/>
                </a:lnTo>
                <a:lnTo>
                  <a:pt x="1737" y="461"/>
                </a:lnTo>
                <a:lnTo>
                  <a:pt x="1734" y="441"/>
                </a:lnTo>
                <a:lnTo>
                  <a:pt x="1732" y="422"/>
                </a:lnTo>
                <a:lnTo>
                  <a:pt x="1729" y="412"/>
                </a:lnTo>
                <a:lnTo>
                  <a:pt x="1724" y="407"/>
                </a:lnTo>
                <a:lnTo>
                  <a:pt x="1717" y="399"/>
                </a:lnTo>
                <a:lnTo>
                  <a:pt x="1713" y="395"/>
                </a:lnTo>
                <a:lnTo>
                  <a:pt x="1709" y="393"/>
                </a:lnTo>
                <a:lnTo>
                  <a:pt x="1707" y="392"/>
                </a:lnTo>
                <a:lnTo>
                  <a:pt x="1705" y="392"/>
                </a:lnTo>
                <a:lnTo>
                  <a:pt x="1704" y="392"/>
                </a:lnTo>
                <a:lnTo>
                  <a:pt x="1703" y="393"/>
                </a:lnTo>
                <a:lnTo>
                  <a:pt x="1700" y="395"/>
                </a:lnTo>
                <a:lnTo>
                  <a:pt x="1696" y="395"/>
                </a:lnTo>
                <a:lnTo>
                  <a:pt x="1691" y="396"/>
                </a:lnTo>
                <a:lnTo>
                  <a:pt x="1687" y="396"/>
                </a:lnTo>
                <a:lnTo>
                  <a:pt x="1683" y="396"/>
                </a:lnTo>
                <a:lnTo>
                  <a:pt x="1681" y="397"/>
                </a:lnTo>
                <a:lnTo>
                  <a:pt x="1680" y="398"/>
                </a:lnTo>
                <a:lnTo>
                  <a:pt x="1681" y="400"/>
                </a:lnTo>
                <a:lnTo>
                  <a:pt x="1694" y="407"/>
                </a:lnTo>
                <a:lnTo>
                  <a:pt x="1701" y="412"/>
                </a:lnTo>
                <a:lnTo>
                  <a:pt x="1701" y="416"/>
                </a:lnTo>
                <a:lnTo>
                  <a:pt x="1701" y="421"/>
                </a:lnTo>
                <a:lnTo>
                  <a:pt x="1700" y="424"/>
                </a:lnTo>
                <a:lnTo>
                  <a:pt x="1699" y="427"/>
                </a:lnTo>
                <a:lnTo>
                  <a:pt x="1696" y="430"/>
                </a:lnTo>
                <a:lnTo>
                  <a:pt x="1693" y="435"/>
                </a:lnTo>
                <a:lnTo>
                  <a:pt x="1684" y="442"/>
                </a:lnTo>
                <a:lnTo>
                  <a:pt x="1677" y="450"/>
                </a:lnTo>
                <a:lnTo>
                  <a:pt x="1675" y="454"/>
                </a:lnTo>
                <a:lnTo>
                  <a:pt x="1673" y="458"/>
                </a:lnTo>
                <a:lnTo>
                  <a:pt x="1673" y="461"/>
                </a:lnTo>
                <a:lnTo>
                  <a:pt x="1674" y="464"/>
                </a:lnTo>
                <a:lnTo>
                  <a:pt x="1681" y="472"/>
                </a:lnTo>
                <a:lnTo>
                  <a:pt x="1689" y="484"/>
                </a:lnTo>
                <a:lnTo>
                  <a:pt x="1694" y="489"/>
                </a:lnTo>
                <a:lnTo>
                  <a:pt x="1696" y="493"/>
                </a:lnTo>
                <a:lnTo>
                  <a:pt x="1696" y="495"/>
                </a:lnTo>
                <a:lnTo>
                  <a:pt x="1696" y="496"/>
                </a:lnTo>
                <a:lnTo>
                  <a:pt x="1696" y="497"/>
                </a:lnTo>
                <a:lnTo>
                  <a:pt x="1694" y="498"/>
                </a:lnTo>
                <a:lnTo>
                  <a:pt x="1685" y="497"/>
                </a:lnTo>
                <a:lnTo>
                  <a:pt x="1675" y="493"/>
                </a:lnTo>
                <a:lnTo>
                  <a:pt x="1669" y="492"/>
                </a:lnTo>
                <a:lnTo>
                  <a:pt x="1666" y="491"/>
                </a:lnTo>
                <a:lnTo>
                  <a:pt x="1663" y="490"/>
                </a:lnTo>
                <a:lnTo>
                  <a:pt x="1662" y="491"/>
                </a:lnTo>
                <a:lnTo>
                  <a:pt x="1660" y="494"/>
                </a:lnTo>
                <a:lnTo>
                  <a:pt x="1657" y="496"/>
                </a:lnTo>
                <a:lnTo>
                  <a:pt x="1656" y="499"/>
                </a:lnTo>
                <a:lnTo>
                  <a:pt x="1655" y="504"/>
                </a:lnTo>
                <a:lnTo>
                  <a:pt x="1661" y="513"/>
                </a:lnTo>
                <a:lnTo>
                  <a:pt x="1673" y="529"/>
                </a:lnTo>
                <a:lnTo>
                  <a:pt x="1684" y="542"/>
                </a:lnTo>
                <a:lnTo>
                  <a:pt x="1689" y="549"/>
                </a:lnTo>
                <a:lnTo>
                  <a:pt x="1688" y="551"/>
                </a:lnTo>
                <a:lnTo>
                  <a:pt x="1687" y="555"/>
                </a:lnTo>
                <a:lnTo>
                  <a:pt x="1683" y="560"/>
                </a:lnTo>
                <a:lnTo>
                  <a:pt x="1677" y="567"/>
                </a:lnTo>
                <a:lnTo>
                  <a:pt x="1668" y="573"/>
                </a:lnTo>
                <a:lnTo>
                  <a:pt x="1662" y="577"/>
                </a:lnTo>
                <a:lnTo>
                  <a:pt x="1659" y="577"/>
                </a:lnTo>
                <a:lnTo>
                  <a:pt x="1657" y="577"/>
                </a:lnTo>
                <a:lnTo>
                  <a:pt x="1655" y="575"/>
                </a:lnTo>
                <a:lnTo>
                  <a:pt x="1654" y="572"/>
                </a:lnTo>
                <a:lnTo>
                  <a:pt x="1653" y="563"/>
                </a:lnTo>
                <a:lnTo>
                  <a:pt x="1650" y="556"/>
                </a:lnTo>
                <a:lnTo>
                  <a:pt x="1647" y="554"/>
                </a:lnTo>
                <a:lnTo>
                  <a:pt x="1646" y="553"/>
                </a:lnTo>
                <a:lnTo>
                  <a:pt x="1644" y="554"/>
                </a:lnTo>
                <a:lnTo>
                  <a:pt x="1642" y="556"/>
                </a:lnTo>
                <a:lnTo>
                  <a:pt x="1639" y="563"/>
                </a:lnTo>
                <a:lnTo>
                  <a:pt x="1638" y="570"/>
                </a:lnTo>
                <a:lnTo>
                  <a:pt x="1638" y="576"/>
                </a:lnTo>
                <a:lnTo>
                  <a:pt x="1639" y="582"/>
                </a:lnTo>
                <a:lnTo>
                  <a:pt x="1641" y="589"/>
                </a:lnTo>
                <a:lnTo>
                  <a:pt x="1646" y="594"/>
                </a:lnTo>
                <a:lnTo>
                  <a:pt x="1652" y="599"/>
                </a:lnTo>
                <a:lnTo>
                  <a:pt x="1659" y="604"/>
                </a:lnTo>
                <a:lnTo>
                  <a:pt x="1666" y="608"/>
                </a:lnTo>
                <a:lnTo>
                  <a:pt x="1674" y="614"/>
                </a:lnTo>
                <a:lnTo>
                  <a:pt x="1683" y="618"/>
                </a:lnTo>
                <a:lnTo>
                  <a:pt x="1695" y="622"/>
                </a:lnTo>
                <a:lnTo>
                  <a:pt x="1697" y="623"/>
                </a:lnTo>
                <a:lnTo>
                  <a:pt x="1698" y="624"/>
                </a:lnTo>
                <a:lnTo>
                  <a:pt x="1698" y="624"/>
                </a:lnTo>
                <a:lnTo>
                  <a:pt x="1697" y="624"/>
                </a:lnTo>
                <a:lnTo>
                  <a:pt x="1693" y="625"/>
                </a:lnTo>
                <a:lnTo>
                  <a:pt x="1686" y="625"/>
                </a:lnTo>
                <a:lnTo>
                  <a:pt x="1679" y="626"/>
                </a:lnTo>
                <a:lnTo>
                  <a:pt x="1673" y="627"/>
                </a:lnTo>
                <a:lnTo>
                  <a:pt x="1669" y="628"/>
                </a:lnTo>
                <a:lnTo>
                  <a:pt x="1667" y="629"/>
                </a:lnTo>
                <a:lnTo>
                  <a:pt x="1665" y="630"/>
                </a:lnTo>
                <a:lnTo>
                  <a:pt x="1664" y="633"/>
                </a:lnTo>
                <a:lnTo>
                  <a:pt x="1665" y="637"/>
                </a:lnTo>
                <a:lnTo>
                  <a:pt x="1667" y="641"/>
                </a:lnTo>
                <a:lnTo>
                  <a:pt x="1671" y="644"/>
                </a:lnTo>
                <a:lnTo>
                  <a:pt x="1675" y="647"/>
                </a:lnTo>
                <a:lnTo>
                  <a:pt x="1679" y="650"/>
                </a:lnTo>
                <a:lnTo>
                  <a:pt x="1684" y="652"/>
                </a:lnTo>
                <a:lnTo>
                  <a:pt x="1688" y="653"/>
                </a:lnTo>
                <a:lnTo>
                  <a:pt x="1691" y="652"/>
                </a:lnTo>
                <a:lnTo>
                  <a:pt x="1705" y="642"/>
                </a:lnTo>
                <a:lnTo>
                  <a:pt x="1717" y="633"/>
                </a:lnTo>
                <a:lnTo>
                  <a:pt x="1722" y="633"/>
                </a:lnTo>
                <a:lnTo>
                  <a:pt x="1729" y="633"/>
                </a:lnTo>
                <a:lnTo>
                  <a:pt x="1732" y="634"/>
                </a:lnTo>
                <a:lnTo>
                  <a:pt x="1735" y="636"/>
                </a:lnTo>
                <a:lnTo>
                  <a:pt x="1738" y="640"/>
                </a:lnTo>
                <a:lnTo>
                  <a:pt x="1738" y="644"/>
                </a:lnTo>
                <a:lnTo>
                  <a:pt x="1744" y="660"/>
                </a:lnTo>
                <a:lnTo>
                  <a:pt x="1749" y="669"/>
                </a:lnTo>
                <a:lnTo>
                  <a:pt x="1746" y="671"/>
                </a:lnTo>
                <a:lnTo>
                  <a:pt x="1743" y="672"/>
                </a:lnTo>
                <a:lnTo>
                  <a:pt x="1738" y="673"/>
                </a:lnTo>
                <a:lnTo>
                  <a:pt x="1732" y="674"/>
                </a:lnTo>
                <a:lnTo>
                  <a:pt x="1722" y="674"/>
                </a:lnTo>
                <a:lnTo>
                  <a:pt x="1715" y="675"/>
                </a:lnTo>
                <a:lnTo>
                  <a:pt x="1706" y="679"/>
                </a:lnTo>
                <a:lnTo>
                  <a:pt x="1694" y="684"/>
                </a:lnTo>
                <a:lnTo>
                  <a:pt x="1683" y="690"/>
                </a:lnTo>
                <a:lnTo>
                  <a:pt x="1677" y="694"/>
                </a:lnTo>
                <a:lnTo>
                  <a:pt x="1677" y="696"/>
                </a:lnTo>
                <a:lnTo>
                  <a:pt x="1678" y="696"/>
                </a:lnTo>
                <a:lnTo>
                  <a:pt x="1680" y="697"/>
                </a:lnTo>
                <a:lnTo>
                  <a:pt x="1682" y="697"/>
                </a:lnTo>
                <a:lnTo>
                  <a:pt x="1686" y="699"/>
                </a:lnTo>
                <a:lnTo>
                  <a:pt x="1688" y="699"/>
                </a:lnTo>
                <a:close/>
                <a:moveTo>
                  <a:pt x="1598" y="1064"/>
                </a:moveTo>
                <a:lnTo>
                  <a:pt x="1601" y="1060"/>
                </a:lnTo>
                <a:lnTo>
                  <a:pt x="1606" y="1052"/>
                </a:lnTo>
                <a:lnTo>
                  <a:pt x="1609" y="1042"/>
                </a:lnTo>
                <a:lnTo>
                  <a:pt x="1613" y="1032"/>
                </a:lnTo>
                <a:lnTo>
                  <a:pt x="1615" y="1021"/>
                </a:lnTo>
                <a:lnTo>
                  <a:pt x="1616" y="1011"/>
                </a:lnTo>
                <a:lnTo>
                  <a:pt x="1617" y="1000"/>
                </a:lnTo>
                <a:lnTo>
                  <a:pt x="1615" y="993"/>
                </a:lnTo>
                <a:lnTo>
                  <a:pt x="1611" y="976"/>
                </a:lnTo>
                <a:lnTo>
                  <a:pt x="1606" y="959"/>
                </a:lnTo>
                <a:lnTo>
                  <a:pt x="1601" y="952"/>
                </a:lnTo>
                <a:lnTo>
                  <a:pt x="1598" y="947"/>
                </a:lnTo>
                <a:lnTo>
                  <a:pt x="1596" y="945"/>
                </a:lnTo>
                <a:lnTo>
                  <a:pt x="1594" y="943"/>
                </a:lnTo>
                <a:lnTo>
                  <a:pt x="1591" y="943"/>
                </a:lnTo>
                <a:lnTo>
                  <a:pt x="1589" y="943"/>
                </a:lnTo>
                <a:lnTo>
                  <a:pt x="1584" y="945"/>
                </a:lnTo>
                <a:lnTo>
                  <a:pt x="1579" y="948"/>
                </a:lnTo>
                <a:lnTo>
                  <a:pt x="1575" y="952"/>
                </a:lnTo>
                <a:lnTo>
                  <a:pt x="1572" y="955"/>
                </a:lnTo>
                <a:lnTo>
                  <a:pt x="1569" y="958"/>
                </a:lnTo>
                <a:lnTo>
                  <a:pt x="1566" y="959"/>
                </a:lnTo>
                <a:lnTo>
                  <a:pt x="1565" y="958"/>
                </a:lnTo>
                <a:lnTo>
                  <a:pt x="1563" y="957"/>
                </a:lnTo>
                <a:lnTo>
                  <a:pt x="1560" y="955"/>
                </a:lnTo>
                <a:lnTo>
                  <a:pt x="1558" y="953"/>
                </a:lnTo>
                <a:lnTo>
                  <a:pt x="1555" y="946"/>
                </a:lnTo>
                <a:lnTo>
                  <a:pt x="1551" y="940"/>
                </a:lnTo>
                <a:lnTo>
                  <a:pt x="1546" y="934"/>
                </a:lnTo>
                <a:lnTo>
                  <a:pt x="1542" y="929"/>
                </a:lnTo>
                <a:lnTo>
                  <a:pt x="1537" y="927"/>
                </a:lnTo>
                <a:lnTo>
                  <a:pt x="1534" y="926"/>
                </a:lnTo>
                <a:lnTo>
                  <a:pt x="1532" y="927"/>
                </a:lnTo>
                <a:lnTo>
                  <a:pt x="1531" y="928"/>
                </a:lnTo>
                <a:lnTo>
                  <a:pt x="1529" y="929"/>
                </a:lnTo>
                <a:lnTo>
                  <a:pt x="1528" y="932"/>
                </a:lnTo>
                <a:lnTo>
                  <a:pt x="1527" y="940"/>
                </a:lnTo>
                <a:lnTo>
                  <a:pt x="1528" y="947"/>
                </a:lnTo>
                <a:lnTo>
                  <a:pt x="1530" y="955"/>
                </a:lnTo>
                <a:lnTo>
                  <a:pt x="1533" y="965"/>
                </a:lnTo>
                <a:lnTo>
                  <a:pt x="1536" y="972"/>
                </a:lnTo>
                <a:lnTo>
                  <a:pt x="1538" y="979"/>
                </a:lnTo>
                <a:lnTo>
                  <a:pt x="1540" y="985"/>
                </a:lnTo>
                <a:lnTo>
                  <a:pt x="1540" y="988"/>
                </a:lnTo>
                <a:lnTo>
                  <a:pt x="1536" y="989"/>
                </a:lnTo>
                <a:lnTo>
                  <a:pt x="1532" y="990"/>
                </a:lnTo>
                <a:lnTo>
                  <a:pt x="1526" y="991"/>
                </a:lnTo>
                <a:lnTo>
                  <a:pt x="1519" y="990"/>
                </a:lnTo>
                <a:lnTo>
                  <a:pt x="1512" y="989"/>
                </a:lnTo>
                <a:lnTo>
                  <a:pt x="1505" y="987"/>
                </a:lnTo>
                <a:lnTo>
                  <a:pt x="1500" y="982"/>
                </a:lnTo>
                <a:lnTo>
                  <a:pt x="1496" y="978"/>
                </a:lnTo>
                <a:lnTo>
                  <a:pt x="1490" y="965"/>
                </a:lnTo>
                <a:lnTo>
                  <a:pt x="1485" y="950"/>
                </a:lnTo>
                <a:lnTo>
                  <a:pt x="1483" y="945"/>
                </a:lnTo>
                <a:lnTo>
                  <a:pt x="1480" y="941"/>
                </a:lnTo>
                <a:lnTo>
                  <a:pt x="1478" y="941"/>
                </a:lnTo>
                <a:lnTo>
                  <a:pt x="1477" y="942"/>
                </a:lnTo>
                <a:lnTo>
                  <a:pt x="1475" y="943"/>
                </a:lnTo>
                <a:lnTo>
                  <a:pt x="1471" y="946"/>
                </a:lnTo>
                <a:lnTo>
                  <a:pt x="1468" y="952"/>
                </a:lnTo>
                <a:lnTo>
                  <a:pt x="1466" y="958"/>
                </a:lnTo>
                <a:lnTo>
                  <a:pt x="1465" y="965"/>
                </a:lnTo>
                <a:lnTo>
                  <a:pt x="1466" y="971"/>
                </a:lnTo>
                <a:lnTo>
                  <a:pt x="1470" y="980"/>
                </a:lnTo>
                <a:lnTo>
                  <a:pt x="1476" y="989"/>
                </a:lnTo>
                <a:lnTo>
                  <a:pt x="1479" y="991"/>
                </a:lnTo>
                <a:lnTo>
                  <a:pt x="1484" y="992"/>
                </a:lnTo>
                <a:lnTo>
                  <a:pt x="1489" y="992"/>
                </a:lnTo>
                <a:lnTo>
                  <a:pt x="1494" y="991"/>
                </a:lnTo>
                <a:lnTo>
                  <a:pt x="1500" y="992"/>
                </a:lnTo>
                <a:lnTo>
                  <a:pt x="1504" y="993"/>
                </a:lnTo>
                <a:lnTo>
                  <a:pt x="1505" y="994"/>
                </a:lnTo>
                <a:lnTo>
                  <a:pt x="1506" y="996"/>
                </a:lnTo>
                <a:lnTo>
                  <a:pt x="1506" y="999"/>
                </a:lnTo>
                <a:lnTo>
                  <a:pt x="1506" y="1003"/>
                </a:lnTo>
                <a:lnTo>
                  <a:pt x="1503" y="1017"/>
                </a:lnTo>
                <a:lnTo>
                  <a:pt x="1501" y="1025"/>
                </a:lnTo>
                <a:lnTo>
                  <a:pt x="1501" y="1030"/>
                </a:lnTo>
                <a:lnTo>
                  <a:pt x="1501" y="1032"/>
                </a:lnTo>
                <a:lnTo>
                  <a:pt x="1502" y="1034"/>
                </a:lnTo>
                <a:lnTo>
                  <a:pt x="1504" y="1036"/>
                </a:lnTo>
                <a:lnTo>
                  <a:pt x="1506" y="1036"/>
                </a:lnTo>
                <a:lnTo>
                  <a:pt x="1510" y="1035"/>
                </a:lnTo>
                <a:lnTo>
                  <a:pt x="1514" y="1033"/>
                </a:lnTo>
                <a:lnTo>
                  <a:pt x="1520" y="1030"/>
                </a:lnTo>
                <a:lnTo>
                  <a:pt x="1525" y="1026"/>
                </a:lnTo>
                <a:lnTo>
                  <a:pt x="1529" y="1023"/>
                </a:lnTo>
                <a:lnTo>
                  <a:pt x="1533" y="1022"/>
                </a:lnTo>
                <a:lnTo>
                  <a:pt x="1537" y="1022"/>
                </a:lnTo>
                <a:lnTo>
                  <a:pt x="1541" y="1024"/>
                </a:lnTo>
                <a:lnTo>
                  <a:pt x="1544" y="1026"/>
                </a:lnTo>
                <a:lnTo>
                  <a:pt x="1546" y="1030"/>
                </a:lnTo>
                <a:lnTo>
                  <a:pt x="1549" y="1034"/>
                </a:lnTo>
                <a:lnTo>
                  <a:pt x="1550" y="1037"/>
                </a:lnTo>
                <a:lnTo>
                  <a:pt x="1551" y="1041"/>
                </a:lnTo>
                <a:lnTo>
                  <a:pt x="1552" y="1045"/>
                </a:lnTo>
                <a:lnTo>
                  <a:pt x="1551" y="1050"/>
                </a:lnTo>
                <a:lnTo>
                  <a:pt x="1546" y="1058"/>
                </a:lnTo>
                <a:lnTo>
                  <a:pt x="1541" y="1068"/>
                </a:lnTo>
                <a:lnTo>
                  <a:pt x="1538" y="1074"/>
                </a:lnTo>
                <a:lnTo>
                  <a:pt x="1537" y="1079"/>
                </a:lnTo>
                <a:lnTo>
                  <a:pt x="1537" y="1082"/>
                </a:lnTo>
                <a:lnTo>
                  <a:pt x="1537" y="1084"/>
                </a:lnTo>
                <a:lnTo>
                  <a:pt x="1538" y="1086"/>
                </a:lnTo>
                <a:lnTo>
                  <a:pt x="1541" y="1088"/>
                </a:lnTo>
                <a:lnTo>
                  <a:pt x="1545" y="1091"/>
                </a:lnTo>
                <a:lnTo>
                  <a:pt x="1549" y="1095"/>
                </a:lnTo>
                <a:lnTo>
                  <a:pt x="1554" y="1097"/>
                </a:lnTo>
                <a:lnTo>
                  <a:pt x="1559" y="1099"/>
                </a:lnTo>
                <a:lnTo>
                  <a:pt x="1565" y="1099"/>
                </a:lnTo>
                <a:lnTo>
                  <a:pt x="1569" y="1099"/>
                </a:lnTo>
                <a:lnTo>
                  <a:pt x="1573" y="1097"/>
                </a:lnTo>
                <a:lnTo>
                  <a:pt x="1577" y="1095"/>
                </a:lnTo>
                <a:lnTo>
                  <a:pt x="1591" y="1076"/>
                </a:lnTo>
                <a:lnTo>
                  <a:pt x="1598" y="1064"/>
                </a:lnTo>
                <a:close/>
                <a:moveTo>
                  <a:pt x="1629" y="902"/>
                </a:moveTo>
                <a:lnTo>
                  <a:pt x="1619" y="903"/>
                </a:lnTo>
                <a:lnTo>
                  <a:pt x="1613" y="904"/>
                </a:lnTo>
                <a:lnTo>
                  <a:pt x="1613" y="907"/>
                </a:lnTo>
                <a:lnTo>
                  <a:pt x="1613" y="909"/>
                </a:lnTo>
                <a:lnTo>
                  <a:pt x="1614" y="912"/>
                </a:lnTo>
                <a:lnTo>
                  <a:pt x="1615" y="915"/>
                </a:lnTo>
                <a:lnTo>
                  <a:pt x="1619" y="921"/>
                </a:lnTo>
                <a:lnTo>
                  <a:pt x="1623" y="927"/>
                </a:lnTo>
                <a:lnTo>
                  <a:pt x="1634" y="943"/>
                </a:lnTo>
                <a:lnTo>
                  <a:pt x="1643" y="957"/>
                </a:lnTo>
                <a:lnTo>
                  <a:pt x="1650" y="970"/>
                </a:lnTo>
                <a:lnTo>
                  <a:pt x="1657" y="984"/>
                </a:lnTo>
                <a:lnTo>
                  <a:pt x="1660" y="989"/>
                </a:lnTo>
                <a:lnTo>
                  <a:pt x="1663" y="993"/>
                </a:lnTo>
                <a:lnTo>
                  <a:pt x="1664" y="996"/>
                </a:lnTo>
                <a:lnTo>
                  <a:pt x="1665" y="998"/>
                </a:lnTo>
                <a:lnTo>
                  <a:pt x="1665" y="1002"/>
                </a:lnTo>
                <a:lnTo>
                  <a:pt x="1664" y="1008"/>
                </a:lnTo>
                <a:lnTo>
                  <a:pt x="1663" y="1015"/>
                </a:lnTo>
                <a:lnTo>
                  <a:pt x="1660" y="1021"/>
                </a:lnTo>
                <a:lnTo>
                  <a:pt x="1657" y="1029"/>
                </a:lnTo>
                <a:lnTo>
                  <a:pt x="1653" y="1035"/>
                </a:lnTo>
                <a:lnTo>
                  <a:pt x="1645" y="1047"/>
                </a:lnTo>
                <a:lnTo>
                  <a:pt x="1640" y="1056"/>
                </a:lnTo>
                <a:lnTo>
                  <a:pt x="1636" y="1060"/>
                </a:lnTo>
                <a:lnTo>
                  <a:pt x="1631" y="1063"/>
                </a:lnTo>
                <a:lnTo>
                  <a:pt x="1629" y="1065"/>
                </a:lnTo>
                <a:lnTo>
                  <a:pt x="1628" y="1068"/>
                </a:lnTo>
                <a:lnTo>
                  <a:pt x="1627" y="1074"/>
                </a:lnTo>
                <a:lnTo>
                  <a:pt x="1627" y="1081"/>
                </a:lnTo>
                <a:lnTo>
                  <a:pt x="1628" y="1088"/>
                </a:lnTo>
                <a:lnTo>
                  <a:pt x="1630" y="1095"/>
                </a:lnTo>
                <a:lnTo>
                  <a:pt x="1631" y="1100"/>
                </a:lnTo>
                <a:lnTo>
                  <a:pt x="1634" y="1103"/>
                </a:lnTo>
                <a:lnTo>
                  <a:pt x="1640" y="1110"/>
                </a:lnTo>
                <a:lnTo>
                  <a:pt x="1650" y="1119"/>
                </a:lnTo>
                <a:lnTo>
                  <a:pt x="1654" y="1123"/>
                </a:lnTo>
                <a:lnTo>
                  <a:pt x="1659" y="1125"/>
                </a:lnTo>
                <a:lnTo>
                  <a:pt x="1665" y="1125"/>
                </a:lnTo>
                <a:lnTo>
                  <a:pt x="1671" y="1123"/>
                </a:lnTo>
                <a:lnTo>
                  <a:pt x="1681" y="1120"/>
                </a:lnTo>
                <a:lnTo>
                  <a:pt x="1690" y="1118"/>
                </a:lnTo>
                <a:lnTo>
                  <a:pt x="1695" y="1118"/>
                </a:lnTo>
                <a:lnTo>
                  <a:pt x="1698" y="1117"/>
                </a:lnTo>
                <a:lnTo>
                  <a:pt x="1701" y="1113"/>
                </a:lnTo>
                <a:lnTo>
                  <a:pt x="1704" y="1110"/>
                </a:lnTo>
                <a:lnTo>
                  <a:pt x="1705" y="1106"/>
                </a:lnTo>
                <a:lnTo>
                  <a:pt x="1706" y="1101"/>
                </a:lnTo>
                <a:lnTo>
                  <a:pt x="1706" y="1095"/>
                </a:lnTo>
                <a:lnTo>
                  <a:pt x="1704" y="1088"/>
                </a:lnTo>
                <a:lnTo>
                  <a:pt x="1702" y="1081"/>
                </a:lnTo>
                <a:lnTo>
                  <a:pt x="1697" y="1075"/>
                </a:lnTo>
                <a:lnTo>
                  <a:pt x="1690" y="1068"/>
                </a:lnTo>
                <a:lnTo>
                  <a:pt x="1684" y="1062"/>
                </a:lnTo>
                <a:lnTo>
                  <a:pt x="1678" y="1056"/>
                </a:lnTo>
                <a:lnTo>
                  <a:pt x="1674" y="1050"/>
                </a:lnTo>
                <a:lnTo>
                  <a:pt x="1673" y="1045"/>
                </a:lnTo>
                <a:lnTo>
                  <a:pt x="1672" y="1042"/>
                </a:lnTo>
                <a:lnTo>
                  <a:pt x="1673" y="1038"/>
                </a:lnTo>
                <a:lnTo>
                  <a:pt x="1674" y="1034"/>
                </a:lnTo>
                <a:lnTo>
                  <a:pt x="1677" y="1025"/>
                </a:lnTo>
                <a:lnTo>
                  <a:pt x="1678" y="1018"/>
                </a:lnTo>
                <a:lnTo>
                  <a:pt x="1679" y="1011"/>
                </a:lnTo>
                <a:lnTo>
                  <a:pt x="1678" y="1004"/>
                </a:lnTo>
                <a:lnTo>
                  <a:pt x="1676" y="996"/>
                </a:lnTo>
                <a:lnTo>
                  <a:pt x="1675" y="993"/>
                </a:lnTo>
                <a:lnTo>
                  <a:pt x="1675" y="991"/>
                </a:lnTo>
                <a:lnTo>
                  <a:pt x="1677" y="987"/>
                </a:lnTo>
                <a:lnTo>
                  <a:pt x="1678" y="985"/>
                </a:lnTo>
                <a:lnTo>
                  <a:pt x="1679" y="981"/>
                </a:lnTo>
                <a:lnTo>
                  <a:pt x="1681" y="980"/>
                </a:lnTo>
                <a:lnTo>
                  <a:pt x="1684" y="978"/>
                </a:lnTo>
                <a:lnTo>
                  <a:pt x="1690" y="971"/>
                </a:lnTo>
                <a:lnTo>
                  <a:pt x="1698" y="960"/>
                </a:lnTo>
                <a:lnTo>
                  <a:pt x="1699" y="959"/>
                </a:lnTo>
                <a:lnTo>
                  <a:pt x="1701" y="957"/>
                </a:lnTo>
                <a:lnTo>
                  <a:pt x="1702" y="957"/>
                </a:lnTo>
                <a:lnTo>
                  <a:pt x="1703" y="958"/>
                </a:lnTo>
                <a:lnTo>
                  <a:pt x="1705" y="963"/>
                </a:lnTo>
                <a:lnTo>
                  <a:pt x="1705" y="973"/>
                </a:lnTo>
                <a:lnTo>
                  <a:pt x="1706" y="979"/>
                </a:lnTo>
                <a:lnTo>
                  <a:pt x="1707" y="986"/>
                </a:lnTo>
                <a:lnTo>
                  <a:pt x="1708" y="991"/>
                </a:lnTo>
                <a:lnTo>
                  <a:pt x="1710" y="996"/>
                </a:lnTo>
                <a:lnTo>
                  <a:pt x="1715" y="1003"/>
                </a:lnTo>
                <a:lnTo>
                  <a:pt x="1719" y="1010"/>
                </a:lnTo>
                <a:lnTo>
                  <a:pt x="1723" y="1014"/>
                </a:lnTo>
                <a:lnTo>
                  <a:pt x="1727" y="1017"/>
                </a:lnTo>
                <a:lnTo>
                  <a:pt x="1729" y="1020"/>
                </a:lnTo>
                <a:lnTo>
                  <a:pt x="1729" y="1022"/>
                </a:lnTo>
                <a:lnTo>
                  <a:pt x="1726" y="1029"/>
                </a:lnTo>
                <a:lnTo>
                  <a:pt x="1721" y="1037"/>
                </a:lnTo>
                <a:lnTo>
                  <a:pt x="1717" y="1044"/>
                </a:lnTo>
                <a:lnTo>
                  <a:pt x="1715" y="1052"/>
                </a:lnTo>
                <a:lnTo>
                  <a:pt x="1715" y="1062"/>
                </a:lnTo>
                <a:lnTo>
                  <a:pt x="1716" y="1080"/>
                </a:lnTo>
                <a:lnTo>
                  <a:pt x="1717" y="1089"/>
                </a:lnTo>
                <a:lnTo>
                  <a:pt x="1719" y="1098"/>
                </a:lnTo>
                <a:lnTo>
                  <a:pt x="1721" y="1102"/>
                </a:lnTo>
                <a:lnTo>
                  <a:pt x="1723" y="1106"/>
                </a:lnTo>
                <a:lnTo>
                  <a:pt x="1725" y="1109"/>
                </a:lnTo>
                <a:lnTo>
                  <a:pt x="1728" y="1111"/>
                </a:lnTo>
                <a:lnTo>
                  <a:pt x="1734" y="1116"/>
                </a:lnTo>
                <a:lnTo>
                  <a:pt x="1740" y="1118"/>
                </a:lnTo>
                <a:lnTo>
                  <a:pt x="1744" y="1119"/>
                </a:lnTo>
                <a:lnTo>
                  <a:pt x="1748" y="1119"/>
                </a:lnTo>
                <a:lnTo>
                  <a:pt x="1752" y="1120"/>
                </a:lnTo>
                <a:lnTo>
                  <a:pt x="1755" y="1120"/>
                </a:lnTo>
                <a:lnTo>
                  <a:pt x="1759" y="1122"/>
                </a:lnTo>
                <a:lnTo>
                  <a:pt x="1762" y="1124"/>
                </a:lnTo>
                <a:lnTo>
                  <a:pt x="1764" y="1125"/>
                </a:lnTo>
                <a:lnTo>
                  <a:pt x="1766" y="1126"/>
                </a:lnTo>
                <a:lnTo>
                  <a:pt x="1767" y="1126"/>
                </a:lnTo>
                <a:lnTo>
                  <a:pt x="1769" y="1125"/>
                </a:lnTo>
                <a:lnTo>
                  <a:pt x="1773" y="1123"/>
                </a:lnTo>
                <a:lnTo>
                  <a:pt x="1778" y="1120"/>
                </a:lnTo>
                <a:lnTo>
                  <a:pt x="1783" y="1118"/>
                </a:lnTo>
                <a:lnTo>
                  <a:pt x="1788" y="1116"/>
                </a:lnTo>
                <a:lnTo>
                  <a:pt x="1790" y="1116"/>
                </a:lnTo>
                <a:lnTo>
                  <a:pt x="1792" y="1116"/>
                </a:lnTo>
                <a:lnTo>
                  <a:pt x="1795" y="1117"/>
                </a:lnTo>
                <a:lnTo>
                  <a:pt x="1797" y="1118"/>
                </a:lnTo>
                <a:lnTo>
                  <a:pt x="1804" y="1125"/>
                </a:lnTo>
                <a:lnTo>
                  <a:pt x="1810" y="1129"/>
                </a:lnTo>
                <a:lnTo>
                  <a:pt x="1821" y="1133"/>
                </a:lnTo>
                <a:lnTo>
                  <a:pt x="1842" y="1136"/>
                </a:lnTo>
                <a:lnTo>
                  <a:pt x="1849" y="1136"/>
                </a:lnTo>
                <a:lnTo>
                  <a:pt x="1854" y="1136"/>
                </a:lnTo>
                <a:lnTo>
                  <a:pt x="1858" y="1136"/>
                </a:lnTo>
                <a:lnTo>
                  <a:pt x="1862" y="1135"/>
                </a:lnTo>
                <a:lnTo>
                  <a:pt x="1869" y="1132"/>
                </a:lnTo>
                <a:lnTo>
                  <a:pt x="1874" y="1129"/>
                </a:lnTo>
                <a:lnTo>
                  <a:pt x="1877" y="1126"/>
                </a:lnTo>
                <a:lnTo>
                  <a:pt x="1879" y="1124"/>
                </a:lnTo>
                <a:lnTo>
                  <a:pt x="1881" y="1124"/>
                </a:lnTo>
                <a:lnTo>
                  <a:pt x="1882" y="1124"/>
                </a:lnTo>
                <a:lnTo>
                  <a:pt x="1883" y="1125"/>
                </a:lnTo>
                <a:lnTo>
                  <a:pt x="1885" y="1126"/>
                </a:lnTo>
                <a:lnTo>
                  <a:pt x="1887" y="1127"/>
                </a:lnTo>
                <a:lnTo>
                  <a:pt x="1889" y="1128"/>
                </a:lnTo>
                <a:lnTo>
                  <a:pt x="1892" y="1128"/>
                </a:lnTo>
                <a:lnTo>
                  <a:pt x="1894" y="1128"/>
                </a:lnTo>
                <a:lnTo>
                  <a:pt x="1899" y="1126"/>
                </a:lnTo>
                <a:lnTo>
                  <a:pt x="1904" y="1123"/>
                </a:lnTo>
                <a:lnTo>
                  <a:pt x="1909" y="1120"/>
                </a:lnTo>
                <a:lnTo>
                  <a:pt x="1914" y="1118"/>
                </a:lnTo>
                <a:lnTo>
                  <a:pt x="1916" y="1118"/>
                </a:lnTo>
                <a:lnTo>
                  <a:pt x="1918" y="1118"/>
                </a:lnTo>
                <a:lnTo>
                  <a:pt x="1920" y="1119"/>
                </a:lnTo>
                <a:lnTo>
                  <a:pt x="1921" y="1120"/>
                </a:lnTo>
                <a:lnTo>
                  <a:pt x="1925" y="1124"/>
                </a:lnTo>
                <a:lnTo>
                  <a:pt x="1930" y="1126"/>
                </a:lnTo>
                <a:lnTo>
                  <a:pt x="1937" y="1128"/>
                </a:lnTo>
                <a:lnTo>
                  <a:pt x="1944" y="1129"/>
                </a:lnTo>
                <a:lnTo>
                  <a:pt x="1960" y="1130"/>
                </a:lnTo>
                <a:lnTo>
                  <a:pt x="1971" y="1131"/>
                </a:lnTo>
                <a:lnTo>
                  <a:pt x="1976" y="1131"/>
                </a:lnTo>
                <a:lnTo>
                  <a:pt x="1982" y="1128"/>
                </a:lnTo>
                <a:lnTo>
                  <a:pt x="1988" y="1125"/>
                </a:lnTo>
                <a:lnTo>
                  <a:pt x="1994" y="1120"/>
                </a:lnTo>
                <a:lnTo>
                  <a:pt x="1998" y="1114"/>
                </a:lnTo>
                <a:lnTo>
                  <a:pt x="2002" y="1110"/>
                </a:lnTo>
                <a:lnTo>
                  <a:pt x="2003" y="1107"/>
                </a:lnTo>
                <a:lnTo>
                  <a:pt x="2003" y="1105"/>
                </a:lnTo>
                <a:lnTo>
                  <a:pt x="2002" y="1103"/>
                </a:lnTo>
                <a:lnTo>
                  <a:pt x="2001" y="1102"/>
                </a:lnTo>
                <a:lnTo>
                  <a:pt x="1993" y="1096"/>
                </a:lnTo>
                <a:lnTo>
                  <a:pt x="1985" y="1091"/>
                </a:lnTo>
                <a:lnTo>
                  <a:pt x="1982" y="1088"/>
                </a:lnTo>
                <a:lnTo>
                  <a:pt x="1980" y="1085"/>
                </a:lnTo>
                <a:lnTo>
                  <a:pt x="1981" y="1082"/>
                </a:lnTo>
                <a:lnTo>
                  <a:pt x="1984" y="1078"/>
                </a:lnTo>
                <a:lnTo>
                  <a:pt x="1992" y="1070"/>
                </a:lnTo>
                <a:lnTo>
                  <a:pt x="1998" y="1064"/>
                </a:lnTo>
                <a:lnTo>
                  <a:pt x="2001" y="1062"/>
                </a:lnTo>
                <a:lnTo>
                  <a:pt x="2001" y="1059"/>
                </a:lnTo>
                <a:lnTo>
                  <a:pt x="2000" y="1056"/>
                </a:lnTo>
                <a:lnTo>
                  <a:pt x="1996" y="1052"/>
                </a:lnTo>
                <a:lnTo>
                  <a:pt x="1985" y="1039"/>
                </a:lnTo>
                <a:lnTo>
                  <a:pt x="1971" y="1024"/>
                </a:lnTo>
                <a:lnTo>
                  <a:pt x="1964" y="1018"/>
                </a:lnTo>
                <a:lnTo>
                  <a:pt x="1957" y="1012"/>
                </a:lnTo>
                <a:lnTo>
                  <a:pt x="1951" y="1009"/>
                </a:lnTo>
                <a:lnTo>
                  <a:pt x="1947" y="1008"/>
                </a:lnTo>
                <a:lnTo>
                  <a:pt x="1938" y="1013"/>
                </a:lnTo>
                <a:lnTo>
                  <a:pt x="1927" y="1020"/>
                </a:lnTo>
                <a:lnTo>
                  <a:pt x="1923" y="1023"/>
                </a:lnTo>
                <a:lnTo>
                  <a:pt x="1918" y="1025"/>
                </a:lnTo>
                <a:lnTo>
                  <a:pt x="1916" y="1025"/>
                </a:lnTo>
                <a:lnTo>
                  <a:pt x="1914" y="1024"/>
                </a:lnTo>
                <a:lnTo>
                  <a:pt x="1913" y="1023"/>
                </a:lnTo>
                <a:lnTo>
                  <a:pt x="1910" y="1021"/>
                </a:lnTo>
                <a:lnTo>
                  <a:pt x="1906" y="1013"/>
                </a:lnTo>
                <a:lnTo>
                  <a:pt x="1904" y="1008"/>
                </a:lnTo>
                <a:lnTo>
                  <a:pt x="1903" y="1007"/>
                </a:lnTo>
                <a:lnTo>
                  <a:pt x="1901" y="1007"/>
                </a:lnTo>
                <a:lnTo>
                  <a:pt x="1899" y="1007"/>
                </a:lnTo>
                <a:lnTo>
                  <a:pt x="1897" y="1009"/>
                </a:lnTo>
                <a:lnTo>
                  <a:pt x="1894" y="1012"/>
                </a:lnTo>
                <a:lnTo>
                  <a:pt x="1893" y="1016"/>
                </a:lnTo>
                <a:lnTo>
                  <a:pt x="1892" y="1020"/>
                </a:lnTo>
                <a:lnTo>
                  <a:pt x="1891" y="1025"/>
                </a:lnTo>
                <a:lnTo>
                  <a:pt x="1888" y="1030"/>
                </a:lnTo>
                <a:lnTo>
                  <a:pt x="1886" y="1034"/>
                </a:lnTo>
                <a:lnTo>
                  <a:pt x="1881" y="1037"/>
                </a:lnTo>
                <a:lnTo>
                  <a:pt x="1875" y="1040"/>
                </a:lnTo>
                <a:lnTo>
                  <a:pt x="1859" y="1043"/>
                </a:lnTo>
                <a:lnTo>
                  <a:pt x="1845" y="1045"/>
                </a:lnTo>
                <a:lnTo>
                  <a:pt x="1835" y="1046"/>
                </a:lnTo>
                <a:lnTo>
                  <a:pt x="1832" y="1047"/>
                </a:lnTo>
                <a:lnTo>
                  <a:pt x="1831" y="1043"/>
                </a:lnTo>
                <a:lnTo>
                  <a:pt x="1829" y="1036"/>
                </a:lnTo>
                <a:lnTo>
                  <a:pt x="1827" y="1033"/>
                </a:lnTo>
                <a:lnTo>
                  <a:pt x="1823" y="1031"/>
                </a:lnTo>
                <a:lnTo>
                  <a:pt x="1822" y="1031"/>
                </a:lnTo>
                <a:lnTo>
                  <a:pt x="1820" y="1031"/>
                </a:lnTo>
                <a:lnTo>
                  <a:pt x="1818" y="1032"/>
                </a:lnTo>
                <a:lnTo>
                  <a:pt x="1816" y="1034"/>
                </a:lnTo>
                <a:lnTo>
                  <a:pt x="1803" y="1046"/>
                </a:lnTo>
                <a:lnTo>
                  <a:pt x="1799" y="1051"/>
                </a:lnTo>
                <a:lnTo>
                  <a:pt x="1792" y="1043"/>
                </a:lnTo>
                <a:lnTo>
                  <a:pt x="1770" y="1022"/>
                </a:lnTo>
                <a:lnTo>
                  <a:pt x="1764" y="1016"/>
                </a:lnTo>
                <a:lnTo>
                  <a:pt x="1759" y="1011"/>
                </a:lnTo>
                <a:lnTo>
                  <a:pt x="1755" y="1006"/>
                </a:lnTo>
                <a:lnTo>
                  <a:pt x="1754" y="1001"/>
                </a:lnTo>
                <a:lnTo>
                  <a:pt x="1753" y="998"/>
                </a:lnTo>
                <a:lnTo>
                  <a:pt x="1754" y="995"/>
                </a:lnTo>
                <a:lnTo>
                  <a:pt x="1755" y="993"/>
                </a:lnTo>
                <a:lnTo>
                  <a:pt x="1757" y="992"/>
                </a:lnTo>
                <a:lnTo>
                  <a:pt x="1759" y="991"/>
                </a:lnTo>
                <a:lnTo>
                  <a:pt x="1759" y="991"/>
                </a:lnTo>
                <a:lnTo>
                  <a:pt x="1757" y="990"/>
                </a:lnTo>
                <a:lnTo>
                  <a:pt x="1756" y="990"/>
                </a:lnTo>
                <a:lnTo>
                  <a:pt x="1752" y="988"/>
                </a:lnTo>
                <a:lnTo>
                  <a:pt x="1746" y="987"/>
                </a:lnTo>
                <a:lnTo>
                  <a:pt x="1741" y="985"/>
                </a:lnTo>
                <a:lnTo>
                  <a:pt x="1737" y="981"/>
                </a:lnTo>
                <a:lnTo>
                  <a:pt x="1735" y="980"/>
                </a:lnTo>
                <a:lnTo>
                  <a:pt x="1734" y="979"/>
                </a:lnTo>
                <a:lnTo>
                  <a:pt x="1735" y="978"/>
                </a:lnTo>
                <a:lnTo>
                  <a:pt x="1737" y="976"/>
                </a:lnTo>
                <a:lnTo>
                  <a:pt x="1753" y="964"/>
                </a:lnTo>
                <a:lnTo>
                  <a:pt x="1763" y="957"/>
                </a:lnTo>
                <a:lnTo>
                  <a:pt x="1765" y="951"/>
                </a:lnTo>
                <a:lnTo>
                  <a:pt x="1768" y="941"/>
                </a:lnTo>
                <a:lnTo>
                  <a:pt x="1771" y="936"/>
                </a:lnTo>
                <a:lnTo>
                  <a:pt x="1774" y="934"/>
                </a:lnTo>
                <a:lnTo>
                  <a:pt x="1776" y="934"/>
                </a:lnTo>
                <a:lnTo>
                  <a:pt x="1777" y="935"/>
                </a:lnTo>
                <a:lnTo>
                  <a:pt x="1779" y="937"/>
                </a:lnTo>
                <a:lnTo>
                  <a:pt x="1782" y="941"/>
                </a:lnTo>
                <a:lnTo>
                  <a:pt x="1786" y="948"/>
                </a:lnTo>
                <a:lnTo>
                  <a:pt x="1790" y="953"/>
                </a:lnTo>
                <a:lnTo>
                  <a:pt x="1794" y="958"/>
                </a:lnTo>
                <a:lnTo>
                  <a:pt x="1798" y="962"/>
                </a:lnTo>
                <a:lnTo>
                  <a:pt x="1804" y="964"/>
                </a:lnTo>
                <a:lnTo>
                  <a:pt x="1809" y="965"/>
                </a:lnTo>
                <a:lnTo>
                  <a:pt x="1814" y="965"/>
                </a:lnTo>
                <a:lnTo>
                  <a:pt x="1820" y="964"/>
                </a:lnTo>
                <a:lnTo>
                  <a:pt x="1823" y="964"/>
                </a:lnTo>
                <a:lnTo>
                  <a:pt x="1827" y="962"/>
                </a:lnTo>
                <a:lnTo>
                  <a:pt x="1829" y="959"/>
                </a:lnTo>
                <a:lnTo>
                  <a:pt x="1831" y="957"/>
                </a:lnTo>
                <a:lnTo>
                  <a:pt x="1835" y="952"/>
                </a:lnTo>
                <a:lnTo>
                  <a:pt x="1839" y="946"/>
                </a:lnTo>
                <a:lnTo>
                  <a:pt x="1842" y="942"/>
                </a:lnTo>
                <a:lnTo>
                  <a:pt x="1845" y="940"/>
                </a:lnTo>
                <a:lnTo>
                  <a:pt x="1848" y="940"/>
                </a:lnTo>
                <a:lnTo>
                  <a:pt x="1850" y="941"/>
                </a:lnTo>
                <a:lnTo>
                  <a:pt x="1851" y="943"/>
                </a:lnTo>
                <a:lnTo>
                  <a:pt x="1853" y="946"/>
                </a:lnTo>
                <a:lnTo>
                  <a:pt x="1858" y="952"/>
                </a:lnTo>
                <a:lnTo>
                  <a:pt x="1863" y="957"/>
                </a:lnTo>
                <a:lnTo>
                  <a:pt x="1870" y="962"/>
                </a:lnTo>
                <a:lnTo>
                  <a:pt x="1875" y="963"/>
                </a:lnTo>
                <a:lnTo>
                  <a:pt x="1880" y="963"/>
                </a:lnTo>
                <a:lnTo>
                  <a:pt x="1884" y="962"/>
                </a:lnTo>
                <a:lnTo>
                  <a:pt x="1888" y="959"/>
                </a:lnTo>
                <a:lnTo>
                  <a:pt x="1891" y="957"/>
                </a:lnTo>
                <a:lnTo>
                  <a:pt x="1892" y="949"/>
                </a:lnTo>
                <a:lnTo>
                  <a:pt x="1894" y="943"/>
                </a:lnTo>
                <a:lnTo>
                  <a:pt x="1895" y="941"/>
                </a:lnTo>
                <a:lnTo>
                  <a:pt x="1897" y="940"/>
                </a:lnTo>
                <a:lnTo>
                  <a:pt x="1899" y="941"/>
                </a:lnTo>
                <a:lnTo>
                  <a:pt x="1901" y="943"/>
                </a:lnTo>
                <a:lnTo>
                  <a:pt x="1907" y="949"/>
                </a:lnTo>
                <a:lnTo>
                  <a:pt x="1911" y="953"/>
                </a:lnTo>
                <a:lnTo>
                  <a:pt x="1916" y="956"/>
                </a:lnTo>
                <a:lnTo>
                  <a:pt x="1920" y="957"/>
                </a:lnTo>
                <a:lnTo>
                  <a:pt x="1925" y="956"/>
                </a:lnTo>
                <a:lnTo>
                  <a:pt x="1932" y="952"/>
                </a:lnTo>
                <a:lnTo>
                  <a:pt x="1939" y="949"/>
                </a:lnTo>
                <a:lnTo>
                  <a:pt x="1946" y="948"/>
                </a:lnTo>
                <a:lnTo>
                  <a:pt x="1951" y="949"/>
                </a:lnTo>
                <a:lnTo>
                  <a:pt x="1956" y="950"/>
                </a:lnTo>
                <a:lnTo>
                  <a:pt x="1962" y="953"/>
                </a:lnTo>
                <a:lnTo>
                  <a:pt x="1968" y="957"/>
                </a:lnTo>
                <a:lnTo>
                  <a:pt x="1982" y="966"/>
                </a:lnTo>
                <a:lnTo>
                  <a:pt x="1993" y="974"/>
                </a:lnTo>
                <a:lnTo>
                  <a:pt x="1998" y="975"/>
                </a:lnTo>
                <a:lnTo>
                  <a:pt x="2003" y="975"/>
                </a:lnTo>
                <a:lnTo>
                  <a:pt x="2005" y="974"/>
                </a:lnTo>
                <a:lnTo>
                  <a:pt x="2007" y="973"/>
                </a:lnTo>
                <a:lnTo>
                  <a:pt x="2009" y="971"/>
                </a:lnTo>
                <a:lnTo>
                  <a:pt x="2011" y="968"/>
                </a:lnTo>
                <a:lnTo>
                  <a:pt x="2022" y="951"/>
                </a:lnTo>
                <a:lnTo>
                  <a:pt x="2029" y="940"/>
                </a:lnTo>
                <a:lnTo>
                  <a:pt x="2034" y="932"/>
                </a:lnTo>
                <a:lnTo>
                  <a:pt x="2040" y="926"/>
                </a:lnTo>
                <a:lnTo>
                  <a:pt x="2042" y="923"/>
                </a:lnTo>
                <a:lnTo>
                  <a:pt x="2044" y="920"/>
                </a:lnTo>
                <a:lnTo>
                  <a:pt x="2042" y="916"/>
                </a:lnTo>
                <a:lnTo>
                  <a:pt x="2039" y="912"/>
                </a:lnTo>
                <a:lnTo>
                  <a:pt x="2034" y="909"/>
                </a:lnTo>
                <a:lnTo>
                  <a:pt x="2029" y="907"/>
                </a:lnTo>
                <a:lnTo>
                  <a:pt x="2023" y="905"/>
                </a:lnTo>
                <a:lnTo>
                  <a:pt x="2016" y="903"/>
                </a:lnTo>
                <a:lnTo>
                  <a:pt x="2004" y="900"/>
                </a:lnTo>
                <a:lnTo>
                  <a:pt x="1992" y="894"/>
                </a:lnTo>
                <a:lnTo>
                  <a:pt x="1982" y="888"/>
                </a:lnTo>
                <a:lnTo>
                  <a:pt x="1973" y="884"/>
                </a:lnTo>
                <a:lnTo>
                  <a:pt x="1969" y="883"/>
                </a:lnTo>
                <a:lnTo>
                  <a:pt x="1966" y="882"/>
                </a:lnTo>
                <a:lnTo>
                  <a:pt x="1963" y="883"/>
                </a:lnTo>
                <a:lnTo>
                  <a:pt x="1960" y="884"/>
                </a:lnTo>
                <a:lnTo>
                  <a:pt x="1957" y="886"/>
                </a:lnTo>
                <a:lnTo>
                  <a:pt x="1952" y="887"/>
                </a:lnTo>
                <a:lnTo>
                  <a:pt x="1948" y="888"/>
                </a:lnTo>
                <a:lnTo>
                  <a:pt x="1944" y="888"/>
                </a:lnTo>
                <a:lnTo>
                  <a:pt x="1940" y="887"/>
                </a:lnTo>
                <a:lnTo>
                  <a:pt x="1938" y="886"/>
                </a:lnTo>
                <a:lnTo>
                  <a:pt x="1938" y="883"/>
                </a:lnTo>
                <a:lnTo>
                  <a:pt x="1941" y="880"/>
                </a:lnTo>
                <a:lnTo>
                  <a:pt x="1948" y="870"/>
                </a:lnTo>
                <a:lnTo>
                  <a:pt x="1956" y="860"/>
                </a:lnTo>
                <a:lnTo>
                  <a:pt x="1959" y="856"/>
                </a:lnTo>
                <a:lnTo>
                  <a:pt x="1962" y="854"/>
                </a:lnTo>
                <a:lnTo>
                  <a:pt x="1963" y="853"/>
                </a:lnTo>
                <a:lnTo>
                  <a:pt x="1964" y="853"/>
                </a:lnTo>
                <a:lnTo>
                  <a:pt x="1965" y="854"/>
                </a:lnTo>
                <a:lnTo>
                  <a:pt x="1966" y="855"/>
                </a:lnTo>
                <a:lnTo>
                  <a:pt x="1969" y="859"/>
                </a:lnTo>
                <a:lnTo>
                  <a:pt x="1972" y="862"/>
                </a:lnTo>
                <a:lnTo>
                  <a:pt x="1978" y="865"/>
                </a:lnTo>
                <a:lnTo>
                  <a:pt x="1985" y="867"/>
                </a:lnTo>
                <a:lnTo>
                  <a:pt x="1991" y="870"/>
                </a:lnTo>
                <a:lnTo>
                  <a:pt x="1995" y="870"/>
                </a:lnTo>
                <a:lnTo>
                  <a:pt x="2001" y="868"/>
                </a:lnTo>
                <a:lnTo>
                  <a:pt x="2014" y="864"/>
                </a:lnTo>
                <a:lnTo>
                  <a:pt x="2023" y="861"/>
                </a:lnTo>
                <a:lnTo>
                  <a:pt x="2029" y="857"/>
                </a:lnTo>
                <a:lnTo>
                  <a:pt x="2033" y="852"/>
                </a:lnTo>
                <a:lnTo>
                  <a:pt x="2036" y="846"/>
                </a:lnTo>
                <a:lnTo>
                  <a:pt x="2037" y="841"/>
                </a:lnTo>
                <a:lnTo>
                  <a:pt x="2037" y="836"/>
                </a:lnTo>
                <a:lnTo>
                  <a:pt x="2036" y="832"/>
                </a:lnTo>
                <a:lnTo>
                  <a:pt x="2034" y="827"/>
                </a:lnTo>
                <a:lnTo>
                  <a:pt x="2027" y="822"/>
                </a:lnTo>
                <a:lnTo>
                  <a:pt x="2019" y="817"/>
                </a:lnTo>
                <a:lnTo>
                  <a:pt x="2017" y="815"/>
                </a:lnTo>
                <a:lnTo>
                  <a:pt x="2016" y="813"/>
                </a:lnTo>
                <a:lnTo>
                  <a:pt x="2016" y="812"/>
                </a:lnTo>
                <a:lnTo>
                  <a:pt x="2019" y="812"/>
                </a:lnTo>
                <a:lnTo>
                  <a:pt x="2030" y="811"/>
                </a:lnTo>
                <a:lnTo>
                  <a:pt x="2041" y="811"/>
                </a:lnTo>
                <a:lnTo>
                  <a:pt x="2054" y="811"/>
                </a:lnTo>
                <a:lnTo>
                  <a:pt x="2063" y="809"/>
                </a:lnTo>
                <a:lnTo>
                  <a:pt x="2066" y="807"/>
                </a:lnTo>
                <a:lnTo>
                  <a:pt x="2066" y="805"/>
                </a:lnTo>
                <a:lnTo>
                  <a:pt x="2066" y="804"/>
                </a:lnTo>
                <a:lnTo>
                  <a:pt x="2064" y="802"/>
                </a:lnTo>
                <a:lnTo>
                  <a:pt x="2062" y="799"/>
                </a:lnTo>
                <a:lnTo>
                  <a:pt x="2059" y="794"/>
                </a:lnTo>
                <a:lnTo>
                  <a:pt x="2056" y="790"/>
                </a:lnTo>
                <a:lnTo>
                  <a:pt x="2054" y="787"/>
                </a:lnTo>
                <a:lnTo>
                  <a:pt x="2054" y="784"/>
                </a:lnTo>
                <a:lnTo>
                  <a:pt x="2054" y="783"/>
                </a:lnTo>
                <a:lnTo>
                  <a:pt x="2055" y="782"/>
                </a:lnTo>
                <a:lnTo>
                  <a:pt x="2057" y="781"/>
                </a:lnTo>
                <a:lnTo>
                  <a:pt x="2069" y="782"/>
                </a:lnTo>
                <a:lnTo>
                  <a:pt x="2080" y="784"/>
                </a:lnTo>
                <a:lnTo>
                  <a:pt x="2084" y="784"/>
                </a:lnTo>
                <a:lnTo>
                  <a:pt x="2089" y="782"/>
                </a:lnTo>
                <a:lnTo>
                  <a:pt x="2090" y="780"/>
                </a:lnTo>
                <a:lnTo>
                  <a:pt x="2091" y="778"/>
                </a:lnTo>
                <a:lnTo>
                  <a:pt x="2091" y="775"/>
                </a:lnTo>
                <a:lnTo>
                  <a:pt x="2092" y="771"/>
                </a:lnTo>
                <a:lnTo>
                  <a:pt x="2091" y="767"/>
                </a:lnTo>
                <a:lnTo>
                  <a:pt x="2090" y="763"/>
                </a:lnTo>
                <a:lnTo>
                  <a:pt x="2088" y="760"/>
                </a:lnTo>
                <a:lnTo>
                  <a:pt x="2086" y="758"/>
                </a:lnTo>
                <a:lnTo>
                  <a:pt x="2081" y="754"/>
                </a:lnTo>
                <a:lnTo>
                  <a:pt x="2077" y="752"/>
                </a:lnTo>
                <a:lnTo>
                  <a:pt x="2073" y="750"/>
                </a:lnTo>
                <a:lnTo>
                  <a:pt x="2070" y="749"/>
                </a:lnTo>
                <a:lnTo>
                  <a:pt x="2070" y="748"/>
                </a:lnTo>
                <a:lnTo>
                  <a:pt x="2073" y="747"/>
                </a:lnTo>
                <a:lnTo>
                  <a:pt x="2082" y="744"/>
                </a:lnTo>
                <a:lnTo>
                  <a:pt x="2092" y="739"/>
                </a:lnTo>
                <a:lnTo>
                  <a:pt x="2095" y="737"/>
                </a:lnTo>
                <a:lnTo>
                  <a:pt x="2098" y="735"/>
                </a:lnTo>
                <a:lnTo>
                  <a:pt x="2100" y="733"/>
                </a:lnTo>
                <a:lnTo>
                  <a:pt x="2100" y="731"/>
                </a:lnTo>
                <a:lnTo>
                  <a:pt x="2101" y="726"/>
                </a:lnTo>
                <a:lnTo>
                  <a:pt x="2103" y="721"/>
                </a:lnTo>
                <a:lnTo>
                  <a:pt x="2103" y="717"/>
                </a:lnTo>
                <a:lnTo>
                  <a:pt x="2102" y="714"/>
                </a:lnTo>
                <a:lnTo>
                  <a:pt x="2099" y="711"/>
                </a:lnTo>
                <a:lnTo>
                  <a:pt x="2094" y="708"/>
                </a:lnTo>
                <a:lnTo>
                  <a:pt x="2082" y="700"/>
                </a:lnTo>
                <a:lnTo>
                  <a:pt x="2072" y="692"/>
                </a:lnTo>
                <a:lnTo>
                  <a:pt x="2067" y="690"/>
                </a:lnTo>
                <a:lnTo>
                  <a:pt x="2062" y="689"/>
                </a:lnTo>
                <a:lnTo>
                  <a:pt x="2058" y="688"/>
                </a:lnTo>
                <a:lnTo>
                  <a:pt x="2055" y="690"/>
                </a:lnTo>
                <a:lnTo>
                  <a:pt x="2054" y="693"/>
                </a:lnTo>
                <a:lnTo>
                  <a:pt x="2053" y="697"/>
                </a:lnTo>
                <a:lnTo>
                  <a:pt x="2053" y="702"/>
                </a:lnTo>
                <a:lnTo>
                  <a:pt x="2053" y="705"/>
                </a:lnTo>
                <a:lnTo>
                  <a:pt x="2053" y="706"/>
                </a:lnTo>
                <a:lnTo>
                  <a:pt x="2052" y="707"/>
                </a:lnTo>
                <a:lnTo>
                  <a:pt x="2051" y="708"/>
                </a:lnTo>
                <a:lnTo>
                  <a:pt x="2050" y="708"/>
                </a:lnTo>
                <a:lnTo>
                  <a:pt x="2045" y="707"/>
                </a:lnTo>
                <a:lnTo>
                  <a:pt x="2037" y="703"/>
                </a:lnTo>
                <a:lnTo>
                  <a:pt x="2033" y="700"/>
                </a:lnTo>
                <a:lnTo>
                  <a:pt x="2030" y="697"/>
                </a:lnTo>
                <a:lnTo>
                  <a:pt x="2029" y="695"/>
                </a:lnTo>
                <a:lnTo>
                  <a:pt x="2028" y="693"/>
                </a:lnTo>
                <a:lnTo>
                  <a:pt x="2030" y="690"/>
                </a:lnTo>
                <a:lnTo>
                  <a:pt x="2034" y="687"/>
                </a:lnTo>
                <a:lnTo>
                  <a:pt x="2039" y="685"/>
                </a:lnTo>
                <a:lnTo>
                  <a:pt x="2045" y="682"/>
                </a:lnTo>
                <a:lnTo>
                  <a:pt x="2046" y="681"/>
                </a:lnTo>
                <a:lnTo>
                  <a:pt x="2048" y="680"/>
                </a:lnTo>
                <a:lnTo>
                  <a:pt x="2049" y="678"/>
                </a:lnTo>
                <a:lnTo>
                  <a:pt x="2048" y="675"/>
                </a:lnTo>
                <a:lnTo>
                  <a:pt x="2046" y="669"/>
                </a:lnTo>
                <a:lnTo>
                  <a:pt x="2045" y="664"/>
                </a:lnTo>
                <a:lnTo>
                  <a:pt x="2045" y="661"/>
                </a:lnTo>
                <a:lnTo>
                  <a:pt x="2045" y="659"/>
                </a:lnTo>
                <a:lnTo>
                  <a:pt x="2046" y="657"/>
                </a:lnTo>
                <a:lnTo>
                  <a:pt x="2047" y="655"/>
                </a:lnTo>
                <a:lnTo>
                  <a:pt x="2050" y="647"/>
                </a:lnTo>
                <a:lnTo>
                  <a:pt x="2051" y="639"/>
                </a:lnTo>
                <a:lnTo>
                  <a:pt x="2052" y="636"/>
                </a:lnTo>
                <a:lnTo>
                  <a:pt x="2054" y="634"/>
                </a:lnTo>
                <a:lnTo>
                  <a:pt x="2057" y="635"/>
                </a:lnTo>
                <a:lnTo>
                  <a:pt x="2062" y="639"/>
                </a:lnTo>
                <a:lnTo>
                  <a:pt x="2073" y="650"/>
                </a:lnTo>
                <a:lnTo>
                  <a:pt x="2082" y="658"/>
                </a:lnTo>
                <a:lnTo>
                  <a:pt x="2086" y="659"/>
                </a:lnTo>
                <a:lnTo>
                  <a:pt x="2092" y="659"/>
                </a:lnTo>
                <a:lnTo>
                  <a:pt x="2097" y="656"/>
                </a:lnTo>
                <a:lnTo>
                  <a:pt x="2102" y="650"/>
                </a:lnTo>
                <a:lnTo>
                  <a:pt x="2115" y="639"/>
                </a:lnTo>
                <a:lnTo>
                  <a:pt x="2123" y="631"/>
                </a:lnTo>
                <a:lnTo>
                  <a:pt x="2125" y="628"/>
                </a:lnTo>
                <a:lnTo>
                  <a:pt x="2127" y="625"/>
                </a:lnTo>
                <a:lnTo>
                  <a:pt x="2128" y="622"/>
                </a:lnTo>
                <a:lnTo>
                  <a:pt x="2127" y="619"/>
                </a:lnTo>
                <a:lnTo>
                  <a:pt x="2122" y="608"/>
                </a:lnTo>
                <a:lnTo>
                  <a:pt x="2115" y="599"/>
                </a:lnTo>
                <a:lnTo>
                  <a:pt x="2113" y="595"/>
                </a:lnTo>
                <a:lnTo>
                  <a:pt x="2111" y="592"/>
                </a:lnTo>
                <a:lnTo>
                  <a:pt x="2111" y="590"/>
                </a:lnTo>
                <a:lnTo>
                  <a:pt x="2112" y="590"/>
                </a:lnTo>
                <a:lnTo>
                  <a:pt x="2113" y="589"/>
                </a:lnTo>
                <a:lnTo>
                  <a:pt x="2114" y="589"/>
                </a:lnTo>
                <a:lnTo>
                  <a:pt x="2119" y="591"/>
                </a:lnTo>
                <a:lnTo>
                  <a:pt x="2126" y="595"/>
                </a:lnTo>
                <a:lnTo>
                  <a:pt x="2135" y="601"/>
                </a:lnTo>
                <a:lnTo>
                  <a:pt x="2143" y="607"/>
                </a:lnTo>
                <a:lnTo>
                  <a:pt x="2151" y="613"/>
                </a:lnTo>
                <a:lnTo>
                  <a:pt x="2159" y="617"/>
                </a:lnTo>
                <a:lnTo>
                  <a:pt x="2161" y="617"/>
                </a:lnTo>
                <a:lnTo>
                  <a:pt x="2164" y="617"/>
                </a:lnTo>
                <a:lnTo>
                  <a:pt x="2165" y="616"/>
                </a:lnTo>
                <a:lnTo>
                  <a:pt x="2166" y="614"/>
                </a:lnTo>
                <a:lnTo>
                  <a:pt x="2166" y="607"/>
                </a:lnTo>
                <a:lnTo>
                  <a:pt x="2163" y="601"/>
                </a:lnTo>
                <a:lnTo>
                  <a:pt x="2160" y="596"/>
                </a:lnTo>
                <a:lnTo>
                  <a:pt x="2156" y="591"/>
                </a:lnTo>
                <a:lnTo>
                  <a:pt x="2151" y="584"/>
                </a:lnTo>
                <a:lnTo>
                  <a:pt x="2149" y="579"/>
                </a:lnTo>
                <a:lnTo>
                  <a:pt x="2149" y="576"/>
                </a:lnTo>
                <a:lnTo>
                  <a:pt x="2149" y="573"/>
                </a:lnTo>
                <a:lnTo>
                  <a:pt x="2150" y="570"/>
                </a:lnTo>
                <a:lnTo>
                  <a:pt x="2151" y="567"/>
                </a:lnTo>
                <a:lnTo>
                  <a:pt x="2156" y="560"/>
                </a:lnTo>
                <a:lnTo>
                  <a:pt x="2160" y="556"/>
                </a:lnTo>
                <a:lnTo>
                  <a:pt x="2163" y="552"/>
                </a:lnTo>
                <a:lnTo>
                  <a:pt x="2167" y="550"/>
                </a:lnTo>
                <a:lnTo>
                  <a:pt x="2177" y="546"/>
                </a:lnTo>
                <a:lnTo>
                  <a:pt x="2188" y="540"/>
                </a:lnTo>
                <a:lnTo>
                  <a:pt x="2193" y="537"/>
                </a:lnTo>
                <a:lnTo>
                  <a:pt x="2199" y="534"/>
                </a:lnTo>
                <a:lnTo>
                  <a:pt x="2203" y="531"/>
                </a:lnTo>
                <a:lnTo>
                  <a:pt x="2206" y="528"/>
                </a:lnTo>
                <a:lnTo>
                  <a:pt x="2208" y="524"/>
                </a:lnTo>
                <a:lnTo>
                  <a:pt x="2210" y="519"/>
                </a:lnTo>
                <a:lnTo>
                  <a:pt x="2212" y="514"/>
                </a:lnTo>
                <a:lnTo>
                  <a:pt x="2213" y="509"/>
                </a:lnTo>
                <a:lnTo>
                  <a:pt x="2215" y="503"/>
                </a:lnTo>
                <a:lnTo>
                  <a:pt x="2218" y="497"/>
                </a:lnTo>
                <a:lnTo>
                  <a:pt x="2224" y="492"/>
                </a:lnTo>
                <a:lnTo>
                  <a:pt x="2229" y="487"/>
                </a:lnTo>
                <a:lnTo>
                  <a:pt x="2240" y="476"/>
                </a:lnTo>
                <a:lnTo>
                  <a:pt x="2251" y="466"/>
                </a:lnTo>
                <a:lnTo>
                  <a:pt x="2271" y="445"/>
                </a:lnTo>
                <a:lnTo>
                  <a:pt x="2302" y="415"/>
                </a:lnTo>
                <a:lnTo>
                  <a:pt x="2316" y="399"/>
                </a:lnTo>
                <a:lnTo>
                  <a:pt x="2327" y="385"/>
                </a:lnTo>
                <a:lnTo>
                  <a:pt x="2331" y="380"/>
                </a:lnTo>
                <a:lnTo>
                  <a:pt x="2333" y="375"/>
                </a:lnTo>
                <a:lnTo>
                  <a:pt x="2333" y="373"/>
                </a:lnTo>
                <a:lnTo>
                  <a:pt x="2333" y="371"/>
                </a:lnTo>
                <a:lnTo>
                  <a:pt x="2332" y="370"/>
                </a:lnTo>
                <a:lnTo>
                  <a:pt x="2331" y="368"/>
                </a:lnTo>
                <a:lnTo>
                  <a:pt x="2325" y="367"/>
                </a:lnTo>
                <a:lnTo>
                  <a:pt x="2319" y="367"/>
                </a:lnTo>
                <a:lnTo>
                  <a:pt x="2312" y="371"/>
                </a:lnTo>
                <a:lnTo>
                  <a:pt x="2303" y="374"/>
                </a:lnTo>
                <a:lnTo>
                  <a:pt x="2282" y="383"/>
                </a:lnTo>
                <a:lnTo>
                  <a:pt x="2260" y="395"/>
                </a:lnTo>
                <a:lnTo>
                  <a:pt x="2239" y="406"/>
                </a:lnTo>
                <a:lnTo>
                  <a:pt x="2222" y="415"/>
                </a:lnTo>
                <a:lnTo>
                  <a:pt x="2215" y="418"/>
                </a:lnTo>
                <a:lnTo>
                  <a:pt x="2210" y="419"/>
                </a:lnTo>
                <a:lnTo>
                  <a:pt x="2208" y="420"/>
                </a:lnTo>
                <a:lnTo>
                  <a:pt x="2206" y="419"/>
                </a:lnTo>
                <a:lnTo>
                  <a:pt x="2205" y="419"/>
                </a:lnTo>
                <a:lnTo>
                  <a:pt x="2205" y="418"/>
                </a:lnTo>
                <a:lnTo>
                  <a:pt x="2206" y="415"/>
                </a:lnTo>
                <a:lnTo>
                  <a:pt x="2207" y="411"/>
                </a:lnTo>
                <a:lnTo>
                  <a:pt x="2210" y="407"/>
                </a:lnTo>
                <a:lnTo>
                  <a:pt x="2213" y="404"/>
                </a:lnTo>
                <a:lnTo>
                  <a:pt x="2223" y="397"/>
                </a:lnTo>
                <a:lnTo>
                  <a:pt x="2232" y="390"/>
                </a:lnTo>
                <a:lnTo>
                  <a:pt x="2251" y="380"/>
                </a:lnTo>
                <a:lnTo>
                  <a:pt x="2259" y="376"/>
                </a:lnTo>
                <a:lnTo>
                  <a:pt x="2221" y="357"/>
                </a:lnTo>
                <a:lnTo>
                  <a:pt x="2262" y="349"/>
                </a:lnTo>
                <a:lnTo>
                  <a:pt x="2267" y="350"/>
                </a:lnTo>
                <a:lnTo>
                  <a:pt x="2277" y="353"/>
                </a:lnTo>
                <a:lnTo>
                  <a:pt x="2283" y="353"/>
                </a:lnTo>
                <a:lnTo>
                  <a:pt x="2289" y="353"/>
                </a:lnTo>
                <a:lnTo>
                  <a:pt x="2294" y="352"/>
                </a:lnTo>
                <a:lnTo>
                  <a:pt x="2298" y="350"/>
                </a:lnTo>
                <a:lnTo>
                  <a:pt x="2309" y="336"/>
                </a:lnTo>
                <a:lnTo>
                  <a:pt x="2316" y="328"/>
                </a:lnTo>
                <a:lnTo>
                  <a:pt x="2325" y="326"/>
                </a:lnTo>
                <a:lnTo>
                  <a:pt x="2340" y="317"/>
                </a:lnTo>
                <a:lnTo>
                  <a:pt x="2348" y="313"/>
                </a:lnTo>
                <a:lnTo>
                  <a:pt x="2356" y="308"/>
                </a:lnTo>
                <a:lnTo>
                  <a:pt x="2362" y="302"/>
                </a:lnTo>
                <a:lnTo>
                  <a:pt x="2365" y="297"/>
                </a:lnTo>
                <a:lnTo>
                  <a:pt x="2375" y="284"/>
                </a:lnTo>
                <a:lnTo>
                  <a:pt x="2389" y="265"/>
                </a:lnTo>
                <a:lnTo>
                  <a:pt x="2396" y="255"/>
                </a:lnTo>
                <a:lnTo>
                  <a:pt x="2400" y="245"/>
                </a:lnTo>
                <a:lnTo>
                  <a:pt x="2401" y="241"/>
                </a:lnTo>
                <a:lnTo>
                  <a:pt x="2401" y="236"/>
                </a:lnTo>
                <a:lnTo>
                  <a:pt x="2400" y="232"/>
                </a:lnTo>
                <a:lnTo>
                  <a:pt x="2398" y="229"/>
                </a:lnTo>
                <a:lnTo>
                  <a:pt x="2383" y="210"/>
                </a:lnTo>
                <a:lnTo>
                  <a:pt x="2374" y="199"/>
                </a:lnTo>
                <a:lnTo>
                  <a:pt x="2365" y="191"/>
                </a:lnTo>
                <a:lnTo>
                  <a:pt x="2355" y="184"/>
                </a:lnTo>
                <a:lnTo>
                  <a:pt x="2351" y="180"/>
                </a:lnTo>
                <a:lnTo>
                  <a:pt x="2346" y="175"/>
                </a:lnTo>
                <a:lnTo>
                  <a:pt x="2344" y="169"/>
                </a:lnTo>
                <a:lnTo>
                  <a:pt x="2342" y="164"/>
                </a:lnTo>
                <a:lnTo>
                  <a:pt x="2341" y="151"/>
                </a:lnTo>
                <a:lnTo>
                  <a:pt x="2338" y="139"/>
                </a:lnTo>
                <a:lnTo>
                  <a:pt x="2336" y="134"/>
                </a:lnTo>
                <a:lnTo>
                  <a:pt x="2333" y="130"/>
                </a:lnTo>
                <a:lnTo>
                  <a:pt x="2329" y="126"/>
                </a:lnTo>
                <a:lnTo>
                  <a:pt x="2324" y="126"/>
                </a:lnTo>
                <a:lnTo>
                  <a:pt x="2318" y="128"/>
                </a:lnTo>
                <a:lnTo>
                  <a:pt x="2312" y="132"/>
                </a:lnTo>
                <a:lnTo>
                  <a:pt x="2303" y="137"/>
                </a:lnTo>
                <a:lnTo>
                  <a:pt x="2295" y="143"/>
                </a:lnTo>
                <a:lnTo>
                  <a:pt x="2278" y="157"/>
                </a:lnTo>
                <a:lnTo>
                  <a:pt x="2265" y="169"/>
                </a:lnTo>
                <a:lnTo>
                  <a:pt x="2253" y="179"/>
                </a:lnTo>
                <a:lnTo>
                  <a:pt x="2242" y="186"/>
                </a:lnTo>
                <a:lnTo>
                  <a:pt x="2236" y="188"/>
                </a:lnTo>
                <a:lnTo>
                  <a:pt x="2232" y="188"/>
                </a:lnTo>
                <a:lnTo>
                  <a:pt x="2230" y="188"/>
                </a:lnTo>
                <a:lnTo>
                  <a:pt x="2229" y="187"/>
                </a:lnTo>
                <a:lnTo>
                  <a:pt x="2228" y="185"/>
                </a:lnTo>
                <a:lnTo>
                  <a:pt x="2227" y="183"/>
                </a:lnTo>
                <a:lnTo>
                  <a:pt x="2226" y="180"/>
                </a:lnTo>
                <a:lnTo>
                  <a:pt x="2225" y="177"/>
                </a:lnTo>
                <a:lnTo>
                  <a:pt x="2226" y="175"/>
                </a:lnTo>
                <a:lnTo>
                  <a:pt x="2227" y="173"/>
                </a:lnTo>
                <a:lnTo>
                  <a:pt x="2232" y="168"/>
                </a:lnTo>
                <a:lnTo>
                  <a:pt x="2240" y="158"/>
                </a:lnTo>
                <a:lnTo>
                  <a:pt x="2248" y="152"/>
                </a:lnTo>
                <a:lnTo>
                  <a:pt x="2257" y="145"/>
                </a:lnTo>
                <a:lnTo>
                  <a:pt x="2267" y="141"/>
                </a:lnTo>
                <a:lnTo>
                  <a:pt x="2275" y="137"/>
                </a:lnTo>
                <a:lnTo>
                  <a:pt x="2278" y="135"/>
                </a:lnTo>
                <a:lnTo>
                  <a:pt x="2281" y="133"/>
                </a:lnTo>
                <a:lnTo>
                  <a:pt x="2282" y="132"/>
                </a:lnTo>
                <a:lnTo>
                  <a:pt x="2283" y="130"/>
                </a:lnTo>
                <a:lnTo>
                  <a:pt x="2282" y="129"/>
                </a:lnTo>
                <a:lnTo>
                  <a:pt x="2279" y="126"/>
                </a:lnTo>
                <a:lnTo>
                  <a:pt x="2275" y="125"/>
                </a:lnTo>
                <a:lnTo>
                  <a:pt x="2269" y="124"/>
                </a:lnTo>
                <a:lnTo>
                  <a:pt x="2242" y="119"/>
                </a:lnTo>
                <a:lnTo>
                  <a:pt x="2220" y="116"/>
                </a:lnTo>
                <a:lnTo>
                  <a:pt x="2204" y="113"/>
                </a:lnTo>
                <a:lnTo>
                  <a:pt x="2194" y="112"/>
                </a:lnTo>
                <a:lnTo>
                  <a:pt x="2188" y="110"/>
                </a:lnTo>
                <a:lnTo>
                  <a:pt x="2180" y="109"/>
                </a:lnTo>
                <a:lnTo>
                  <a:pt x="2177" y="109"/>
                </a:lnTo>
                <a:lnTo>
                  <a:pt x="2173" y="111"/>
                </a:lnTo>
                <a:lnTo>
                  <a:pt x="2171" y="114"/>
                </a:lnTo>
                <a:lnTo>
                  <a:pt x="2170" y="119"/>
                </a:lnTo>
                <a:lnTo>
                  <a:pt x="2170" y="124"/>
                </a:lnTo>
                <a:lnTo>
                  <a:pt x="2169" y="130"/>
                </a:lnTo>
                <a:lnTo>
                  <a:pt x="2167" y="133"/>
                </a:lnTo>
                <a:lnTo>
                  <a:pt x="2165" y="135"/>
                </a:lnTo>
                <a:lnTo>
                  <a:pt x="2163" y="136"/>
                </a:lnTo>
                <a:lnTo>
                  <a:pt x="2161" y="136"/>
                </a:lnTo>
                <a:lnTo>
                  <a:pt x="2158" y="135"/>
                </a:lnTo>
                <a:lnTo>
                  <a:pt x="2156" y="134"/>
                </a:lnTo>
                <a:lnTo>
                  <a:pt x="2151" y="126"/>
                </a:lnTo>
                <a:lnTo>
                  <a:pt x="2148" y="116"/>
                </a:lnTo>
                <a:lnTo>
                  <a:pt x="2146" y="111"/>
                </a:lnTo>
                <a:lnTo>
                  <a:pt x="2143" y="108"/>
                </a:lnTo>
                <a:lnTo>
                  <a:pt x="2142" y="107"/>
                </a:lnTo>
                <a:lnTo>
                  <a:pt x="2140" y="106"/>
                </a:lnTo>
                <a:lnTo>
                  <a:pt x="2138" y="106"/>
                </a:lnTo>
                <a:lnTo>
                  <a:pt x="2136" y="107"/>
                </a:lnTo>
                <a:lnTo>
                  <a:pt x="2130" y="108"/>
                </a:lnTo>
                <a:lnTo>
                  <a:pt x="2126" y="108"/>
                </a:lnTo>
                <a:lnTo>
                  <a:pt x="2123" y="107"/>
                </a:lnTo>
                <a:lnTo>
                  <a:pt x="2121" y="106"/>
                </a:lnTo>
                <a:lnTo>
                  <a:pt x="2119" y="104"/>
                </a:lnTo>
                <a:lnTo>
                  <a:pt x="2117" y="104"/>
                </a:lnTo>
                <a:lnTo>
                  <a:pt x="2116" y="108"/>
                </a:lnTo>
                <a:lnTo>
                  <a:pt x="2115" y="113"/>
                </a:lnTo>
                <a:lnTo>
                  <a:pt x="2115" y="120"/>
                </a:lnTo>
                <a:lnTo>
                  <a:pt x="2118" y="128"/>
                </a:lnTo>
                <a:lnTo>
                  <a:pt x="2121" y="134"/>
                </a:lnTo>
                <a:lnTo>
                  <a:pt x="2125" y="141"/>
                </a:lnTo>
                <a:lnTo>
                  <a:pt x="2129" y="147"/>
                </a:lnTo>
                <a:lnTo>
                  <a:pt x="2133" y="153"/>
                </a:lnTo>
                <a:lnTo>
                  <a:pt x="2135" y="156"/>
                </a:lnTo>
                <a:lnTo>
                  <a:pt x="2135" y="159"/>
                </a:lnTo>
                <a:lnTo>
                  <a:pt x="2132" y="166"/>
                </a:lnTo>
                <a:lnTo>
                  <a:pt x="2129" y="177"/>
                </a:lnTo>
                <a:lnTo>
                  <a:pt x="2127" y="181"/>
                </a:lnTo>
                <a:lnTo>
                  <a:pt x="2124" y="182"/>
                </a:lnTo>
                <a:lnTo>
                  <a:pt x="2123" y="182"/>
                </a:lnTo>
                <a:lnTo>
                  <a:pt x="2121" y="181"/>
                </a:lnTo>
                <a:lnTo>
                  <a:pt x="2119" y="179"/>
                </a:lnTo>
                <a:lnTo>
                  <a:pt x="2116" y="176"/>
                </a:lnTo>
                <a:lnTo>
                  <a:pt x="2104" y="160"/>
                </a:lnTo>
                <a:lnTo>
                  <a:pt x="2093" y="144"/>
                </a:lnTo>
                <a:lnTo>
                  <a:pt x="2088" y="137"/>
                </a:lnTo>
                <a:lnTo>
                  <a:pt x="2083" y="130"/>
                </a:lnTo>
                <a:lnTo>
                  <a:pt x="2081" y="124"/>
                </a:lnTo>
                <a:lnTo>
                  <a:pt x="2080" y="119"/>
                </a:lnTo>
                <a:lnTo>
                  <a:pt x="2079" y="112"/>
                </a:lnTo>
                <a:lnTo>
                  <a:pt x="2078" y="107"/>
                </a:lnTo>
                <a:lnTo>
                  <a:pt x="2076" y="106"/>
                </a:lnTo>
                <a:lnTo>
                  <a:pt x="2073" y="106"/>
                </a:lnTo>
                <a:lnTo>
                  <a:pt x="2069" y="106"/>
                </a:lnTo>
                <a:lnTo>
                  <a:pt x="2062" y="107"/>
                </a:lnTo>
                <a:lnTo>
                  <a:pt x="2050" y="108"/>
                </a:lnTo>
                <a:lnTo>
                  <a:pt x="2041" y="107"/>
                </a:lnTo>
                <a:lnTo>
                  <a:pt x="2037" y="107"/>
                </a:lnTo>
                <a:lnTo>
                  <a:pt x="2034" y="108"/>
                </a:lnTo>
                <a:lnTo>
                  <a:pt x="2031" y="110"/>
                </a:lnTo>
                <a:lnTo>
                  <a:pt x="2028" y="114"/>
                </a:lnTo>
                <a:lnTo>
                  <a:pt x="2025" y="119"/>
                </a:lnTo>
                <a:lnTo>
                  <a:pt x="2025" y="123"/>
                </a:lnTo>
                <a:lnTo>
                  <a:pt x="2026" y="129"/>
                </a:lnTo>
                <a:lnTo>
                  <a:pt x="2027" y="134"/>
                </a:lnTo>
                <a:lnTo>
                  <a:pt x="2030" y="138"/>
                </a:lnTo>
                <a:lnTo>
                  <a:pt x="2033" y="142"/>
                </a:lnTo>
                <a:lnTo>
                  <a:pt x="2036" y="145"/>
                </a:lnTo>
                <a:lnTo>
                  <a:pt x="2039" y="147"/>
                </a:lnTo>
                <a:lnTo>
                  <a:pt x="2048" y="155"/>
                </a:lnTo>
                <a:lnTo>
                  <a:pt x="2061" y="166"/>
                </a:lnTo>
                <a:lnTo>
                  <a:pt x="2068" y="173"/>
                </a:lnTo>
                <a:lnTo>
                  <a:pt x="2073" y="179"/>
                </a:lnTo>
                <a:lnTo>
                  <a:pt x="2077" y="184"/>
                </a:lnTo>
                <a:lnTo>
                  <a:pt x="2078" y="188"/>
                </a:lnTo>
                <a:lnTo>
                  <a:pt x="2078" y="198"/>
                </a:lnTo>
                <a:lnTo>
                  <a:pt x="2079" y="205"/>
                </a:lnTo>
                <a:lnTo>
                  <a:pt x="2079" y="208"/>
                </a:lnTo>
                <a:lnTo>
                  <a:pt x="2077" y="210"/>
                </a:lnTo>
                <a:lnTo>
                  <a:pt x="2074" y="210"/>
                </a:lnTo>
                <a:lnTo>
                  <a:pt x="2069" y="208"/>
                </a:lnTo>
                <a:lnTo>
                  <a:pt x="2057" y="203"/>
                </a:lnTo>
                <a:lnTo>
                  <a:pt x="2050" y="198"/>
                </a:lnTo>
                <a:lnTo>
                  <a:pt x="2044" y="191"/>
                </a:lnTo>
                <a:lnTo>
                  <a:pt x="2038" y="182"/>
                </a:lnTo>
                <a:lnTo>
                  <a:pt x="2033" y="172"/>
                </a:lnTo>
                <a:lnTo>
                  <a:pt x="2029" y="161"/>
                </a:lnTo>
                <a:lnTo>
                  <a:pt x="2025" y="152"/>
                </a:lnTo>
                <a:lnTo>
                  <a:pt x="2020" y="145"/>
                </a:lnTo>
                <a:lnTo>
                  <a:pt x="2006" y="132"/>
                </a:lnTo>
                <a:lnTo>
                  <a:pt x="1996" y="123"/>
                </a:lnTo>
                <a:lnTo>
                  <a:pt x="1990" y="125"/>
                </a:lnTo>
                <a:lnTo>
                  <a:pt x="1976" y="132"/>
                </a:lnTo>
                <a:lnTo>
                  <a:pt x="1970" y="135"/>
                </a:lnTo>
                <a:lnTo>
                  <a:pt x="1966" y="139"/>
                </a:lnTo>
                <a:lnTo>
                  <a:pt x="1965" y="141"/>
                </a:lnTo>
                <a:lnTo>
                  <a:pt x="1964" y="143"/>
                </a:lnTo>
                <a:lnTo>
                  <a:pt x="1965" y="145"/>
                </a:lnTo>
                <a:lnTo>
                  <a:pt x="1966" y="146"/>
                </a:lnTo>
                <a:lnTo>
                  <a:pt x="1975" y="152"/>
                </a:lnTo>
                <a:lnTo>
                  <a:pt x="1983" y="156"/>
                </a:lnTo>
                <a:lnTo>
                  <a:pt x="1986" y="157"/>
                </a:lnTo>
                <a:lnTo>
                  <a:pt x="1988" y="158"/>
                </a:lnTo>
                <a:lnTo>
                  <a:pt x="1988" y="160"/>
                </a:lnTo>
                <a:lnTo>
                  <a:pt x="1987" y="162"/>
                </a:lnTo>
                <a:lnTo>
                  <a:pt x="1971" y="174"/>
                </a:lnTo>
                <a:lnTo>
                  <a:pt x="1960" y="181"/>
                </a:lnTo>
                <a:lnTo>
                  <a:pt x="1961" y="181"/>
                </a:lnTo>
                <a:lnTo>
                  <a:pt x="1963" y="184"/>
                </a:lnTo>
                <a:lnTo>
                  <a:pt x="1963" y="186"/>
                </a:lnTo>
                <a:lnTo>
                  <a:pt x="1963" y="188"/>
                </a:lnTo>
                <a:lnTo>
                  <a:pt x="1962" y="190"/>
                </a:lnTo>
                <a:lnTo>
                  <a:pt x="1959" y="194"/>
                </a:lnTo>
                <a:lnTo>
                  <a:pt x="1956" y="197"/>
                </a:lnTo>
                <a:lnTo>
                  <a:pt x="1951" y="199"/>
                </a:lnTo>
                <a:lnTo>
                  <a:pt x="1946" y="200"/>
                </a:lnTo>
                <a:lnTo>
                  <a:pt x="1942" y="202"/>
                </a:lnTo>
                <a:lnTo>
                  <a:pt x="1936" y="203"/>
                </a:lnTo>
                <a:lnTo>
                  <a:pt x="1932" y="203"/>
                </a:lnTo>
                <a:lnTo>
                  <a:pt x="1926" y="213"/>
                </a:lnTo>
                <a:lnTo>
                  <a:pt x="1917" y="227"/>
                </a:lnTo>
                <a:lnTo>
                  <a:pt x="1916" y="228"/>
                </a:lnTo>
                <a:lnTo>
                  <a:pt x="1916" y="230"/>
                </a:lnTo>
                <a:lnTo>
                  <a:pt x="1917" y="233"/>
                </a:lnTo>
                <a:lnTo>
                  <a:pt x="1919" y="236"/>
                </a:lnTo>
                <a:lnTo>
                  <a:pt x="1924" y="243"/>
                </a:lnTo>
                <a:lnTo>
                  <a:pt x="1929" y="248"/>
                </a:lnTo>
                <a:lnTo>
                  <a:pt x="1935" y="253"/>
                </a:lnTo>
                <a:lnTo>
                  <a:pt x="1942" y="258"/>
                </a:lnTo>
                <a:lnTo>
                  <a:pt x="1948" y="266"/>
                </a:lnTo>
                <a:lnTo>
                  <a:pt x="1952" y="273"/>
                </a:lnTo>
                <a:lnTo>
                  <a:pt x="1954" y="277"/>
                </a:lnTo>
                <a:lnTo>
                  <a:pt x="1954" y="283"/>
                </a:lnTo>
                <a:lnTo>
                  <a:pt x="1954" y="288"/>
                </a:lnTo>
                <a:lnTo>
                  <a:pt x="1953" y="292"/>
                </a:lnTo>
                <a:lnTo>
                  <a:pt x="1951" y="296"/>
                </a:lnTo>
                <a:lnTo>
                  <a:pt x="1949" y="297"/>
                </a:lnTo>
                <a:lnTo>
                  <a:pt x="1947" y="297"/>
                </a:lnTo>
                <a:lnTo>
                  <a:pt x="1946" y="296"/>
                </a:lnTo>
                <a:lnTo>
                  <a:pt x="1944" y="294"/>
                </a:lnTo>
                <a:lnTo>
                  <a:pt x="1942" y="291"/>
                </a:lnTo>
                <a:lnTo>
                  <a:pt x="1933" y="280"/>
                </a:lnTo>
                <a:lnTo>
                  <a:pt x="1926" y="273"/>
                </a:lnTo>
                <a:lnTo>
                  <a:pt x="1920" y="268"/>
                </a:lnTo>
                <a:lnTo>
                  <a:pt x="1913" y="263"/>
                </a:lnTo>
                <a:lnTo>
                  <a:pt x="1904" y="257"/>
                </a:lnTo>
                <a:lnTo>
                  <a:pt x="1895" y="254"/>
                </a:lnTo>
                <a:lnTo>
                  <a:pt x="1891" y="252"/>
                </a:lnTo>
                <a:lnTo>
                  <a:pt x="1886" y="249"/>
                </a:lnTo>
                <a:lnTo>
                  <a:pt x="1882" y="245"/>
                </a:lnTo>
                <a:lnTo>
                  <a:pt x="1880" y="240"/>
                </a:lnTo>
                <a:lnTo>
                  <a:pt x="1876" y="228"/>
                </a:lnTo>
                <a:lnTo>
                  <a:pt x="1870" y="217"/>
                </a:lnTo>
                <a:lnTo>
                  <a:pt x="1867" y="211"/>
                </a:lnTo>
                <a:lnTo>
                  <a:pt x="1864" y="207"/>
                </a:lnTo>
                <a:lnTo>
                  <a:pt x="1862" y="205"/>
                </a:lnTo>
                <a:lnTo>
                  <a:pt x="1859" y="204"/>
                </a:lnTo>
                <a:lnTo>
                  <a:pt x="1853" y="205"/>
                </a:lnTo>
                <a:lnTo>
                  <a:pt x="1844" y="209"/>
                </a:lnTo>
                <a:lnTo>
                  <a:pt x="1841" y="212"/>
                </a:lnTo>
                <a:lnTo>
                  <a:pt x="1839" y="217"/>
                </a:lnTo>
                <a:lnTo>
                  <a:pt x="1839" y="220"/>
                </a:lnTo>
                <a:lnTo>
                  <a:pt x="1841" y="225"/>
                </a:lnTo>
                <a:lnTo>
                  <a:pt x="1845" y="232"/>
                </a:lnTo>
                <a:lnTo>
                  <a:pt x="1848" y="238"/>
                </a:lnTo>
                <a:lnTo>
                  <a:pt x="1848" y="240"/>
                </a:lnTo>
                <a:lnTo>
                  <a:pt x="1847" y="242"/>
                </a:lnTo>
                <a:lnTo>
                  <a:pt x="1844" y="244"/>
                </a:lnTo>
                <a:lnTo>
                  <a:pt x="1841" y="247"/>
                </a:lnTo>
                <a:lnTo>
                  <a:pt x="1833" y="252"/>
                </a:lnTo>
                <a:lnTo>
                  <a:pt x="1827" y="257"/>
                </a:lnTo>
                <a:lnTo>
                  <a:pt x="1825" y="260"/>
                </a:lnTo>
                <a:lnTo>
                  <a:pt x="1823" y="262"/>
                </a:lnTo>
                <a:lnTo>
                  <a:pt x="1823" y="265"/>
                </a:lnTo>
                <a:lnTo>
                  <a:pt x="1825" y="268"/>
                </a:lnTo>
                <a:lnTo>
                  <a:pt x="1832" y="275"/>
                </a:lnTo>
                <a:lnTo>
                  <a:pt x="1842" y="283"/>
                </a:lnTo>
                <a:lnTo>
                  <a:pt x="1847" y="286"/>
                </a:lnTo>
                <a:lnTo>
                  <a:pt x="1850" y="289"/>
                </a:lnTo>
                <a:lnTo>
                  <a:pt x="1851" y="290"/>
                </a:lnTo>
                <a:lnTo>
                  <a:pt x="1851" y="291"/>
                </a:lnTo>
                <a:lnTo>
                  <a:pt x="1851" y="292"/>
                </a:lnTo>
                <a:lnTo>
                  <a:pt x="1850" y="292"/>
                </a:lnTo>
                <a:lnTo>
                  <a:pt x="1841" y="294"/>
                </a:lnTo>
                <a:lnTo>
                  <a:pt x="1832" y="295"/>
                </a:lnTo>
                <a:lnTo>
                  <a:pt x="1827" y="295"/>
                </a:lnTo>
                <a:lnTo>
                  <a:pt x="1822" y="294"/>
                </a:lnTo>
                <a:lnTo>
                  <a:pt x="1819" y="292"/>
                </a:lnTo>
                <a:lnTo>
                  <a:pt x="1817" y="290"/>
                </a:lnTo>
                <a:lnTo>
                  <a:pt x="1816" y="284"/>
                </a:lnTo>
                <a:lnTo>
                  <a:pt x="1815" y="276"/>
                </a:lnTo>
                <a:lnTo>
                  <a:pt x="1815" y="274"/>
                </a:lnTo>
                <a:lnTo>
                  <a:pt x="1813" y="272"/>
                </a:lnTo>
                <a:lnTo>
                  <a:pt x="1811" y="272"/>
                </a:lnTo>
                <a:lnTo>
                  <a:pt x="1806" y="274"/>
                </a:lnTo>
                <a:lnTo>
                  <a:pt x="1793" y="290"/>
                </a:lnTo>
                <a:lnTo>
                  <a:pt x="1785" y="298"/>
                </a:lnTo>
                <a:lnTo>
                  <a:pt x="1782" y="298"/>
                </a:lnTo>
                <a:lnTo>
                  <a:pt x="1778" y="299"/>
                </a:lnTo>
                <a:lnTo>
                  <a:pt x="1775" y="300"/>
                </a:lnTo>
                <a:lnTo>
                  <a:pt x="1772" y="302"/>
                </a:lnTo>
                <a:lnTo>
                  <a:pt x="1767" y="307"/>
                </a:lnTo>
                <a:lnTo>
                  <a:pt x="1764" y="309"/>
                </a:lnTo>
                <a:lnTo>
                  <a:pt x="1757" y="311"/>
                </a:lnTo>
                <a:lnTo>
                  <a:pt x="1747" y="315"/>
                </a:lnTo>
                <a:lnTo>
                  <a:pt x="1741" y="317"/>
                </a:lnTo>
                <a:lnTo>
                  <a:pt x="1735" y="321"/>
                </a:lnTo>
                <a:lnTo>
                  <a:pt x="1731" y="326"/>
                </a:lnTo>
                <a:lnTo>
                  <a:pt x="1729" y="330"/>
                </a:lnTo>
                <a:lnTo>
                  <a:pt x="1727" y="335"/>
                </a:lnTo>
                <a:lnTo>
                  <a:pt x="1727" y="339"/>
                </a:lnTo>
                <a:lnTo>
                  <a:pt x="1727" y="343"/>
                </a:lnTo>
                <a:lnTo>
                  <a:pt x="1727" y="346"/>
                </a:lnTo>
                <a:lnTo>
                  <a:pt x="1728" y="350"/>
                </a:lnTo>
                <a:lnTo>
                  <a:pt x="1729" y="353"/>
                </a:lnTo>
                <a:lnTo>
                  <a:pt x="1731" y="356"/>
                </a:lnTo>
                <a:lnTo>
                  <a:pt x="1733" y="358"/>
                </a:lnTo>
                <a:lnTo>
                  <a:pt x="1737" y="359"/>
                </a:lnTo>
                <a:lnTo>
                  <a:pt x="1740" y="358"/>
                </a:lnTo>
                <a:lnTo>
                  <a:pt x="1744" y="357"/>
                </a:lnTo>
                <a:lnTo>
                  <a:pt x="1748" y="355"/>
                </a:lnTo>
                <a:lnTo>
                  <a:pt x="1752" y="353"/>
                </a:lnTo>
                <a:lnTo>
                  <a:pt x="1756" y="352"/>
                </a:lnTo>
                <a:lnTo>
                  <a:pt x="1760" y="352"/>
                </a:lnTo>
                <a:lnTo>
                  <a:pt x="1762" y="354"/>
                </a:lnTo>
                <a:lnTo>
                  <a:pt x="1767" y="360"/>
                </a:lnTo>
                <a:lnTo>
                  <a:pt x="1772" y="365"/>
                </a:lnTo>
                <a:lnTo>
                  <a:pt x="1774" y="366"/>
                </a:lnTo>
                <a:lnTo>
                  <a:pt x="1778" y="364"/>
                </a:lnTo>
                <a:lnTo>
                  <a:pt x="1784" y="362"/>
                </a:lnTo>
                <a:lnTo>
                  <a:pt x="1789" y="359"/>
                </a:lnTo>
                <a:lnTo>
                  <a:pt x="1794" y="356"/>
                </a:lnTo>
                <a:lnTo>
                  <a:pt x="1798" y="355"/>
                </a:lnTo>
                <a:lnTo>
                  <a:pt x="1800" y="354"/>
                </a:lnTo>
                <a:lnTo>
                  <a:pt x="1801" y="355"/>
                </a:lnTo>
                <a:lnTo>
                  <a:pt x="1801" y="356"/>
                </a:lnTo>
                <a:lnTo>
                  <a:pt x="1801" y="357"/>
                </a:lnTo>
                <a:lnTo>
                  <a:pt x="1799" y="366"/>
                </a:lnTo>
                <a:lnTo>
                  <a:pt x="1795" y="375"/>
                </a:lnTo>
                <a:lnTo>
                  <a:pt x="1792" y="382"/>
                </a:lnTo>
                <a:lnTo>
                  <a:pt x="1788" y="387"/>
                </a:lnTo>
                <a:lnTo>
                  <a:pt x="1785" y="389"/>
                </a:lnTo>
                <a:lnTo>
                  <a:pt x="1781" y="392"/>
                </a:lnTo>
                <a:lnTo>
                  <a:pt x="1778" y="393"/>
                </a:lnTo>
                <a:lnTo>
                  <a:pt x="1776" y="396"/>
                </a:lnTo>
                <a:lnTo>
                  <a:pt x="1776" y="400"/>
                </a:lnTo>
                <a:lnTo>
                  <a:pt x="1775" y="405"/>
                </a:lnTo>
                <a:lnTo>
                  <a:pt x="1774" y="417"/>
                </a:lnTo>
                <a:lnTo>
                  <a:pt x="1772" y="426"/>
                </a:lnTo>
                <a:lnTo>
                  <a:pt x="1771" y="429"/>
                </a:lnTo>
                <a:lnTo>
                  <a:pt x="1772" y="432"/>
                </a:lnTo>
                <a:lnTo>
                  <a:pt x="1773" y="436"/>
                </a:lnTo>
                <a:lnTo>
                  <a:pt x="1777" y="438"/>
                </a:lnTo>
                <a:lnTo>
                  <a:pt x="1782" y="439"/>
                </a:lnTo>
                <a:lnTo>
                  <a:pt x="1787" y="439"/>
                </a:lnTo>
                <a:lnTo>
                  <a:pt x="1793" y="437"/>
                </a:lnTo>
                <a:lnTo>
                  <a:pt x="1798" y="435"/>
                </a:lnTo>
                <a:lnTo>
                  <a:pt x="1805" y="432"/>
                </a:lnTo>
                <a:lnTo>
                  <a:pt x="1810" y="431"/>
                </a:lnTo>
                <a:lnTo>
                  <a:pt x="1815" y="431"/>
                </a:lnTo>
                <a:lnTo>
                  <a:pt x="1818" y="433"/>
                </a:lnTo>
                <a:lnTo>
                  <a:pt x="1820" y="435"/>
                </a:lnTo>
                <a:lnTo>
                  <a:pt x="1822" y="436"/>
                </a:lnTo>
                <a:lnTo>
                  <a:pt x="1826" y="436"/>
                </a:lnTo>
                <a:lnTo>
                  <a:pt x="1828" y="435"/>
                </a:lnTo>
                <a:lnTo>
                  <a:pt x="1835" y="432"/>
                </a:lnTo>
                <a:lnTo>
                  <a:pt x="1842" y="429"/>
                </a:lnTo>
                <a:lnTo>
                  <a:pt x="1855" y="423"/>
                </a:lnTo>
                <a:lnTo>
                  <a:pt x="1862" y="419"/>
                </a:lnTo>
                <a:lnTo>
                  <a:pt x="1869" y="414"/>
                </a:lnTo>
                <a:lnTo>
                  <a:pt x="1878" y="403"/>
                </a:lnTo>
                <a:lnTo>
                  <a:pt x="1882" y="399"/>
                </a:lnTo>
                <a:lnTo>
                  <a:pt x="1885" y="396"/>
                </a:lnTo>
                <a:lnTo>
                  <a:pt x="1886" y="396"/>
                </a:lnTo>
                <a:lnTo>
                  <a:pt x="1887" y="396"/>
                </a:lnTo>
                <a:lnTo>
                  <a:pt x="1887" y="397"/>
                </a:lnTo>
                <a:lnTo>
                  <a:pt x="1887" y="400"/>
                </a:lnTo>
                <a:lnTo>
                  <a:pt x="1884" y="405"/>
                </a:lnTo>
                <a:lnTo>
                  <a:pt x="1881" y="410"/>
                </a:lnTo>
                <a:lnTo>
                  <a:pt x="1877" y="415"/>
                </a:lnTo>
                <a:lnTo>
                  <a:pt x="1873" y="419"/>
                </a:lnTo>
                <a:lnTo>
                  <a:pt x="1865" y="425"/>
                </a:lnTo>
                <a:lnTo>
                  <a:pt x="1859" y="431"/>
                </a:lnTo>
                <a:lnTo>
                  <a:pt x="1859" y="432"/>
                </a:lnTo>
                <a:lnTo>
                  <a:pt x="1860" y="433"/>
                </a:lnTo>
                <a:lnTo>
                  <a:pt x="1862" y="433"/>
                </a:lnTo>
                <a:lnTo>
                  <a:pt x="1864" y="432"/>
                </a:lnTo>
                <a:lnTo>
                  <a:pt x="1872" y="430"/>
                </a:lnTo>
                <a:lnTo>
                  <a:pt x="1881" y="427"/>
                </a:lnTo>
                <a:lnTo>
                  <a:pt x="1891" y="424"/>
                </a:lnTo>
                <a:lnTo>
                  <a:pt x="1899" y="422"/>
                </a:lnTo>
                <a:lnTo>
                  <a:pt x="1903" y="421"/>
                </a:lnTo>
                <a:lnTo>
                  <a:pt x="1906" y="421"/>
                </a:lnTo>
                <a:lnTo>
                  <a:pt x="1908" y="421"/>
                </a:lnTo>
                <a:lnTo>
                  <a:pt x="1910" y="422"/>
                </a:lnTo>
                <a:lnTo>
                  <a:pt x="1911" y="424"/>
                </a:lnTo>
                <a:lnTo>
                  <a:pt x="1913" y="427"/>
                </a:lnTo>
                <a:lnTo>
                  <a:pt x="1913" y="429"/>
                </a:lnTo>
                <a:lnTo>
                  <a:pt x="1911" y="431"/>
                </a:lnTo>
                <a:lnTo>
                  <a:pt x="1910" y="433"/>
                </a:lnTo>
                <a:lnTo>
                  <a:pt x="1907" y="436"/>
                </a:lnTo>
                <a:lnTo>
                  <a:pt x="1903" y="438"/>
                </a:lnTo>
                <a:lnTo>
                  <a:pt x="1898" y="439"/>
                </a:lnTo>
                <a:lnTo>
                  <a:pt x="1893" y="440"/>
                </a:lnTo>
                <a:lnTo>
                  <a:pt x="1886" y="439"/>
                </a:lnTo>
                <a:lnTo>
                  <a:pt x="1880" y="438"/>
                </a:lnTo>
                <a:lnTo>
                  <a:pt x="1875" y="437"/>
                </a:lnTo>
                <a:lnTo>
                  <a:pt x="1871" y="437"/>
                </a:lnTo>
                <a:lnTo>
                  <a:pt x="1866" y="438"/>
                </a:lnTo>
                <a:lnTo>
                  <a:pt x="1864" y="439"/>
                </a:lnTo>
                <a:lnTo>
                  <a:pt x="1863" y="441"/>
                </a:lnTo>
                <a:lnTo>
                  <a:pt x="1862" y="443"/>
                </a:lnTo>
                <a:lnTo>
                  <a:pt x="1861" y="446"/>
                </a:lnTo>
                <a:lnTo>
                  <a:pt x="1860" y="452"/>
                </a:lnTo>
                <a:lnTo>
                  <a:pt x="1858" y="459"/>
                </a:lnTo>
                <a:lnTo>
                  <a:pt x="1856" y="463"/>
                </a:lnTo>
                <a:lnTo>
                  <a:pt x="1854" y="467"/>
                </a:lnTo>
                <a:lnTo>
                  <a:pt x="1851" y="469"/>
                </a:lnTo>
                <a:lnTo>
                  <a:pt x="1849" y="471"/>
                </a:lnTo>
                <a:lnTo>
                  <a:pt x="1845" y="470"/>
                </a:lnTo>
                <a:lnTo>
                  <a:pt x="1843" y="468"/>
                </a:lnTo>
                <a:lnTo>
                  <a:pt x="1839" y="465"/>
                </a:lnTo>
                <a:lnTo>
                  <a:pt x="1833" y="462"/>
                </a:lnTo>
                <a:lnTo>
                  <a:pt x="1825" y="458"/>
                </a:lnTo>
                <a:lnTo>
                  <a:pt x="1816" y="455"/>
                </a:lnTo>
                <a:lnTo>
                  <a:pt x="1808" y="453"/>
                </a:lnTo>
                <a:lnTo>
                  <a:pt x="1801" y="453"/>
                </a:lnTo>
                <a:lnTo>
                  <a:pt x="1798" y="453"/>
                </a:lnTo>
                <a:lnTo>
                  <a:pt x="1796" y="454"/>
                </a:lnTo>
                <a:lnTo>
                  <a:pt x="1795" y="455"/>
                </a:lnTo>
                <a:lnTo>
                  <a:pt x="1794" y="458"/>
                </a:lnTo>
                <a:lnTo>
                  <a:pt x="1794" y="463"/>
                </a:lnTo>
                <a:lnTo>
                  <a:pt x="1795" y="468"/>
                </a:lnTo>
                <a:lnTo>
                  <a:pt x="1796" y="473"/>
                </a:lnTo>
                <a:lnTo>
                  <a:pt x="1799" y="480"/>
                </a:lnTo>
                <a:lnTo>
                  <a:pt x="1803" y="484"/>
                </a:lnTo>
                <a:lnTo>
                  <a:pt x="1808" y="488"/>
                </a:lnTo>
                <a:lnTo>
                  <a:pt x="1810" y="489"/>
                </a:lnTo>
                <a:lnTo>
                  <a:pt x="1814" y="490"/>
                </a:lnTo>
                <a:lnTo>
                  <a:pt x="1817" y="490"/>
                </a:lnTo>
                <a:lnTo>
                  <a:pt x="1821" y="490"/>
                </a:lnTo>
                <a:lnTo>
                  <a:pt x="1829" y="489"/>
                </a:lnTo>
                <a:lnTo>
                  <a:pt x="1835" y="486"/>
                </a:lnTo>
                <a:lnTo>
                  <a:pt x="1839" y="483"/>
                </a:lnTo>
                <a:lnTo>
                  <a:pt x="1842" y="481"/>
                </a:lnTo>
                <a:lnTo>
                  <a:pt x="1844" y="479"/>
                </a:lnTo>
                <a:lnTo>
                  <a:pt x="1847" y="477"/>
                </a:lnTo>
                <a:lnTo>
                  <a:pt x="1849" y="477"/>
                </a:lnTo>
                <a:lnTo>
                  <a:pt x="1852" y="481"/>
                </a:lnTo>
                <a:lnTo>
                  <a:pt x="1857" y="489"/>
                </a:lnTo>
                <a:lnTo>
                  <a:pt x="1862" y="495"/>
                </a:lnTo>
                <a:lnTo>
                  <a:pt x="1865" y="498"/>
                </a:lnTo>
                <a:lnTo>
                  <a:pt x="1870" y="501"/>
                </a:lnTo>
                <a:lnTo>
                  <a:pt x="1875" y="502"/>
                </a:lnTo>
                <a:lnTo>
                  <a:pt x="1881" y="503"/>
                </a:lnTo>
                <a:lnTo>
                  <a:pt x="1885" y="503"/>
                </a:lnTo>
                <a:lnTo>
                  <a:pt x="1889" y="502"/>
                </a:lnTo>
                <a:lnTo>
                  <a:pt x="1895" y="499"/>
                </a:lnTo>
                <a:lnTo>
                  <a:pt x="1899" y="497"/>
                </a:lnTo>
                <a:lnTo>
                  <a:pt x="1908" y="490"/>
                </a:lnTo>
                <a:lnTo>
                  <a:pt x="1918" y="483"/>
                </a:lnTo>
                <a:lnTo>
                  <a:pt x="1925" y="475"/>
                </a:lnTo>
                <a:lnTo>
                  <a:pt x="1931" y="471"/>
                </a:lnTo>
                <a:lnTo>
                  <a:pt x="1935" y="470"/>
                </a:lnTo>
                <a:lnTo>
                  <a:pt x="1936" y="470"/>
                </a:lnTo>
                <a:lnTo>
                  <a:pt x="1937" y="471"/>
                </a:lnTo>
                <a:lnTo>
                  <a:pt x="1937" y="474"/>
                </a:lnTo>
                <a:lnTo>
                  <a:pt x="1936" y="487"/>
                </a:lnTo>
                <a:lnTo>
                  <a:pt x="1937" y="494"/>
                </a:lnTo>
                <a:lnTo>
                  <a:pt x="1938" y="496"/>
                </a:lnTo>
                <a:lnTo>
                  <a:pt x="1940" y="497"/>
                </a:lnTo>
                <a:lnTo>
                  <a:pt x="1943" y="496"/>
                </a:lnTo>
                <a:lnTo>
                  <a:pt x="1947" y="494"/>
                </a:lnTo>
                <a:lnTo>
                  <a:pt x="1960" y="486"/>
                </a:lnTo>
                <a:lnTo>
                  <a:pt x="1975" y="472"/>
                </a:lnTo>
                <a:lnTo>
                  <a:pt x="1984" y="465"/>
                </a:lnTo>
                <a:lnTo>
                  <a:pt x="1990" y="455"/>
                </a:lnTo>
                <a:lnTo>
                  <a:pt x="1993" y="451"/>
                </a:lnTo>
                <a:lnTo>
                  <a:pt x="1995" y="446"/>
                </a:lnTo>
                <a:lnTo>
                  <a:pt x="1997" y="442"/>
                </a:lnTo>
                <a:lnTo>
                  <a:pt x="1998" y="437"/>
                </a:lnTo>
                <a:lnTo>
                  <a:pt x="2001" y="425"/>
                </a:lnTo>
                <a:lnTo>
                  <a:pt x="2004" y="414"/>
                </a:lnTo>
                <a:lnTo>
                  <a:pt x="2008" y="402"/>
                </a:lnTo>
                <a:lnTo>
                  <a:pt x="2013" y="390"/>
                </a:lnTo>
                <a:lnTo>
                  <a:pt x="2017" y="381"/>
                </a:lnTo>
                <a:lnTo>
                  <a:pt x="2023" y="376"/>
                </a:lnTo>
                <a:lnTo>
                  <a:pt x="2025" y="374"/>
                </a:lnTo>
                <a:lnTo>
                  <a:pt x="2027" y="373"/>
                </a:lnTo>
                <a:lnTo>
                  <a:pt x="2029" y="374"/>
                </a:lnTo>
                <a:lnTo>
                  <a:pt x="2030" y="376"/>
                </a:lnTo>
                <a:lnTo>
                  <a:pt x="2033" y="381"/>
                </a:lnTo>
                <a:lnTo>
                  <a:pt x="2035" y="385"/>
                </a:lnTo>
                <a:lnTo>
                  <a:pt x="2037" y="389"/>
                </a:lnTo>
                <a:lnTo>
                  <a:pt x="2037" y="394"/>
                </a:lnTo>
                <a:lnTo>
                  <a:pt x="2037" y="399"/>
                </a:lnTo>
                <a:lnTo>
                  <a:pt x="2035" y="403"/>
                </a:lnTo>
                <a:lnTo>
                  <a:pt x="2032" y="408"/>
                </a:lnTo>
                <a:lnTo>
                  <a:pt x="2028" y="415"/>
                </a:lnTo>
                <a:lnTo>
                  <a:pt x="2016" y="428"/>
                </a:lnTo>
                <a:lnTo>
                  <a:pt x="2007" y="440"/>
                </a:lnTo>
                <a:lnTo>
                  <a:pt x="2004" y="444"/>
                </a:lnTo>
                <a:lnTo>
                  <a:pt x="2003" y="448"/>
                </a:lnTo>
                <a:lnTo>
                  <a:pt x="2004" y="449"/>
                </a:lnTo>
                <a:lnTo>
                  <a:pt x="2005" y="450"/>
                </a:lnTo>
                <a:lnTo>
                  <a:pt x="2007" y="451"/>
                </a:lnTo>
                <a:lnTo>
                  <a:pt x="2009" y="451"/>
                </a:lnTo>
                <a:lnTo>
                  <a:pt x="2026" y="450"/>
                </a:lnTo>
                <a:lnTo>
                  <a:pt x="2047" y="449"/>
                </a:lnTo>
                <a:lnTo>
                  <a:pt x="2055" y="448"/>
                </a:lnTo>
                <a:lnTo>
                  <a:pt x="2060" y="449"/>
                </a:lnTo>
                <a:lnTo>
                  <a:pt x="2062" y="450"/>
                </a:lnTo>
                <a:lnTo>
                  <a:pt x="2062" y="451"/>
                </a:lnTo>
                <a:lnTo>
                  <a:pt x="2062" y="453"/>
                </a:lnTo>
                <a:lnTo>
                  <a:pt x="2060" y="455"/>
                </a:lnTo>
                <a:lnTo>
                  <a:pt x="2057" y="459"/>
                </a:lnTo>
                <a:lnTo>
                  <a:pt x="2053" y="460"/>
                </a:lnTo>
                <a:lnTo>
                  <a:pt x="2049" y="462"/>
                </a:lnTo>
                <a:lnTo>
                  <a:pt x="2045" y="463"/>
                </a:lnTo>
                <a:lnTo>
                  <a:pt x="2034" y="463"/>
                </a:lnTo>
                <a:lnTo>
                  <a:pt x="2024" y="464"/>
                </a:lnTo>
                <a:lnTo>
                  <a:pt x="2014" y="464"/>
                </a:lnTo>
                <a:lnTo>
                  <a:pt x="2005" y="466"/>
                </a:lnTo>
                <a:lnTo>
                  <a:pt x="2002" y="467"/>
                </a:lnTo>
                <a:lnTo>
                  <a:pt x="1997" y="468"/>
                </a:lnTo>
                <a:lnTo>
                  <a:pt x="1995" y="470"/>
                </a:lnTo>
                <a:lnTo>
                  <a:pt x="1993" y="473"/>
                </a:lnTo>
                <a:lnTo>
                  <a:pt x="1992" y="476"/>
                </a:lnTo>
                <a:lnTo>
                  <a:pt x="1992" y="480"/>
                </a:lnTo>
                <a:lnTo>
                  <a:pt x="1992" y="483"/>
                </a:lnTo>
                <a:lnTo>
                  <a:pt x="1993" y="485"/>
                </a:lnTo>
                <a:lnTo>
                  <a:pt x="1997" y="490"/>
                </a:lnTo>
                <a:lnTo>
                  <a:pt x="2001" y="495"/>
                </a:lnTo>
                <a:lnTo>
                  <a:pt x="2005" y="498"/>
                </a:lnTo>
                <a:lnTo>
                  <a:pt x="2006" y="502"/>
                </a:lnTo>
                <a:lnTo>
                  <a:pt x="2006" y="504"/>
                </a:lnTo>
                <a:lnTo>
                  <a:pt x="2005" y="505"/>
                </a:lnTo>
                <a:lnTo>
                  <a:pt x="2003" y="505"/>
                </a:lnTo>
                <a:lnTo>
                  <a:pt x="2000" y="506"/>
                </a:lnTo>
                <a:lnTo>
                  <a:pt x="1985" y="507"/>
                </a:lnTo>
                <a:lnTo>
                  <a:pt x="1972" y="508"/>
                </a:lnTo>
                <a:lnTo>
                  <a:pt x="1967" y="509"/>
                </a:lnTo>
                <a:lnTo>
                  <a:pt x="1962" y="510"/>
                </a:lnTo>
                <a:lnTo>
                  <a:pt x="1959" y="512"/>
                </a:lnTo>
                <a:lnTo>
                  <a:pt x="1956" y="514"/>
                </a:lnTo>
                <a:lnTo>
                  <a:pt x="1953" y="516"/>
                </a:lnTo>
                <a:lnTo>
                  <a:pt x="1947" y="518"/>
                </a:lnTo>
                <a:lnTo>
                  <a:pt x="1941" y="519"/>
                </a:lnTo>
                <a:lnTo>
                  <a:pt x="1935" y="520"/>
                </a:lnTo>
                <a:lnTo>
                  <a:pt x="1928" y="521"/>
                </a:lnTo>
                <a:lnTo>
                  <a:pt x="1923" y="524"/>
                </a:lnTo>
                <a:lnTo>
                  <a:pt x="1922" y="525"/>
                </a:lnTo>
                <a:lnTo>
                  <a:pt x="1921" y="527"/>
                </a:lnTo>
                <a:lnTo>
                  <a:pt x="1921" y="529"/>
                </a:lnTo>
                <a:lnTo>
                  <a:pt x="1922" y="532"/>
                </a:lnTo>
                <a:lnTo>
                  <a:pt x="1929" y="546"/>
                </a:lnTo>
                <a:lnTo>
                  <a:pt x="1938" y="559"/>
                </a:lnTo>
                <a:lnTo>
                  <a:pt x="1946" y="571"/>
                </a:lnTo>
                <a:lnTo>
                  <a:pt x="1951" y="578"/>
                </a:lnTo>
                <a:lnTo>
                  <a:pt x="1957" y="587"/>
                </a:lnTo>
                <a:lnTo>
                  <a:pt x="1963" y="602"/>
                </a:lnTo>
                <a:lnTo>
                  <a:pt x="1966" y="604"/>
                </a:lnTo>
                <a:lnTo>
                  <a:pt x="1971" y="605"/>
                </a:lnTo>
                <a:lnTo>
                  <a:pt x="1976" y="606"/>
                </a:lnTo>
                <a:lnTo>
                  <a:pt x="1983" y="606"/>
                </a:lnTo>
                <a:lnTo>
                  <a:pt x="1987" y="606"/>
                </a:lnTo>
                <a:lnTo>
                  <a:pt x="1990" y="608"/>
                </a:lnTo>
                <a:lnTo>
                  <a:pt x="1991" y="609"/>
                </a:lnTo>
                <a:lnTo>
                  <a:pt x="1990" y="611"/>
                </a:lnTo>
                <a:lnTo>
                  <a:pt x="1990" y="613"/>
                </a:lnTo>
                <a:lnTo>
                  <a:pt x="1988" y="616"/>
                </a:lnTo>
                <a:lnTo>
                  <a:pt x="1981" y="626"/>
                </a:lnTo>
                <a:lnTo>
                  <a:pt x="1979" y="633"/>
                </a:lnTo>
                <a:lnTo>
                  <a:pt x="1976" y="635"/>
                </a:lnTo>
                <a:lnTo>
                  <a:pt x="1975" y="635"/>
                </a:lnTo>
                <a:lnTo>
                  <a:pt x="1972" y="635"/>
                </a:lnTo>
                <a:lnTo>
                  <a:pt x="1968" y="633"/>
                </a:lnTo>
                <a:lnTo>
                  <a:pt x="1958" y="628"/>
                </a:lnTo>
                <a:lnTo>
                  <a:pt x="1946" y="624"/>
                </a:lnTo>
                <a:lnTo>
                  <a:pt x="1941" y="621"/>
                </a:lnTo>
                <a:lnTo>
                  <a:pt x="1936" y="618"/>
                </a:lnTo>
                <a:lnTo>
                  <a:pt x="1932" y="614"/>
                </a:lnTo>
                <a:lnTo>
                  <a:pt x="1930" y="608"/>
                </a:lnTo>
                <a:lnTo>
                  <a:pt x="1924" y="591"/>
                </a:lnTo>
                <a:lnTo>
                  <a:pt x="1915" y="567"/>
                </a:lnTo>
                <a:lnTo>
                  <a:pt x="1908" y="554"/>
                </a:lnTo>
                <a:lnTo>
                  <a:pt x="1901" y="545"/>
                </a:lnTo>
                <a:lnTo>
                  <a:pt x="1898" y="540"/>
                </a:lnTo>
                <a:lnTo>
                  <a:pt x="1894" y="537"/>
                </a:lnTo>
                <a:lnTo>
                  <a:pt x="1891" y="535"/>
                </a:lnTo>
                <a:lnTo>
                  <a:pt x="1886" y="534"/>
                </a:lnTo>
                <a:lnTo>
                  <a:pt x="1879" y="532"/>
                </a:lnTo>
                <a:lnTo>
                  <a:pt x="1874" y="530"/>
                </a:lnTo>
                <a:lnTo>
                  <a:pt x="1871" y="528"/>
                </a:lnTo>
                <a:lnTo>
                  <a:pt x="1867" y="526"/>
                </a:lnTo>
                <a:lnTo>
                  <a:pt x="1865" y="525"/>
                </a:lnTo>
                <a:lnTo>
                  <a:pt x="1863" y="526"/>
                </a:lnTo>
                <a:lnTo>
                  <a:pt x="1862" y="529"/>
                </a:lnTo>
                <a:lnTo>
                  <a:pt x="1861" y="534"/>
                </a:lnTo>
                <a:lnTo>
                  <a:pt x="1860" y="540"/>
                </a:lnTo>
                <a:lnTo>
                  <a:pt x="1858" y="545"/>
                </a:lnTo>
                <a:lnTo>
                  <a:pt x="1856" y="548"/>
                </a:lnTo>
                <a:lnTo>
                  <a:pt x="1854" y="550"/>
                </a:lnTo>
                <a:lnTo>
                  <a:pt x="1852" y="553"/>
                </a:lnTo>
                <a:lnTo>
                  <a:pt x="1852" y="556"/>
                </a:lnTo>
                <a:lnTo>
                  <a:pt x="1852" y="560"/>
                </a:lnTo>
                <a:lnTo>
                  <a:pt x="1854" y="567"/>
                </a:lnTo>
                <a:lnTo>
                  <a:pt x="1858" y="583"/>
                </a:lnTo>
                <a:lnTo>
                  <a:pt x="1861" y="600"/>
                </a:lnTo>
                <a:lnTo>
                  <a:pt x="1863" y="607"/>
                </a:lnTo>
                <a:lnTo>
                  <a:pt x="1866" y="615"/>
                </a:lnTo>
                <a:lnTo>
                  <a:pt x="1870" y="621"/>
                </a:lnTo>
                <a:lnTo>
                  <a:pt x="1874" y="627"/>
                </a:lnTo>
                <a:lnTo>
                  <a:pt x="1877" y="629"/>
                </a:lnTo>
                <a:lnTo>
                  <a:pt x="1879" y="630"/>
                </a:lnTo>
                <a:lnTo>
                  <a:pt x="1881" y="630"/>
                </a:lnTo>
                <a:lnTo>
                  <a:pt x="1883" y="630"/>
                </a:lnTo>
                <a:lnTo>
                  <a:pt x="1887" y="629"/>
                </a:lnTo>
                <a:lnTo>
                  <a:pt x="1892" y="627"/>
                </a:lnTo>
                <a:lnTo>
                  <a:pt x="1894" y="626"/>
                </a:lnTo>
                <a:lnTo>
                  <a:pt x="1897" y="626"/>
                </a:lnTo>
                <a:lnTo>
                  <a:pt x="1899" y="628"/>
                </a:lnTo>
                <a:lnTo>
                  <a:pt x="1901" y="634"/>
                </a:lnTo>
                <a:lnTo>
                  <a:pt x="1902" y="647"/>
                </a:lnTo>
                <a:lnTo>
                  <a:pt x="1902" y="657"/>
                </a:lnTo>
                <a:lnTo>
                  <a:pt x="1903" y="661"/>
                </a:lnTo>
                <a:lnTo>
                  <a:pt x="1906" y="665"/>
                </a:lnTo>
                <a:lnTo>
                  <a:pt x="1910" y="671"/>
                </a:lnTo>
                <a:lnTo>
                  <a:pt x="1917" y="678"/>
                </a:lnTo>
                <a:lnTo>
                  <a:pt x="1924" y="684"/>
                </a:lnTo>
                <a:lnTo>
                  <a:pt x="1931" y="688"/>
                </a:lnTo>
                <a:lnTo>
                  <a:pt x="1939" y="689"/>
                </a:lnTo>
                <a:lnTo>
                  <a:pt x="1944" y="690"/>
                </a:lnTo>
                <a:lnTo>
                  <a:pt x="1949" y="690"/>
                </a:lnTo>
                <a:lnTo>
                  <a:pt x="1953" y="691"/>
                </a:lnTo>
                <a:lnTo>
                  <a:pt x="1956" y="692"/>
                </a:lnTo>
                <a:lnTo>
                  <a:pt x="1957" y="693"/>
                </a:lnTo>
                <a:lnTo>
                  <a:pt x="1958" y="695"/>
                </a:lnTo>
                <a:lnTo>
                  <a:pt x="1959" y="697"/>
                </a:lnTo>
                <a:lnTo>
                  <a:pt x="1959" y="703"/>
                </a:lnTo>
                <a:lnTo>
                  <a:pt x="1959" y="708"/>
                </a:lnTo>
                <a:lnTo>
                  <a:pt x="1957" y="712"/>
                </a:lnTo>
                <a:lnTo>
                  <a:pt x="1954" y="716"/>
                </a:lnTo>
                <a:lnTo>
                  <a:pt x="1951" y="719"/>
                </a:lnTo>
                <a:lnTo>
                  <a:pt x="1948" y="722"/>
                </a:lnTo>
                <a:lnTo>
                  <a:pt x="1944" y="724"/>
                </a:lnTo>
                <a:lnTo>
                  <a:pt x="1939" y="725"/>
                </a:lnTo>
                <a:lnTo>
                  <a:pt x="1929" y="728"/>
                </a:lnTo>
                <a:lnTo>
                  <a:pt x="1920" y="731"/>
                </a:lnTo>
                <a:lnTo>
                  <a:pt x="1916" y="732"/>
                </a:lnTo>
                <a:lnTo>
                  <a:pt x="1910" y="733"/>
                </a:lnTo>
                <a:lnTo>
                  <a:pt x="1907" y="732"/>
                </a:lnTo>
                <a:lnTo>
                  <a:pt x="1903" y="729"/>
                </a:lnTo>
                <a:lnTo>
                  <a:pt x="1900" y="726"/>
                </a:lnTo>
                <a:lnTo>
                  <a:pt x="1896" y="722"/>
                </a:lnTo>
                <a:lnTo>
                  <a:pt x="1891" y="718"/>
                </a:lnTo>
                <a:lnTo>
                  <a:pt x="1886" y="716"/>
                </a:lnTo>
                <a:lnTo>
                  <a:pt x="1881" y="715"/>
                </a:lnTo>
                <a:lnTo>
                  <a:pt x="1876" y="715"/>
                </a:lnTo>
                <a:lnTo>
                  <a:pt x="1871" y="716"/>
                </a:lnTo>
                <a:lnTo>
                  <a:pt x="1865" y="719"/>
                </a:lnTo>
                <a:lnTo>
                  <a:pt x="1852" y="731"/>
                </a:lnTo>
                <a:lnTo>
                  <a:pt x="1836" y="746"/>
                </a:lnTo>
                <a:lnTo>
                  <a:pt x="1829" y="753"/>
                </a:lnTo>
                <a:lnTo>
                  <a:pt x="1823" y="759"/>
                </a:lnTo>
                <a:lnTo>
                  <a:pt x="1822" y="762"/>
                </a:lnTo>
                <a:lnTo>
                  <a:pt x="1821" y="765"/>
                </a:lnTo>
                <a:lnTo>
                  <a:pt x="1822" y="768"/>
                </a:lnTo>
                <a:lnTo>
                  <a:pt x="1823" y="769"/>
                </a:lnTo>
                <a:lnTo>
                  <a:pt x="1828" y="772"/>
                </a:lnTo>
                <a:lnTo>
                  <a:pt x="1833" y="774"/>
                </a:lnTo>
                <a:lnTo>
                  <a:pt x="1839" y="775"/>
                </a:lnTo>
                <a:lnTo>
                  <a:pt x="1845" y="775"/>
                </a:lnTo>
                <a:lnTo>
                  <a:pt x="1857" y="774"/>
                </a:lnTo>
                <a:lnTo>
                  <a:pt x="1863" y="772"/>
                </a:lnTo>
                <a:lnTo>
                  <a:pt x="1870" y="768"/>
                </a:lnTo>
                <a:lnTo>
                  <a:pt x="1878" y="762"/>
                </a:lnTo>
                <a:lnTo>
                  <a:pt x="1882" y="760"/>
                </a:lnTo>
                <a:lnTo>
                  <a:pt x="1885" y="760"/>
                </a:lnTo>
                <a:lnTo>
                  <a:pt x="1886" y="761"/>
                </a:lnTo>
                <a:lnTo>
                  <a:pt x="1886" y="762"/>
                </a:lnTo>
                <a:lnTo>
                  <a:pt x="1886" y="766"/>
                </a:lnTo>
                <a:lnTo>
                  <a:pt x="1886" y="769"/>
                </a:lnTo>
                <a:lnTo>
                  <a:pt x="1881" y="780"/>
                </a:lnTo>
                <a:lnTo>
                  <a:pt x="1876" y="792"/>
                </a:lnTo>
                <a:lnTo>
                  <a:pt x="1874" y="796"/>
                </a:lnTo>
                <a:lnTo>
                  <a:pt x="1872" y="801"/>
                </a:lnTo>
                <a:lnTo>
                  <a:pt x="1871" y="805"/>
                </a:lnTo>
                <a:lnTo>
                  <a:pt x="1872" y="811"/>
                </a:lnTo>
                <a:lnTo>
                  <a:pt x="1876" y="822"/>
                </a:lnTo>
                <a:lnTo>
                  <a:pt x="1880" y="834"/>
                </a:lnTo>
                <a:lnTo>
                  <a:pt x="1882" y="839"/>
                </a:lnTo>
                <a:lnTo>
                  <a:pt x="1885" y="842"/>
                </a:lnTo>
                <a:lnTo>
                  <a:pt x="1888" y="844"/>
                </a:lnTo>
                <a:lnTo>
                  <a:pt x="1892" y="844"/>
                </a:lnTo>
                <a:lnTo>
                  <a:pt x="1902" y="838"/>
                </a:lnTo>
                <a:lnTo>
                  <a:pt x="1917" y="830"/>
                </a:lnTo>
                <a:lnTo>
                  <a:pt x="1923" y="825"/>
                </a:lnTo>
                <a:lnTo>
                  <a:pt x="1928" y="822"/>
                </a:lnTo>
                <a:lnTo>
                  <a:pt x="1931" y="822"/>
                </a:lnTo>
                <a:lnTo>
                  <a:pt x="1932" y="822"/>
                </a:lnTo>
                <a:lnTo>
                  <a:pt x="1933" y="822"/>
                </a:lnTo>
                <a:lnTo>
                  <a:pt x="1935" y="824"/>
                </a:lnTo>
                <a:lnTo>
                  <a:pt x="1935" y="828"/>
                </a:lnTo>
                <a:lnTo>
                  <a:pt x="1932" y="834"/>
                </a:lnTo>
                <a:lnTo>
                  <a:pt x="1929" y="838"/>
                </a:lnTo>
                <a:lnTo>
                  <a:pt x="1926" y="843"/>
                </a:lnTo>
                <a:lnTo>
                  <a:pt x="1919" y="853"/>
                </a:lnTo>
                <a:lnTo>
                  <a:pt x="1913" y="860"/>
                </a:lnTo>
                <a:lnTo>
                  <a:pt x="1908" y="866"/>
                </a:lnTo>
                <a:lnTo>
                  <a:pt x="1902" y="875"/>
                </a:lnTo>
                <a:lnTo>
                  <a:pt x="1898" y="878"/>
                </a:lnTo>
                <a:lnTo>
                  <a:pt x="1894" y="879"/>
                </a:lnTo>
                <a:lnTo>
                  <a:pt x="1891" y="879"/>
                </a:lnTo>
                <a:lnTo>
                  <a:pt x="1887" y="878"/>
                </a:lnTo>
                <a:lnTo>
                  <a:pt x="1884" y="877"/>
                </a:lnTo>
                <a:lnTo>
                  <a:pt x="1881" y="875"/>
                </a:lnTo>
                <a:lnTo>
                  <a:pt x="1865" y="865"/>
                </a:lnTo>
                <a:lnTo>
                  <a:pt x="1852" y="855"/>
                </a:lnTo>
                <a:lnTo>
                  <a:pt x="1847" y="849"/>
                </a:lnTo>
                <a:lnTo>
                  <a:pt x="1842" y="845"/>
                </a:lnTo>
                <a:lnTo>
                  <a:pt x="1839" y="841"/>
                </a:lnTo>
                <a:lnTo>
                  <a:pt x="1839" y="837"/>
                </a:lnTo>
                <a:lnTo>
                  <a:pt x="1841" y="828"/>
                </a:lnTo>
                <a:lnTo>
                  <a:pt x="1844" y="819"/>
                </a:lnTo>
                <a:lnTo>
                  <a:pt x="1844" y="816"/>
                </a:lnTo>
                <a:lnTo>
                  <a:pt x="1842" y="813"/>
                </a:lnTo>
                <a:lnTo>
                  <a:pt x="1839" y="812"/>
                </a:lnTo>
                <a:lnTo>
                  <a:pt x="1833" y="813"/>
                </a:lnTo>
                <a:lnTo>
                  <a:pt x="1827" y="814"/>
                </a:lnTo>
                <a:lnTo>
                  <a:pt x="1819" y="813"/>
                </a:lnTo>
                <a:lnTo>
                  <a:pt x="1814" y="810"/>
                </a:lnTo>
                <a:lnTo>
                  <a:pt x="1810" y="807"/>
                </a:lnTo>
                <a:lnTo>
                  <a:pt x="1808" y="807"/>
                </a:lnTo>
                <a:lnTo>
                  <a:pt x="1807" y="807"/>
                </a:lnTo>
                <a:lnTo>
                  <a:pt x="1806" y="807"/>
                </a:lnTo>
                <a:lnTo>
                  <a:pt x="1805" y="809"/>
                </a:lnTo>
                <a:lnTo>
                  <a:pt x="1804" y="814"/>
                </a:lnTo>
                <a:lnTo>
                  <a:pt x="1805" y="822"/>
                </a:lnTo>
                <a:lnTo>
                  <a:pt x="1807" y="833"/>
                </a:lnTo>
                <a:lnTo>
                  <a:pt x="1810" y="841"/>
                </a:lnTo>
                <a:lnTo>
                  <a:pt x="1812" y="847"/>
                </a:lnTo>
                <a:lnTo>
                  <a:pt x="1815" y="852"/>
                </a:lnTo>
                <a:lnTo>
                  <a:pt x="1821" y="858"/>
                </a:lnTo>
                <a:lnTo>
                  <a:pt x="1829" y="863"/>
                </a:lnTo>
                <a:lnTo>
                  <a:pt x="1835" y="870"/>
                </a:lnTo>
                <a:lnTo>
                  <a:pt x="1841" y="875"/>
                </a:lnTo>
                <a:lnTo>
                  <a:pt x="1842" y="877"/>
                </a:lnTo>
                <a:lnTo>
                  <a:pt x="1843" y="879"/>
                </a:lnTo>
                <a:lnTo>
                  <a:pt x="1842" y="881"/>
                </a:lnTo>
                <a:lnTo>
                  <a:pt x="1840" y="884"/>
                </a:lnTo>
                <a:lnTo>
                  <a:pt x="1828" y="889"/>
                </a:lnTo>
                <a:lnTo>
                  <a:pt x="1813" y="897"/>
                </a:lnTo>
                <a:lnTo>
                  <a:pt x="1805" y="904"/>
                </a:lnTo>
                <a:lnTo>
                  <a:pt x="1794" y="911"/>
                </a:lnTo>
                <a:lnTo>
                  <a:pt x="1784" y="918"/>
                </a:lnTo>
                <a:lnTo>
                  <a:pt x="1777" y="925"/>
                </a:lnTo>
                <a:lnTo>
                  <a:pt x="1772" y="931"/>
                </a:lnTo>
                <a:lnTo>
                  <a:pt x="1766" y="938"/>
                </a:lnTo>
                <a:lnTo>
                  <a:pt x="1762" y="941"/>
                </a:lnTo>
                <a:lnTo>
                  <a:pt x="1759" y="943"/>
                </a:lnTo>
                <a:lnTo>
                  <a:pt x="1755" y="943"/>
                </a:lnTo>
                <a:lnTo>
                  <a:pt x="1753" y="943"/>
                </a:lnTo>
                <a:lnTo>
                  <a:pt x="1749" y="941"/>
                </a:lnTo>
                <a:lnTo>
                  <a:pt x="1743" y="941"/>
                </a:lnTo>
                <a:lnTo>
                  <a:pt x="1735" y="941"/>
                </a:lnTo>
                <a:lnTo>
                  <a:pt x="1727" y="941"/>
                </a:lnTo>
                <a:lnTo>
                  <a:pt x="1712" y="942"/>
                </a:lnTo>
                <a:lnTo>
                  <a:pt x="1705" y="942"/>
                </a:lnTo>
                <a:lnTo>
                  <a:pt x="1706" y="942"/>
                </a:lnTo>
                <a:lnTo>
                  <a:pt x="1706" y="941"/>
                </a:lnTo>
                <a:lnTo>
                  <a:pt x="1704" y="935"/>
                </a:lnTo>
                <a:lnTo>
                  <a:pt x="1698" y="926"/>
                </a:lnTo>
                <a:lnTo>
                  <a:pt x="1689" y="914"/>
                </a:lnTo>
                <a:lnTo>
                  <a:pt x="1682" y="906"/>
                </a:lnTo>
                <a:lnTo>
                  <a:pt x="1678" y="904"/>
                </a:lnTo>
                <a:lnTo>
                  <a:pt x="1675" y="902"/>
                </a:lnTo>
                <a:lnTo>
                  <a:pt x="1672" y="900"/>
                </a:lnTo>
                <a:lnTo>
                  <a:pt x="1668" y="900"/>
                </a:lnTo>
                <a:lnTo>
                  <a:pt x="1655" y="898"/>
                </a:lnTo>
                <a:lnTo>
                  <a:pt x="1646" y="897"/>
                </a:lnTo>
                <a:lnTo>
                  <a:pt x="1642" y="897"/>
                </a:lnTo>
                <a:lnTo>
                  <a:pt x="1636" y="897"/>
                </a:lnTo>
                <a:lnTo>
                  <a:pt x="1632" y="900"/>
                </a:lnTo>
                <a:lnTo>
                  <a:pt x="1629" y="902"/>
                </a:lnTo>
                <a:close/>
                <a:moveTo>
                  <a:pt x="1753" y="857"/>
                </a:moveTo>
                <a:lnTo>
                  <a:pt x="1750" y="871"/>
                </a:lnTo>
                <a:lnTo>
                  <a:pt x="1746" y="883"/>
                </a:lnTo>
                <a:lnTo>
                  <a:pt x="1745" y="886"/>
                </a:lnTo>
                <a:lnTo>
                  <a:pt x="1747" y="891"/>
                </a:lnTo>
                <a:lnTo>
                  <a:pt x="1748" y="893"/>
                </a:lnTo>
                <a:lnTo>
                  <a:pt x="1750" y="896"/>
                </a:lnTo>
                <a:lnTo>
                  <a:pt x="1753" y="896"/>
                </a:lnTo>
                <a:lnTo>
                  <a:pt x="1755" y="896"/>
                </a:lnTo>
                <a:lnTo>
                  <a:pt x="1761" y="892"/>
                </a:lnTo>
                <a:lnTo>
                  <a:pt x="1766" y="889"/>
                </a:lnTo>
                <a:lnTo>
                  <a:pt x="1771" y="885"/>
                </a:lnTo>
                <a:lnTo>
                  <a:pt x="1774" y="881"/>
                </a:lnTo>
                <a:lnTo>
                  <a:pt x="1775" y="878"/>
                </a:lnTo>
                <a:lnTo>
                  <a:pt x="1775" y="875"/>
                </a:lnTo>
                <a:lnTo>
                  <a:pt x="1775" y="870"/>
                </a:lnTo>
                <a:lnTo>
                  <a:pt x="1774" y="866"/>
                </a:lnTo>
                <a:lnTo>
                  <a:pt x="1771" y="859"/>
                </a:lnTo>
                <a:lnTo>
                  <a:pt x="1769" y="855"/>
                </a:lnTo>
                <a:lnTo>
                  <a:pt x="1766" y="850"/>
                </a:lnTo>
                <a:lnTo>
                  <a:pt x="1762" y="846"/>
                </a:lnTo>
                <a:lnTo>
                  <a:pt x="1760" y="844"/>
                </a:lnTo>
                <a:lnTo>
                  <a:pt x="1757" y="843"/>
                </a:lnTo>
                <a:lnTo>
                  <a:pt x="1755" y="843"/>
                </a:lnTo>
                <a:lnTo>
                  <a:pt x="1755" y="844"/>
                </a:lnTo>
                <a:lnTo>
                  <a:pt x="1754" y="853"/>
                </a:lnTo>
                <a:lnTo>
                  <a:pt x="1753" y="857"/>
                </a:lnTo>
                <a:close/>
                <a:moveTo>
                  <a:pt x="1643" y="847"/>
                </a:moveTo>
                <a:lnTo>
                  <a:pt x="1645" y="849"/>
                </a:lnTo>
                <a:lnTo>
                  <a:pt x="1650" y="853"/>
                </a:lnTo>
                <a:lnTo>
                  <a:pt x="1655" y="856"/>
                </a:lnTo>
                <a:lnTo>
                  <a:pt x="1661" y="859"/>
                </a:lnTo>
                <a:lnTo>
                  <a:pt x="1667" y="861"/>
                </a:lnTo>
                <a:lnTo>
                  <a:pt x="1674" y="863"/>
                </a:lnTo>
                <a:lnTo>
                  <a:pt x="1679" y="863"/>
                </a:lnTo>
                <a:lnTo>
                  <a:pt x="1682" y="863"/>
                </a:lnTo>
                <a:lnTo>
                  <a:pt x="1687" y="861"/>
                </a:lnTo>
                <a:lnTo>
                  <a:pt x="1695" y="862"/>
                </a:lnTo>
                <a:lnTo>
                  <a:pt x="1698" y="862"/>
                </a:lnTo>
                <a:lnTo>
                  <a:pt x="1700" y="860"/>
                </a:lnTo>
                <a:lnTo>
                  <a:pt x="1701" y="857"/>
                </a:lnTo>
                <a:lnTo>
                  <a:pt x="1700" y="850"/>
                </a:lnTo>
                <a:lnTo>
                  <a:pt x="1698" y="843"/>
                </a:lnTo>
                <a:lnTo>
                  <a:pt x="1695" y="839"/>
                </a:lnTo>
                <a:lnTo>
                  <a:pt x="1689" y="835"/>
                </a:lnTo>
                <a:lnTo>
                  <a:pt x="1685" y="833"/>
                </a:lnTo>
                <a:lnTo>
                  <a:pt x="1677" y="831"/>
                </a:lnTo>
                <a:lnTo>
                  <a:pt x="1672" y="831"/>
                </a:lnTo>
                <a:lnTo>
                  <a:pt x="1668" y="831"/>
                </a:lnTo>
                <a:lnTo>
                  <a:pt x="1663" y="830"/>
                </a:lnTo>
                <a:lnTo>
                  <a:pt x="1661" y="830"/>
                </a:lnTo>
                <a:lnTo>
                  <a:pt x="1658" y="830"/>
                </a:lnTo>
                <a:lnTo>
                  <a:pt x="1656" y="831"/>
                </a:lnTo>
                <a:lnTo>
                  <a:pt x="1654" y="833"/>
                </a:lnTo>
                <a:lnTo>
                  <a:pt x="1646" y="842"/>
                </a:lnTo>
                <a:lnTo>
                  <a:pt x="1643" y="847"/>
                </a:lnTo>
                <a:close/>
                <a:moveTo>
                  <a:pt x="1425" y="821"/>
                </a:moveTo>
                <a:lnTo>
                  <a:pt x="1424" y="824"/>
                </a:lnTo>
                <a:lnTo>
                  <a:pt x="1424" y="832"/>
                </a:lnTo>
                <a:lnTo>
                  <a:pt x="1424" y="841"/>
                </a:lnTo>
                <a:lnTo>
                  <a:pt x="1426" y="853"/>
                </a:lnTo>
                <a:lnTo>
                  <a:pt x="1428" y="864"/>
                </a:lnTo>
                <a:lnTo>
                  <a:pt x="1432" y="876"/>
                </a:lnTo>
                <a:lnTo>
                  <a:pt x="1435" y="886"/>
                </a:lnTo>
                <a:lnTo>
                  <a:pt x="1439" y="894"/>
                </a:lnTo>
                <a:lnTo>
                  <a:pt x="1444" y="901"/>
                </a:lnTo>
                <a:lnTo>
                  <a:pt x="1449" y="904"/>
                </a:lnTo>
                <a:lnTo>
                  <a:pt x="1456" y="907"/>
                </a:lnTo>
                <a:lnTo>
                  <a:pt x="1462" y="907"/>
                </a:lnTo>
                <a:lnTo>
                  <a:pt x="1464" y="907"/>
                </a:lnTo>
                <a:lnTo>
                  <a:pt x="1466" y="906"/>
                </a:lnTo>
                <a:lnTo>
                  <a:pt x="1468" y="905"/>
                </a:lnTo>
                <a:lnTo>
                  <a:pt x="1470" y="903"/>
                </a:lnTo>
                <a:lnTo>
                  <a:pt x="1470" y="902"/>
                </a:lnTo>
                <a:lnTo>
                  <a:pt x="1471" y="899"/>
                </a:lnTo>
                <a:lnTo>
                  <a:pt x="1470" y="897"/>
                </a:lnTo>
                <a:lnTo>
                  <a:pt x="1469" y="893"/>
                </a:lnTo>
                <a:lnTo>
                  <a:pt x="1462" y="879"/>
                </a:lnTo>
                <a:lnTo>
                  <a:pt x="1453" y="864"/>
                </a:lnTo>
                <a:lnTo>
                  <a:pt x="1445" y="852"/>
                </a:lnTo>
                <a:lnTo>
                  <a:pt x="1440" y="844"/>
                </a:lnTo>
                <a:lnTo>
                  <a:pt x="1432" y="831"/>
                </a:lnTo>
                <a:lnTo>
                  <a:pt x="1425" y="821"/>
                </a:lnTo>
                <a:close/>
                <a:moveTo>
                  <a:pt x="1560" y="571"/>
                </a:moveTo>
                <a:lnTo>
                  <a:pt x="1560" y="578"/>
                </a:lnTo>
                <a:lnTo>
                  <a:pt x="1562" y="587"/>
                </a:lnTo>
                <a:lnTo>
                  <a:pt x="1565" y="598"/>
                </a:lnTo>
                <a:lnTo>
                  <a:pt x="1569" y="607"/>
                </a:lnTo>
                <a:lnTo>
                  <a:pt x="1574" y="616"/>
                </a:lnTo>
                <a:lnTo>
                  <a:pt x="1578" y="621"/>
                </a:lnTo>
                <a:lnTo>
                  <a:pt x="1580" y="622"/>
                </a:lnTo>
                <a:lnTo>
                  <a:pt x="1583" y="622"/>
                </a:lnTo>
                <a:lnTo>
                  <a:pt x="1584" y="621"/>
                </a:lnTo>
                <a:lnTo>
                  <a:pt x="1585" y="619"/>
                </a:lnTo>
                <a:lnTo>
                  <a:pt x="1589" y="604"/>
                </a:lnTo>
                <a:lnTo>
                  <a:pt x="1594" y="591"/>
                </a:lnTo>
                <a:lnTo>
                  <a:pt x="1596" y="584"/>
                </a:lnTo>
                <a:lnTo>
                  <a:pt x="1597" y="579"/>
                </a:lnTo>
                <a:lnTo>
                  <a:pt x="1596" y="573"/>
                </a:lnTo>
                <a:lnTo>
                  <a:pt x="1594" y="569"/>
                </a:lnTo>
                <a:lnTo>
                  <a:pt x="1589" y="560"/>
                </a:lnTo>
                <a:lnTo>
                  <a:pt x="1585" y="556"/>
                </a:lnTo>
                <a:lnTo>
                  <a:pt x="1584" y="555"/>
                </a:lnTo>
                <a:lnTo>
                  <a:pt x="1581" y="555"/>
                </a:lnTo>
                <a:lnTo>
                  <a:pt x="1579" y="555"/>
                </a:lnTo>
                <a:lnTo>
                  <a:pt x="1577" y="556"/>
                </a:lnTo>
                <a:lnTo>
                  <a:pt x="1567" y="564"/>
                </a:lnTo>
                <a:lnTo>
                  <a:pt x="1560" y="571"/>
                </a:lnTo>
                <a:close/>
                <a:moveTo>
                  <a:pt x="1600" y="722"/>
                </a:moveTo>
                <a:lnTo>
                  <a:pt x="1600" y="729"/>
                </a:lnTo>
                <a:lnTo>
                  <a:pt x="1601" y="736"/>
                </a:lnTo>
                <a:lnTo>
                  <a:pt x="1605" y="744"/>
                </a:lnTo>
                <a:lnTo>
                  <a:pt x="1608" y="751"/>
                </a:lnTo>
                <a:lnTo>
                  <a:pt x="1612" y="757"/>
                </a:lnTo>
                <a:lnTo>
                  <a:pt x="1614" y="763"/>
                </a:lnTo>
                <a:lnTo>
                  <a:pt x="1616" y="769"/>
                </a:lnTo>
                <a:lnTo>
                  <a:pt x="1617" y="773"/>
                </a:lnTo>
                <a:lnTo>
                  <a:pt x="1616" y="777"/>
                </a:lnTo>
                <a:lnTo>
                  <a:pt x="1614" y="780"/>
                </a:lnTo>
                <a:lnTo>
                  <a:pt x="1611" y="782"/>
                </a:lnTo>
                <a:lnTo>
                  <a:pt x="1608" y="785"/>
                </a:lnTo>
                <a:lnTo>
                  <a:pt x="1607" y="787"/>
                </a:lnTo>
                <a:lnTo>
                  <a:pt x="1606" y="789"/>
                </a:lnTo>
                <a:lnTo>
                  <a:pt x="1606" y="791"/>
                </a:lnTo>
                <a:lnTo>
                  <a:pt x="1606" y="793"/>
                </a:lnTo>
                <a:lnTo>
                  <a:pt x="1609" y="799"/>
                </a:lnTo>
                <a:lnTo>
                  <a:pt x="1615" y="807"/>
                </a:lnTo>
                <a:lnTo>
                  <a:pt x="1623" y="815"/>
                </a:lnTo>
                <a:lnTo>
                  <a:pt x="1630" y="819"/>
                </a:lnTo>
                <a:lnTo>
                  <a:pt x="1636" y="820"/>
                </a:lnTo>
                <a:lnTo>
                  <a:pt x="1640" y="820"/>
                </a:lnTo>
                <a:lnTo>
                  <a:pt x="1646" y="816"/>
                </a:lnTo>
                <a:lnTo>
                  <a:pt x="1652" y="812"/>
                </a:lnTo>
                <a:lnTo>
                  <a:pt x="1659" y="807"/>
                </a:lnTo>
                <a:lnTo>
                  <a:pt x="1671" y="801"/>
                </a:lnTo>
                <a:lnTo>
                  <a:pt x="1675" y="798"/>
                </a:lnTo>
                <a:lnTo>
                  <a:pt x="1678" y="793"/>
                </a:lnTo>
                <a:lnTo>
                  <a:pt x="1679" y="790"/>
                </a:lnTo>
                <a:lnTo>
                  <a:pt x="1679" y="787"/>
                </a:lnTo>
                <a:lnTo>
                  <a:pt x="1678" y="783"/>
                </a:lnTo>
                <a:lnTo>
                  <a:pt x="1676" y="779"/>
                </a:lnTo>
                <a:lnTo>
                  <a:pt x="1669" y="765"/>
                </a:lnTo>
                <a:lnTo>
                  <a:pt x="1665" y="751"/>
                </a:lnTo>
                <a:lnTo>
                  <a:pt x="1662" y="745"/>
                </a:lnTo>
                <a:lnTo>
                  <a:pt x="1657" y="738"/>
                </a:lnTo>
                <a:lnTo>
                  <a:pt x="1651" y="733"/>
                </a:lnTo>
                <a:lnTo>
                  <a:pt x="1640" y="728"/>
                </a:lnTo>
                <a:lnTo>
                  <a:pt x="1629" y="724"/>
                </a:lnTo>
                <a:lnTo>
                  <a:pt x="1620" y="722"/>
                </a:lnTo>
                <a:lnTo>
                  <a:pt x="1613" y="721"/>
                </a:lnTo>
                <a:lnTo>
                  <a:pt x="1608" y="721"/>
                </a:lnTo>
                <a:lnTo>
                  <a:pt x="1601" y="722"/>
                </a:lnTo>
                <a:lnTo>
                  <a:pt x="1600" y="722"/>
                </a:lnTo>
                <a:close/>
                <a:moveTo>
                  <a:pt x="1423" y="662"/>
                </a:moveTo>
                <a:lnTo>
                  <a:pt x="1422" y="666"/>
                </a:lnTo>
                <a:lnTo>
                  <a:pt x="1422" y="670"/>
                </a:lnTo>
                <a:lnTo>
                  <a:pt x="1423" y="673"/>
                </a:lnTo>
                <a:lnTo>
                  <a:pt x="1425" y="678"/>
                </a:lnTo>
                <a:lnTo>
                  <a:pt x="1430" y="685"/>
                </a:lnTo>
                <a:lnTo>
                  <a:pt x="1436" y="691"/>
                </a:lnTo>
                <a:lnTo>
                  <a:pt x="1449" y="702"/>
                </a:lnTo>
                <a:lnTo>
                  <a:pt x="1459" y="711"/>
                </a:lnTo>
                <a:lnTo>
                  <a:pt x="1462" y="714"/>
                </a:lnTo>
                <a:lnTo>
                  <a:pt x="1466" y="717"/>
                </a:lnTo>
                <a:lnTo>
                  <a:pt x="1470" y="719"/>
                </a:lnTo>
                <a:lnTo>
                  <a:pt x="1476" y="722"/>
                </a:lnTo>
                <a:lnTo>
                  <a:pt x="1479" y="724"/>
                </a:lnTo>
                <a:lnTo>
                  <a:pt x="1481" y="727"/>
                </a:lnTo>
                <a:lnTo>
                  <a:pt x="1480" y="728"/>
                </a:lnTo>
                <a:lnTo>
                  <a:pt x="1480" y="730"/>
                </a:lnTo>
                <a:lnTo>
                  <a:pt x="1478" y="733"/>
                </a:lnTo>
                <a:lnTo>
                  <a:pt x="1475" y="735"/>
                </a:lnTo>
                <a:lnTo>
                  <a:pt x="1468" y="740"/>
                </a:lnTo>
                <a:lnTo>
                  <a:pt x="1462" y="743"/>
                </a:lnTo>
                <a:lnTo>
                  <a:pt x="1457" y="745"/>
                </a:lnTo>
                <a:lnTo>
                  <a:pt x="1453" y="746"/>
                </a:lnTo>
                <a:lnTo>
                  <a:pt x="1448" y="746"/>
                </a:lnTo>
                <a:lnTo>
                  <a:pt x="1446" y="748"/>
                </a:lnTo>
                <a:lnTo>
                  <a:pt x="1446" y="750"/>
                </a:lnTo>
                <a:lnTo>
                  <a:pt x="1447" y="754"/>
                </a:lnTo>
                <a:lnTo>
                  <a:pt x="1449" y="758"/>
                </a:lnTo>
                <a:lnTo>
                  <a:pt x="1454" y="762"/>
                </a:lnTo>
                <a:lnTo>
                  <a:pt x="1458" y="767"/>
                </a:lnTo>
                <a:lnTo>
                  <a:pt x="1462" y="770"/>
                </a:lnTo>
                <a:lnTo>
                  <a:pt x="1471" y="774"/>
                </a:lnTo>
                <a:lnTo>
                  <a:pt x="1480" y="776"/>
                </a:lnTo>
                <a:lnTo>
                  <a:pt x="1484" y="776"/>
                </a:lnTo>
                <a:lnTo>
                  <a:pt x="1487" y="774"/>
                </a:lnTo>
                <a:lnTo>
                  <a:pt x="1491" y="772"/>
                </a:lnTo>
                <a:lnTo>
                  <a:pt x="1496" y="770"/>
                </a:lnTo>
                <a:lnTo>
                  <a:pt x="1500" y="767"/>
                </a:lnTo>
                <a:lnTo>
                  <a:pt x="1504" y="766"/>
                </a:lnTo>
                <a:lnTo>
                  <a:pt x="1507" y="766"/>
                </a:lnTo>
                <a:lnTo>
                  <a:pt x="1510" y="767"/>
                </a:lnTo>
                <a:lnTo>
                  <a:pt x="1516" y="772"/>
                </a:lnTo>
                <a:lnTo>
                  <a:pt x="1524" y="777"/>
                </a:lnTo>
                <a:lnTo>
                  <a:pt x="1528" y="779"/>
                </a:lnTo>
                <a:lnTo>
                  <a:pt x="1531" y="782"/>
                </a:lnTo>
                <a:lnTo>
                  <a:pt x="1533" y="785"/>
                </a:lnTo>
                <a:lnTo>
                  <a:pt x="1534" y="789"/>
                </a:lnTo>
                <a:lnTo>
                  <a:pt x="1534" y="795"/>
                </a:lnTo>
                <a:lnTo>
                  <a:pt x="1533" y="801"/>
                </a:lnTo>
                <a:lnTo>
                  <a:pt x="1534" y="804"/>
                </a:lnTo>
                <a:lnTo>
                  <a:pt x="1536" y="807"/>
                </a:lnTo>
                <a:lnTo>
                  <a:pt x="1540" y="811"/>
                </a:lnTo>
                <a:lnTo>
                  <a:pt x="1546" y="813"/>
                </a:lnTo>
                <a:lnTo>
                  <a:pt x="1557" y="819"/>
                </a:lnTo>
                <a:lnTo>
                  <a:pt x="1565" y="822"/>
                </a:lnTo>
                <a:lnTo>
                  <a:pt x="1567" y="822"/>
                </a:lnTo>
                <a:lnTo>
                  <a:pt x="1569" y="820"/>
                </a:lnTo>
                <a:lnTo>
                  <a:pt x="1570" y="817"/>
                </a:lnTo>
                <a:lnTo>
                  <a:pt x="1571" y="811"/>
                </a:lnTo>
                <a:lnTo>
                  <a:pt x="1572" y="802"/>
                </a:lnTo>
                <a:lnTo>
                  <a:pt x="1572" y="795"/>
                </a:lnTo>
                <a:lnTo>
                  <a:pt x="1571" y="787"/>
                </a:lnTo>
                <a:lnTo>
                  <a:pt x="1570" y="779"/>
                </a:lnTo>
                <a:lnTo>
                  <a:pt x="1566" y="763"/>
                </a:lnTo>
                <a:lnTo>
                  <a:pt x="1560" y="748"/>
                </a:lnTo>
                <a:lnTo>
                  <a:pt x="1557" y="739"/>
                </a:lnTo>
                <a:lnTo>
                  <a:pt x="1551" y="732"/>
                </a:lnTo>
                <a:lnTo>
                  <a:pt x="1544" y="724"/>
                </a:lnTo>
                <a:lnTo>
                  <a:pt x="1534" y="716"/>
                </a:lnTo>
                <a:lnTo>
                  <a:pt x="1514" y="702"/>
                </a:lnTo>
                <a:lnTo>
                  <a:pt x="1497" y="689"/>
                </a:lnTo>
                <a:lnTo>
                  <a:pt x="1489" y="683"/>
                </a:lnTo>
                <a:lnTo>
                  <a:pt x="1483" y="678"/>
                </a:lnTo>
                <a:lnTo>
                  <a:pt x="1479" y="671"/>
                </a:lnTo>
                <a:lnTo>
                  <a:pt x="1475" y="666"/>
                </a:lnTo>
                <a:lnTo>
                  <a:pt x="1469" y="657"/>
                </a:lnTo>
                <a:lnTo>
                  <a:pt x="1464" y="651"/>
                </a:lnTo>
                <a:lnTo>
                  <a:pt x="1459" y="649"/>
                </a:lnTo>
                <a:lnTo>
                  <a:pt x="1453" y="648"/>
                </a:lnTo>
                <a:lnTo>
                  <a:pt x="1449" y="648"/>
                </a:lnTo>
                <a:lnTo>
                  <a:pt x="1445" y="649"/>
                </a:lnTo>
                <a:lnTo>
                  <a:pt x="1442" y="651"/>
                </a:lnTo>
                <a:lnTo>
                  <a:pt x="1438" y="653"/>
                </a:lnTo>
                <a:lnTo>
                  <a:pt x="1426" y="660"/>
                </a:lnTo>
                <a:lnTo>
                  <a:pt x="1423" y="662"/>
                </a:lnTo>
                <a:close/>
                <a:moveTo>
                  <a:pt x="1256" y="767"/>
                </a:moveTo>
                <a:lnTo>
                  <a:pt x="1259" y="771"/>
                </a:lnTo>
                <a:lnTo>
                  <a:pt x="1265" y="774"/>
                </a:lnTo>
                <a:lnTo>
                  <a:pt x="1271" y="776"/>
                </a:lnTo>
                <a:lnTo>
                  <a:pt x="1279" y="777"/>
                </a:lnTo>
                <a:lnTo>
                  <a:pt x="1291" y="777"/>
                </a:lnTo>
                <a:lnTo>
                  <a:pt x="1296" y="777"/>
                </a:lnTo>
                <a:lnTo>
                  <a:pt x="1303" y="779"/>
                </a:lnTo>
                <a:lnTo>
                  <a:pt x="1316" y="782"/>
                </a:lnTo>
                <a:lnTo>
                  <a:pt x="1324" y="782"/>
                </a:lnTo>
                <a:lnTo>
                  <a:pt x="1331" y="782"/>
                </a:lnTo>
                <a:lnTo>
                  <a:pt x="1333" y="781"/>
                </a:lnTo>
                <a:lnTo>
                  <a:pt x="1335" y="780"/>
                </a:lnTo>
                <a:lnTo>
                  <a:pt x="1336" y="778"/>
                </a:lnTo>
                <a:lnTo>
                  <a:pt x="1337" y="776"/>
                </a:lnTo>
                <a:lnTo>
                  <a:pt x="1337" y="771"/>
                </a:lnTo>
                <a:lnTo>
                  <a:pt x="1336" y="763"/>
                </a:lnTo>
                <a:lnTo>
                  <a:pt x="1334" y="755"/>
                </a:lnTo>
                <a:lnTo>
                  <a:pt x="1332" y="747"/>
                </a:lnTo>
                <a:lnTo>
                  <a:pt x="1329" y="739"/>
                </a:lnTo>
                <a:lnTo>
                  <a:pt x="1326" y="733"/>
                </a:lnTo>
                <a:lnTo>
                  <a:pt x="1322" y="728"/>
                </a:lnTo>
                <a:lnTo>
                  <a:pt x="1317" y="725"/>
                </a:lnTo>
                <a:lnTo>
                  <a:pt x="1314" y="725"/>
                </a:lnTo>
                <a:lnTo>
                  <a:pt x="1312" y="725"/>
                </a:lnTo>
                <a:lnTo>
                  <a:pt x="1310" y="727"/>
                </a:lnTo>
                <a:lnTo>
                  <a:pt x="1309" y="729"/>
                </a:lnTo>
                <a:lnTo>
                  <a:pt x="1307" y="732"/>
                </a:lnTo>
                <a:lnTo>
                  <a:pt x="1305" y="736"/>
                </a:lnTo>
                <a:lnTo>
                  <a:pt x="1302" y="739"/>
                </a:lnTo>
                <a:lnTo>
                  <a:pt x="1296" y="744"/>
                </a:lnTo>
                <a:lnTo>
                  <a:pt x="1283" y="751"/>
                </a:lnTo>
                <a:lnTo>
                  <a:pt x="1269" y="759"/>
                </a:lnTo>
                <a:lnTo>
                  <a:pt x="1259" y="766"/>
                </a:lnTo>
                <a:lnTo>
                  <a:pt x="1256" y="767"/>
                </a:lnTo>
                <a:close/>
                <a:moveTo>
                  <a:pt x="1218" y="819"/>
                </a:moveTo>
                <a:lnTo>
                  <a:pt x="1227" y="822"/>
                </a:lnTo>
                <a:lnTo>
                  <a:pt x="1239" y="824"/>
                </a:lnTo>
                <a:lnTo>
                  <a:pt x="1245" y="825"/>
                </a:lnTo>
                <a:lnTo>
                  <a:pt x="1249" y="827"/>
                </a:lnTo>
                <a:lnTo>
                  <a:pt x="1251" y="830"/>
                </a:lnTo>
                <a:lnTo>
                  <a:pt x="1252" y="831"/>
                </a:lnTo>
                <a:lnTo>
                  <a:pt x="1254" y="833"/>
                </a:lnTo>
                <a:lnTo>
                  <a:pt x="1254" y="836"/>
                </a:lnTo>
                <a:lnTo>
                  <a:pt x="1254" y="839"/>
                </a:lnTo>
                <a:lnTo>
                  <a:pt x="1255" y="841"/>
                </a:lnTo>
                <a:lnTo>
                  <a:pt x="1256" y="844"/>
                </a:lnTo>
                <a:lnTo>
                  <a:pt x="1258" y="847"/>
                </a:lnTo>
                <a:lnTo>
                  <a:pt x="1262" y="853"/>
                </a:lnTo>
                <a:lnTo>
                  <a:pt x="1268" y="857"/>
                </a:lnTo>
                <a:lnTo>
                  <a:pt x="1281" y="865"/>
                </a:lnTo>
                <a:lnTo>
                  <a:pt x="1291" y="870"/>
                </a:lnTo>
                <a:lnTo>
                  <a:pt x="1293" y="871"/>
                </a:lnTo>
                <a:lnTo>
                  <a:pt x="1295" y="870"/>
                </a:lnTo>
                <a:lnTo>
                  <a:pt x="1299" y="868"/>
                </a:lnTo>
                <a:lnTo>
                  <a:pt x="1301" y="865"/>
                </a:lnTo>
                <a:lnTo>
                  <a:pt x="1307" y="858"/>
                </a:lnTo>
                <a:lnTo>
                  <a:pt x="1312" y="848"/>
                </a:lnTo>
                <a:lnTo>
                  <a:pt x="1322" y="831"/>
                </a:lnTo>
                <a:lnTo>
                  <a:pt x="1326" y="822"/>
                </a:lnTo>
                <a:lnTo>
                  <a:pt x="1331" y="820"/>
                </a:lnTo>
                <a:lnTo>
                  <a:pt x="1340" y="816"/>
                </a:lnTo>
                <a:lnTo>
                  <a:pt x="1345" y="813"/>
                </a:lnTo>
                <a:lnTo>
                  <a:pt x="1349" y="810"/>
                </a:lnTo>
                <a:lnTo>
                  <a:pt x="1350" y="807"/>
                </a:lnTo>
                <a:lnTo>
                  <a:pt x="1350" y="806"/>
                </a:lnTo>
                <a:lnTo>
                  <a:pt x="1350" y="805"/>
                </a:lnTo>
                <a:lnTo>
                  <a:pt x="1349" y="804"/>
                </a:lnTo>
                <a:lnTo>
                  <a:pt x="1343" y="799"/>
                </a:lnTo>
                <a:lnTo>
                  <a:pt x="1334" y="795"/>
                </a:lnTo>
                <a:lnTo>
                  <a:pt x="1328" y="795"/>
                </a:lnTo>
                <a:lnTo>
                  <a:pt x="1322" y="795"/>
                </a:lnTo>
                <a:lnTo>
                  <a:pt x="1312" y="797"/>
                </a:lnTo>
                <a:lnTo>
                  <a:pt x="1302" y="801"/>
                </a:lnTo>
                <a:lnTo>
                  <a:pt x="1291" y="805"/>
                </a:lnTo>
                <a:lnTo>
                  <a:pt x="1285" y="810"/>
                </a:lnTo>
                <a:lnTo>
                  <a:pt x="1280" y="814"/>
                </a:lnTo>
                <a:lnTo>
                  <a:pt x="1278" y="817"/>
                </a:lnTo>
                <a:lnTo>
                  <a:pt x="1276" y="819"/>
                </a:lnTo>
                <a:lnTo>
                  <a:pt x="1273" y="819"/>
                </a:lnTo>
                <a:lnTo>
                  <a:pt x="1271" y="819"/>
                </a:lnTo>
                <a:lnTo>
                  <a:pt x="1268" y="816"/>
                </a:lnTo>
                <a:lnTo>
                  <a:pt x="1262" y="814"/>
                </a:lnTo>
                <a:lnTo>
                  <a:pt x="1255" y="814"/>
                </a:lnTo>
                <a:lnTo>
                  <a:pt x="1246" y="814"/>
                </a:lnTo>
                <a:lnTo>
                  <a:pt x="1237" y="815"/>
                </a:lnTo>
                <a:lnTo>
                  <a:pt x="1223" y="818"/>
                </a:lnTo>
                <a:lnTo>
                  <a:pt x="1218" y="819"/>
                </a:lnTo>
                <a:close/>
                <a:moveTo>
                  <a:pt x="1081" y="1008"/>
                </a:moveTo>
                <a:lnTo>
                  <a:pt x="1077" y="1008"/>
                </a:lnTo>
                <a:lnTo>
                  <a:pt x="1074" y="1010"/>
                </a:lnTo>
                <a:lnTo>
                  <a:pt x="1070" y="1012"/>
                </a:lnTo>
                <a:lnTo>
                  <a:pt x="1067" y="1014"/>
                </a:lnTo>
                <a:lnTo>
                  <a:pt x="1063" y="1015"/>
                </a:lnTo>
                <a:lnTo>
                  <a:pt x="1059" y="1016"/>
                </a:lnTo>
                <a:lnTo>
                  <a:pt x="1054" y="1016"/>
                </a:lnTo>
                <a:lnTo>
                  <a:pt x="1051" y="1014"/>
                </a:lnTo>
                <a:lnTo>
                  <a:pt x="1048" y="1010"/>
                </a:lnTo>
                <a:lnTo>
                  <a:pt x="1046" y="1003"/>
                </a:lnTo>
                <a:lnTo>
                  <a:pt x="1045" y="996"/>
                </a:lnTo>
                <a:lnTo>
                  <a:pt x="1045" y="989"/>
                </a:lnTo>
                <a:lnTo>
                  <a:pt x="1045" y="980"/>
                </a:lnTo>
                <a:lnTo>
                  <a:pt x="1046" y="974"/>
                </a:lnTo>
                <a:lnTo>
                  <a:pt x="1048" y="969"/>
                </a:lnTo>
                <a:lnTo>
                  <a:pt x="1050" y="967"/>
                </a:lnTo>
                <a:lnTo>
                  <a:pt x="1066" y="954"/>
                </a:lnTo>
                <a:lnTo>
                  <a:pt x="1096" y="927"/>
                </a:lnTo>
                <a:lnTo>
                  <a:pt x="1126" y="898"/>
                </a:lnTo>
                <a:lnTo>
                  <a:pt x="1142" y="882"/>
                </a:lnTo>
                <a:lnTo>
                  <a:pt x="1151" y="875"/>
                </a:lnTo>
                <a:lnTo>
                  <a:pt x="1163" y="865"/>
                </a:lnTo>
                <a:lnTo>
                  <a:pt x="1176" y="856"/>
                </a:lnTo>
                <a:lnTo>
                  <a:pt x="1187" y="849"/>
                </a:lnTo>
                <a:lnTo>
                  <a:pt x="1192" y="846"/>
                </a:lnTo>
                <a:lnTo>
                  <a:pt x="1195" y="843"/>
                </a:lnTo>
                <a:lnTo>
                  <a:pt x="1198" y="839"/>
                </a:lnTo>
                <a:lnTo>
                  <a:pt x="1200" y="836"/>
                </a:lnTo>
                <a:lnTo>
                  <a:pt x="1201" y="834"/>
                </a:lnTo>
                <a:lnTo>
                  <a:pt x="1203" y="834"/>
                </a:lnTo>
                <a:lnTo>
                  <a:pt x="1204" y="836"/>
                </a:lnTo>
                <a:lnTo>
                  <a:pt x="1205" y="841"/>
                </a:lnTo>
                <a:lnTo>
                  <a:pt x="1206" y="855"/>
                </a:lnTo>
                <a:lnTo>
                  <a:pt x="1207" y="866"/>
                </a:lnTo>
                <a:lnTo>
                  <a:pt x="1206" y="876"/>
                </a:lnTo>
                <a:lnTo>
                  <a:pt x="1204" y="882"/>
                </a:lnTo>
                <a:lnTo>
                  <a:pt x="1200" y="887"/>
                </a:lnTo>
                <a:lnTo>
                  <a:pt x="1194" y="896"/>
                </a:lnTo>
                <a:lnTo>
                  <a:pt x="1191" y="900"/>
                </a:lnTo>
                <a:lnTo>
                  <a:pt x="1189" y="904"/>
                </a:lnTo>
                <a:lnTo>
                  <a:pt x="1186" y="909"/>
                </a:lnTo>
                <a:lnTo>
                  <a:pt x="1186" y="912"/>
                </a:lnTo>
                <a:lnTo>
                  <a:pt x="1187" y="922"/>
                </a:lnTo>
                <a:lnTo>
                  <a:pt x="1189" y="932"/>
                </a:lnTo>
                <a:lnTo>
                  <a:pt x="1189" y="938"/>
                </a:lnTo>
                <a:lnTo>
                  <a:pt x="1187" y="944"/>
                </a:lnTo>
                <a:lnTo>
                  <a:pt x="1185" y="950"/>
                </a:lnTo>
                <a:lnTo>
                  <a:pt x="1181" y="955"/>
                </a:lnTo>
                <a:lnTo>
                  <a:pt x="1174" y="966"/>
                </a:lnTo>
                <a:lnTo>
                  <a:pt x="1169" y="975"/>
                </a:lnTo>
                <a:lnTo>
                  <a:pt x="1165" y="979"/>
                </a:lnTo>
                <a:lnTo>
                  <a:pt x="1163" y="981"/>
                </a:lnTo>
                <a:lnTo>
                  <a:pt x="1162" y="981"/>
                </a:lnTo>
                <a:lnTo>
                  <a:pt x="1161" y="981"/>
                </a:lnTo>
                <a:lnTo>
                  <a:pt x="1159" y="980"/>
                </a:lnTo>
                <a:lnTo>
                  <a:pt x="1158" y="979"/>
                </a:lnTo>
                <a:lnTo>
                  <a:pt x="1155" y="974"/>
                </a:lnTo>
                <a:lnTo>
                  <a:pt x="1153" y="968"/>
                </a:lnTo>
                <a:lnTo>
                  <a:pt x="1152" y="959"/>
                </a:lnTo>
                <a:lnTo>
                  <a:pt x="1151" y="952"/>
                </a:lnTo>
                <a:lnTo>
                  <a:pt x="1149" y="946"/>
                </a:lnTo>
                <a:lnTo>
                  <a:pt x="1148" y="942"/>
                </a:lnTo>
                <a:lnTo>
                  <a:pt x="1147" y="941"/>
                </a:lnTo>
                <a:lnTo>
                  <a:pt x="1145" y="941"/>
                </a:lnTo>
                <a:lnTo>
                  <a:pt x="1143" y="942"/>
                </a:lnTo>
                <a:lnTo>
                  <a:pt x="1141" y="944"/>
                </a:lnTo>
                <a:lnTo>
                  <a:pt x="1134" y="954"/>
                </a:lnTo>
                <a:lnTo>
                  <a:pt x="1128" y="966"/>
                </a:lnTo>
                <a:lnTo>
                  <a:pt x="1121" y="977"/>
                </a:lnTo>
                <a:lnTo>
                  <a:pt x="1116" y="990"/>
                </a:lnTo>
                <a:lnTo>
                  <a:pt x="1110" y="1003"/>
                </a:lnTo>
                <a:lnTo>
                  <a:pt x="1105" y="1017"/>
                </a:lnTo>
                <a:lnTo>
                  <a:pt x="1103" y="1022"/>
                </a:lnTo>
                <a:lnTo>
                  <a:pt x="1099" y="1026"/>
                </a:lnTo>
                <a:lnTo>
                  <a:pt x="1096" y="1029"/>
                </a:lnTo>
                <a:lnTo>
                  <a:pt x="1093" y="1030"/>
                </a:lnTo>
                <a:lnTo>
                  <a:pt x="1092" y="1030"/>
                </a:lnTo>
                <a:lnTo>
                  <a:pt x="1091" y="1029"/>
                </a:lnTo>
                <a:lnTo>
                  <a:pt x="1090" y="1026"/>
                </a:lnTo>
                <a:lnTo>
                  <a:pt x="1089" y="1025"/>
                </a:lnTo>
                <a:lnTo>
                  <a:pt x="1089" y="1021"/>
                </a:lnTo>
                <a:lnTo>
                  <a:pt x="1089" y="1016"/>
                </a:lnTo>
                <a:lnTo>
                  <a:pt x="1091" y="1008"/>
                </a:lnTo>
                <a:lnTo>
                  <a:pt x="1092" y="1004"/>
                </a:lnTo>
                <a:lnTo>
                  <a:pt x="1087" y="1007"/>
                </a:lnTo>
                <a:lnTo>
                  <a:pt x="1081" y="1008"/>
                </a:lnTo>
                <a:close/>
                <a:moveTo>
                  <a:pt x="1139" y="1050"/>
                </a:moveTo>
                <a:lnTo>
                  <a:pt x="1146" y="1045"/>
                </a:lnTo>
                <a:lnTo>
                  <a:pt x="1153" y="1040"/>
                </a:lnTo>
                <a:lnTo>
                  <a:pt x="1156" y="1037"/>
                </a:lnTo>
                <a:lnTo>
                  <a:pt x="1158" y="1032"/>
                </a:lnTo>
                <a:lnTo>
                  <a:pt x="1159" y="1026"/>
                </a:lnTo>
                <a:lnTo>
                  <a:pt x="1159" y="1020"/>
                </a:lnTo>
                <a:lnTo>
                  <a:pt x="1158" y="1008"/>
                </a:lnTo>
                <a:lnTo>
                  <a:pt x="1158" y="997"/>
                </a:lnTo>
                <a:lnTo>
                  <a:pt x="1157" y="994"/>
                </a:lnTo>
                <a:lnTo>
                  <a:pt x="1157" y="992"/>
                </a:lnTo>
                <a:lnTo>
                  <a:pt x="1156" y="992"/>
                </a:lnTo>
                <a:lnTo>
                  <a:pt x="1154" y="994"/>
                </a:lnTo>
                <a:lnTo>
                  <a:pt x="1138" y="1011"/>
                </a:lnTo>
                <a:lnTo>
                  <a:pt x="1125" y="1024"/>
                </a:lnTo>
                <a:lnTo>
                  <a:pt x="1125" y="1028"/>
                </a:lnTo>
                <a:lnTo>
                  <a:pt x="1125" y="1031"/>
                </a:lnTo>
                <a:lnTo>
                  <a:pt x="1126" y="1035"/>
                </a:lnTo>
                <a:lnTo>
                  <a:pt x="1127" y="1039"/>
                </a:lnTo>
                <a:lnTo>
                  <a:pt x="1129" y="1046"/>
                </a:lnTo>
                <a:lnTo>
                  <a:pt x="1130" y="1051"/>
                </a:lnTo>
                <a:lnTo>
                  <a:pt x="1135" y="1050"/>
                </a:lnTo>
                <a:lnTo>
                  <a:pt x="1139" y="1050"/>
                </a:lnTo>
                <a:close/>
                <a:moveTo>
                  <a:pt x="1169" y="1063"/>
                </a:moveTo>
                <a:lnTo>
                  <a:pt x="1172" y="1067"/>
                </a:lnTo>
                <a:lnTo>
                  <a:pt x="1177" y="1072"/>
                </a:lnTo>
                <a:lnTo>
                  <a:pt x="1185" y="1076"/>
                </a:lnTo>
                <a:lnTo>
                  <a:pt x="1194" y="1080"/>
                </a:lnTo>
                <a:lnTo>
                  <a:pt x="1203" y="1084"/>
                </a:lnTo>
                <a:lnTo>
                  <a:pt x="1212" y="1086"/>
                </a:lnTo>
                <a:lnTo>
                  <a:pt x="1218" y="1087"/>
                </a:lnTo>
                <a:lnTo>
                  <a:pt x="1221" y="1086"/>
                </a:lnTo>
                <a:lnTo>
                  <a:pt x="1228" y="1079"/>
                </a:lnTo>
                <a:lnTo>
                  <a:pt x="1239" y="1068"/>
                </a:lnTo>
                <a:lnTo>
                  <a:pt x="1244" y="1063"/>
                </a:lnTo>
                <a:lnTo>
                  <a:pt x="1248" y="1060"/>
                </a:lnTo>
                <a:lnTo>
                  <a:pt x="1250" y="1059"/>
                </a:lnTo>
                <a:lnTo>
                  <a:pt x="1252" y="1059"/>
                </a:lnTo>
                <a:lnTo>
                  <a:pt x="1254" y="1059"/>
                </a:lnTo>
                <a:lnTo>
                  <a:pt x="1255" y="1060"/>
                </a:lnTo>
                <a:lnTo>
                  <a:pt x="1257" y="1063"/>
                </a:lnTo>
                <a:lnTo>
                  <a:pt x="1260" y="1065"/>
                </a:lnTo>
                <a:lnTo>
                  <a:pt x="1264" y="1067"/>
                </a:lnTo>
                <a:lnTo>
                  <a:pt x="1269" y="1068"/>
                </a:lnTo>
                <a:lnTo>
                  <a:pt x="1280" y="1070"/>
                </a:lnTo>
                <a:lnTo>
                  <a:pt x="1287" y="1072"/>
                </a:lnTo>
                <a:lnTo>
                  <a:pt x="1294" y="1073"/>
                </a:lnTo>
                <a:lnTo>
                  <a:pt x="1304" y="1074"/>
                </a:lnTo>
                <a:lnTo>
                  <a:pt x="1307" y="1075"/>
                </a:lnTo>
                <a:lnTo>
                  <a:pt x="1310" y="1076"/>
                </a:lnTo>
                <a:lnTo>
                  <a:pt x="1311" y="1077"/>
                </a:lnTo>
                <a:lnTo>
                  <a:pt x="1310" y="1079"/>
                </a:lnTo>
                <a:lnTo>
                  <a:pt x="1306" y="1081"/>
                </a:lnTo>
                <a:lnTo>
                  <a:pt x="1302" y="1082"/>
                </a:lnTo>
                <a:lnTo>
                  <a:pt x="1295" y="1083"/>
                </a:lnTo>
                <a:lnTo>
                  <a:pt x="1289" y="1084"/>
                </a:lnTo>
                <a:lnTo>
                  <a:pt x="1282" y="1085"/>
                </a:lnTo>
                <a:lnTo>
                  <a:pt x="1276" y="1086"/>
                </a:lnTo>
                <a:lnTo>
                  <a:pt x="1271" y="1089"/>
                </a:lnTo>
                <a:lnTo>
                  <a:pt x="1268" y="1094"/>
                </a:lnTo>
                <a:lnTo>
                  <a:pt x="1264" y="1098"/>
                </a:lnTo>
                <a:lnTo>
                  <a:pt x="1259" y="1102"/>
                </a:lnTo>
                <a:lnTo>
                  <a:pt x="1251" y="1106"/>
                </a:lnTo>
                <a:lnTo>
                  <a:pt x="1245" y="1110"/>
                </a:lnTo>
                <a:lnTo>
                  <a:pt x="1238" y="1114"/>
                </a:lnTo>
                <a:lnTo>
                  <a:pt x="1233" y="1118"/>
                </a:lnTo>
                <a:lnTo>
                  <a:pt x="1229" y="1121"/>
                </a:lnTo>
                <a:lnTo>
                  <a:pt x="1228" y="1123"/>
                </a:lnTo>
                <a:lnTo>
                  <a:pt x="1230" y="1125"/>
                </a:lnTo>
                <a:lnTo>
                  <a:pt x="1234" y="1128"/>
                </a:lnTo>
                <a:lnTo>
                  <a:pt x="1239" y="1130"/>
                </a:lnTo>
                <a:lnTo>
                  <a:pt x="1244" y="1133"/>
                </a:lnTo>
                <a:lnTo>
                  <a:pt x="1249" y="1134"/>
                </a:lnTo>
                <a:lnTo>
                  <a:pt x="1256" y="1136"/>
                </a:lnTo>
                <a:lnTo>
                  <a:pt x="1261" y="1138"/>
                </a:lnTo>
                <a:lnTo>
                  <a:pt x="1267" y="1138"/>
                </a:lnTo>
                <a:lnTo>
                  <a:pt x="1277" y="1138"/>
                </a:lnTo>
                <a:lnTo>
                  <a:pt x="1286" y="1139"/>
                </a:lnTo>
                <a:lnTo>
                  <a:pt x="1291" y="1138"/>
                </a:lnTo>
                <a:lnTo>
                  <a:pt x="1296" y="1135"/>
                </a:lnTo>
                <a:lnTo>
                  <a:pt x="1303" y="1130"/>
                </a:lnTo>
                <a:lnTo>
                  <a:pt x="1311" y="1123"/>
                </a:lnTo>
                <a:lnTo>
                  <a:pt x="1326" y="1105"/>
                </a:lnTo>
                <a:lnTo>
                  <a:pt x="1338" y="1090"/>
                </a:lnTo>
                <a:lnTo>
                  <a:pt x="1344" y="1085"/>
                </a:lnTo>
                <a:lnTo>
                  <a:pt x="1349" y="1082"/>
                </a:lnTo>
                <a:lnTo>
                  <a:pt x="1351" y="1081"/>
                </a:lnTo>
                <a:lnTo>
                  <a:pt x="1353" y="1080"/>
                </a:lnTo>
                <a:lnTo>
                  <a:pt x="1356" y="1081"/>
                </a:lnTo>
                <a:lnTo>
                  <a:pt x="1358" y="1082"/>
                </a:lnTo>
                <a:lnTo>
                  <a:pt x="1365" y="1089"/>
                </a:lnTo>
                <a:lnTo>
                  <a:pt x="1369" y="1096"/>
                </a:lnTo>
                <a:lnTo>
                  <a:pt x="1370" y="1098"/>
                </a:lnTo>
                <a:lnTo>
                  <a:pt x="1372" y="1100"/>
                </a:lnTo>
                <a:lnTo>
                  <a:pt x="1374" y="1100"/>
                </a:lnTo>
                <a:lnTo>
                  <a:pt x="1377" y="1099"/>
                </a:lnTo>
                <a:lnTo>
                  <a:pt x="1381" y="1097"/>
                </a:lnTo>
                <a:lnTo>
                  <a:pt x="1386" y="1096"/>
                </a:lnTo>
                <a:lnTo>
                  <a:pt x="1390" y="1096"/>
                </a:lnTo>
                <a:lnTo>
                  <a:pt x="1394" y="1096"/>
                </a:lnTo>
                <a:lnTo>
                  <a:pt x="1400" y="1097"/>
                </a:lnTo>
                <a:lnTo>
                  <a:pt x="1403" y="1098"/>
                </a:lnTo>
                <a:lnTo>
                  <a:pt x="1404" y="1099"/>
                </a:lnTo>
                <a:lnTo>
                  <a:pt x="1408" y="1102"/>
                </a:lnTo>
                <a:lnTo>
                  <a:pt x="1410" y="1103"/>
                </a:lnTo>
                <a:lnTo>
                  <a:pt x="1412" y="1103"/>
                </a:lnTo>
                <a:lnTo>
                  <a:pt x="1414" y="1101"/>
                </a:lnTo>
                <a:lnTo>
                  <a:pt x="1415" y="1098"/>
                </a:lnTo>
                <a:lnTo>
                  <a:pt x="1420" y="1086"/>
                </a:lnTo>
                <a:lnTo>
                  <a:pt x="1424" y="1076"/>
                </a:lnTo>
                <a:lnTo>
                  <a:pt x="1427" y="1067"/>
                </a:lnTo>
                <a:lnTo>
                  <a:pt x="1428" y="1064"/>
                </a:lnTo>
                <a:lnTo>
                  <a:pt x="1431" y="1062"/>
                </a:lnTo>
                <a:lnTo>
                  <a:pt x="1436" y="1055"/>
                </a:lnTo>
                <a:lnTo>
                  <a:pt x="1438" y="1050"/>
                </a:lnTo>
                <a:lnTo>
                  <a:pt x="1439" y="1043"/>
                </a:lnTo>
                <a:lnTo>
                  <a:pt x="1439" y="1036"/>
                </a:lnTo>
                <a:lnTo>
                  <a:pt x="1437" y="1029"/>
                </a:lnTo>
                <a:lnTo>
                  <a:pt x="1433" y="1012"/>
                </a:lnTo>
                <a:lnTo>
                  <a:pt x="1427" y="996"/>
                </a:lnTo>
                <a:lnTo>
                  <a:pt x="1426" y="993"/>
                </a:lnTo>
                <a:lnTo>
                  <a:pt x="1425" y="991"/>
                </a:lnTo>
                <a:lnTo>
                  <a:pt x="1423" y="990"/>
                </a:lnTo>
                <a:lnTo>
                  <a:pt x="1421" y="989"/>
                </a:lnTo>
                <a:lnTo>
                  <a:pt x="1419" y="989"/>
                </a:lnTo>
                <a:lnTo>
                  <a:pt x="1417" y="990"/>
                </a:lnTo>
                <a:lnTo>
                  <a:pt x="1414" y="992"/>
                </a:lnTo>
                <a:lnTo>
                  <a:pt x="1412" y="996"/>
                </a:lnTo>
                <a:lnTo>
                  <a:pt x="1401" y="1008"/>
                </a:lnTo>
                <a:lnTo>
                  <a:pt x="1396" y="1013"/>
                </a:lnTo>
                <a:lnTo>
                  <a:pt x="1394" y="1012"/>
                </a:lnTo>
                <a:lnTo>
                  <a:pt x="1393" y="1011"/>
                </a:lnTo>
                <a:lnTo>
                  <a:pt x="1391" y="1009"/>
                </a:lnTo>
                <a:lnTo>
                  <a:pt x="1389" y="1006"/>
                </a:lnTo>
                <a:lnTo>
                  <a:pt x="1382" y="996"/>
                </a:lnTo>
                <a:lnTo>
                  <a:pt x="1375" y="985"/>
                </a:lnTo>
                <a:lnTo>
                  <a:pt x="1371" y="979"/>
                </a:lnTo>
                <a:lnTo>
                  <a:pt x="1369" y="974"/>
                </a:lnTo>
                <a:lnTo>
                  <a:pt x="1368" y="970"/>
                </a:lnTo>
                <a:lnTo>
                  <a:pt x="1368" y="966"/>
                </a:lnTo>
                <a:lnTo>
                  <a:pt x="1371" y="958"/>
                </a:lnTo>
                <a:lnTo>
                  <a:pt x="1374" y="950"/>
                </a:lnTo>
                <a:lnTo>
                  <a:pt x="1374" y="945"/>
                </a:lnTo>
                <a:lnTo>
                  <a:pt x="1373" y="941"/>
                </a:lnTo>
                <a:lnTo>
                  <a:pt x="1371" y="936"/>
                </a:lnTo>
                <a:lnTo>
                  <a:pt x="1368" y="932"/>
                </a:lnTo>
                <a:lnTo>
                  <a:pt x="1365" y="929"/>
                </a:lnTo>
                <a:lnTo>
                  <a:pt x="1361" y="927"/>
                </a:lnTo>
                <a:lnTo>
                  <a:pt x="1359" y="927"/>
                </a:lnTo>
                <a:lnTo>
                  <a:pt x="1356" y="927"/>
                </a:lnTo>
                <a:lnTo>
                  <a:pt x="1350" y="931"/>
                </a:lnTo>
                <a:lnTo>
                  <a:pt x="1340" y="937"/>
                </a:lnTo>
                <a:lnTo>
                  <a:pt x="1335" y="942"/>
                </a:lnTo>
                <a:lnTo>
                  <a:pt x="1332" y="946"/>
                </a:lnTo>
                <a:lnTo>
                  <a:pt x="1329" y="951"/>
                </a:lnTo>
                <a:lnTo>
                  <a:pt x="1328" y="955"/>
                </a:lnTo>
                <a:lnTo>
                  <a:pt x="1328" y="963"/>
                </a:lnTo>
                <a:lnTo>
                  <a:pt x="1328" y="966"/>
                </a:lnTo>
                <a:lnTo>
                  <a:pt x="1331" y="970"/>
                </a:lnTo>
                <a:lnTo>
                  <a:pt x="1336" y="978"/>
                </a:lnTo>
                <a:lnTo>
                  <a:pt x="1342" y="989"/>
                </a:lnTo>
                <a:lnTo>
                  <a:pt x="1344" y="997"/>
                </a:lnTo>
                <a:lnTo>
                  <a:pt x="1343" y="999"/>
                </a:lnTo>
                <a:lnTo>
                  <a:pt x="1342" y="1002"/>
                </a:lnTo>
                <a:lnTo>
                  <a:pt x="1339" y="1004"/>
                </a:lnTo>
                <a:lnTo>
                  <a:pt x="1337" y="1007"/>
                </a:lnTo>
                <a:lnTo>
                  <a:pt x="1336" y="1009"/>
                </a:lnTo>
                <a:lnTo>
                  <a:pt x="1335" y="1011"/>
                </a:lnTo>
                <a:lnTo>
                  <a:pt x="1335" y="1013"/>
                </a:lnTo>
                <a:lnTo>
                  <a:pt x="1336" y="1015"/>
                </a:lnTo>
                <a:lnTo>
                  <a:pt x="1339" y="1017"/>
                </a:lnTo>
                <a:lnTo>
                  <a:pt x="1342" y="1019"/>
                </a:lnTo>
                <a:lnTo>
                  <a:pt x="1345" y="1019"/>
                </a:lnTo>
                <a:lnTo>
                  <a:pt x="1348" y="1020"/>
                </a:lnTo>
                <a:lnTo>
                  <a:pt x="1351" y="1020"/>
                </a:lnTo>
                <a:lnTo>
                  <a:pt x="1352" y="1022"/>
                </a:lnTo>
                <a:lnTo>
                  <a:pt x="1353" y="1024"/>
                </a:lnTo>
                <a:lnTo>
                  <a:pt x="1353" y="1028"/>
                </a:lnTo>
                <a:lnTo>
                  <a:pt x="1350" y="1038"/>
                </a:lnTo>
                <a:lnTo>
                  <a:pt x="1346" y="1050"/>
                </a:lnTo>
                <a:lnTo>
                  <a:pt x="1344" y="1055"/>
                </a:lnTo>
                <a:lnTo>
                  <a:pt x="1340" y="1057"/>
                </a:lnTo>
                <a:lnTo>
                  <a:pt x="1339" y="1058"/>
                </a:lnTo>
                <a:lnTo>
                  <a:pt x="1337" y="1058"/>
                </a:lnTo>
                <a:lnTo>
                  <a:pt x="1336" y="1058"/>
                </a:lnTo>
                <a:lnTo>
                  <a:pt x="1334" y="1056"/>
                </a:lnTo>
                <a:lnTo>
                  <a:pt x="1325" y="1048"/>
                </a:lnTo>
                <a:lnTo>
                  <a:pt x="1313" y="1039"/>
                </a:lnTo>
                <a:lnTo>
                  <a:pt x="1302" y="1032"/>
                </a:lnTo>
                <a:lnTo>
                  <a:pt x="1295" y="1025"/>
                </a:lnTo>
                <a:lnTo>
                  <a:pt x="1292" y="1018"/>
                </a:lnTo>
                <a:lnTo>
                  <a:pt x="1288" y="1007"/>
                </a:lnTo>
                <a:lnTo>
                  <a:pt x="1286" y="999"/>
                </a:lnTo>
                <a:lnTo>
                  <a:pt x="1282" y="993"/>
                </a:lnTo>
                <a:lnTo>
                  <a:pt x="1278" y="988"/>
                </a:lnTo>
                <a:lnTo>
                  <a:pt x="1271" y="984"/>
                </a:lnTo>
                <a:lnTo>
                  <a:pt x="1265" y="979"/>
                </a:lnTo>
                <a:lnTo>
                  <a:pt x="1260" y="973"/>
                </a:lnTo>
                <a:lnTo>
                  <a:pt x="1254" y="966"/>
                </a:lnTo>
                <a:lnTo>
                  <a:pt x="1248" y="959"/>
                </a:lnTo>
                <a:lnTo>
                  <a:pt x="1243" y="954"/>
                </a:lnTo>
                <a:lnTo>
                  <a:pt x="1238" y="951"/>
                </a:lnTo>
                <a:lnTo>
                  <a:pt x="1235" y="951"/>
                </a:lnTo>
                <a:lnTo>
                  <a:pt x="1232" y="951"/>
                </a:lnTo>
                <a:lnTo>
                  <a:pt x="1229" y="953"/>
                </a:lnTo>
                <a:lnTo>
                  <a:pt x="1226" y="956"/>
                </a:lnTo>
                <a:lnTo>
                  <a:pt x="1217" y="967"/>
                </a:lnTo>
                <a:lnTo>
                  <a:pt x="1210" y="975"/>
                </a:lnTo>
                <a:lnTo>
                  <a:pt x="1206" y="978"/>
                </a:lnTo>
                <a:lnTo>
                  <a:pt x="1204" y="980"/>
                </a:lnTo>
                <a:lnTo>
                  <a:pt x="1203" y="984"/>
                </a:lnTo>
                <a:lnTo>
                  <a:pt x="1203" y="987"/>
                </a:lnTo>
                <a:lnTo>
                  <a:pt x="1202" y="988"/>
                </a:lnTo>
                <a:lnTo>
                  <a:pt x="1202" y="989"/>
                </a:lnTo>
                <a:lnTo>
                  <a:pt x="1200" y="990"/>
                </a:lnTo>
                <a:lnTo>
                  <a:pt x="1198" y="990"/>
                </a:lnTo>
                <a:lnTo>
                  <a:pt x="1194" y="991"/>
                </a:lnTo>
                <a:lnTo>
                  <a:pt x="1189" y="991"/>
                </a:lnTo>
                <a:lnTo>
                  <a:pt x="1184" y="993"/>
                </a:lnTo>
                <a:lnTo>
                  <a:pt x="1181" y="995"/>
                </a:lnTo>
                <a:lnTo>
                  <a:pt x="1181" y="997"/>
                </a:lnTo>
                <a:lnTo>
                  <a:pt x="1181" y="999"/>
                </a:lnTo>
                <a:lnTo>
                  <a:pt x="1182" y="1002"/>
                </a:lnTo>
                <a:lnTo>
                  <a:pt x="1184" y="1007"/>
                </a:lnTo>
                <a:lnTo>
                  <a:pt x="1191" y="1013"/>
                </a:lnTo>
                <a:lnTo>
                  <a:pt x="1197" y="1019"/>
                </a:lnTo>
                <a:lnTo>
                  <a:pt x="1203" y="1023"/>
                </a:lnTo>
                <a:lnTo>
                  <a:pt x="1208" y="1026"/>
                </a:lnTo>
                <a:lnTo>
                  <a:pt x="1213" y="1030"/>
                </a:lnTo>
                <a:lnTo>
                  <a:pt x="1216" y="1032"/>
                </a:lnTo>
                <a:lnTo>
                  <a:pt x="1216" y="1033"/>
                </a:lnTo>
                <a:lnTo>
                  <a:pt x="1216" y="1033"/>
                </a:lnTo>
                <a:lnTo>
                  <a:pt x="1215" y="1034"/>
                </a:lnTo>
                <a:lnTo>
                  <a:pt x="1214" y="1035"/>
                </a:lnTo>
                <a:lnTo>
                  <a:pt x="1204" y="1039"/>
                </a:lnTo>
                <a:lnTo>
                  <a:pt x="1196" y="1043"/>
                </a:lnTo>
                <a:lnTo>
                  <a:pt x="1187" y="1046"/>
                </a:lnTo>
                <a:lnTo>
                  <a:pt x="1181" y="1048"/>
                </a:lnTo>
                <a:lnTo>
                  <a:pt x="1179" y="1048"/>
                </a:lnTo>
                <a:lnTo>
                  <a:pt x="1177" y="1051"/>
                </a:lnTo>
                <a:lnTo>
                  <a:pt x="1174" y="1054"/>
                </a:lnTo>
                <a:lnTo>
                  <a:pt x="1173" y="1057"/>
                </a:lnTo>
                <a:lnTo>
                  <a:pt x="1170" y="1062"/>
                </a:lnTo>
                <a:lnTo>
                  <a:pt x="1169" y="1063"/>
                </a:lnTo>
                <a:close/>
                <a:moveTo>
                  <a:pt x="1498" y="1258"/>
                </a:moveTo>
                <a:lnTo>
                  <a:pt x="1499" y="1262"/>
                </a:lnTo>
                <a:lnTo>
                  <a:pt x="1502" y="1266"/>
                </a:lnTo>
                <a:lnTo>
                  <a:pt x="1505" y="1272"/>
                </a:lnTo>
                <a:lnTo>
                  <a:pt x="1510" y="1277"/>
                </a:lnTo>
                <a:lnTo>
                  <a:pt x="1521" y="1287"/>
                </a:lnTo>
                <a:lnTo>
                  <a:pt x="1533" y="1300"/>
                </a:lnTo>
                <a:lnTo>
                  <a:pt x="1545" y="1311"/>
                </a:lnTo>
                <a:lnTo>
                  <a:pt x="1555" y="1322"/>
                </a:lnTo>
                <a:lnTo>
                  <a:pt x="1564" y="1332"/>
                </a:lnTo>
                <a:lnTo>
                  <a:pt x="1568" y="1340"/>
                </a:lnTo>
                <a:lnTo>
                  <a:pt x="1571" y="1352"/>
                </a:lnTo>
                <a:lnTo>
                  <a:pt x="1574" y="1364"/>
                </a:lnTo>
                <a:lnTo>
                  <a:pt x="1576" y="1368"/>
                </a:lnTo>
                <a:lnTo>
                  <a:pt x="1577" y="1372"/>
                </a:lnTo>
                <a:lnTo>
                  <a:pt x="1579" y="1374"/>
                </a:lnTo>
                <a:lnTo>
                  <a:pt x="1583" y="1375"/>
                </a:lnTo>
                <a:lnTo>
                  <a:pt x="1587" y="1374"/>
                </a:lnTo>
                <a:lnTo>
                  <a:pt x="1591" y="1372"/>
                </a:lnTo>
                <a:lnTo>
                  <a:pt x="1596" y="1368"/>
                </a:lnTo>
                <a:lnTo>
                  <a:pt x="1601" y="1364"/>
                </a:lnTo>
                <a:lnTo>
                  <a:pt x="1611" y="1354"/>
                </a:lnTo>
                <a:lnTo>
                  <a:pt x="1616" y="1346"/>
                </a:lnTo>
                <a:lnTo>
                  <a:pt x="1621" y="1337"/>
                </a:lnTo>
                <a:lnTo>
                  <a:pt x="1628" y="1320"/>
                </a:lnTo>
                <a:lnTo>
                  <a:pt x="1631" y="1310"/>
                </a:lnTo>
                <a:lnTo>
                  <a:pt x="1632" y="1301"/>
                </a:lnTo>
                <a:lnTo>
                  <a:pt x="1632" y="1296"/>
                </a:lnTo>
                <a:lnTo>
                  <a:pt x="1632" y="1292"/>
                </a:lnTo>
                <a:lnTo>
                  <a:pt x="1631" y="1287"/>
                </a:lnTo>
                <a:lnTo>
                  <a:pt x="1629" y="1284"/>
                </a:lnTo>
                <a:lnTo>
                  <a:pt x="1623" y="1278"/>
                </a:lnTo>
                <a:lnTo>
                  <a:pt x="1617" y="1272"/>
                </a:lnTo>
                <a:lnTo>
                  <a:pt x="1611" y="1266"/>
                </a:lnTo>
                <a:lnTo>
                  <a:pt x="1605" y="1261"/>
                </a:lnTo>
                <a:lnTo>
                  <a:pt x="1599" y="1257"/>
                </a:lnTo>
                <a:lnTo>
                  <a:pt x="1595" y="1253"/>
                </a:lnTo>
                <a:lnTo>
                  <a:pt x="1594" y="1251"/>
                </a:lnTo>
                <a:lnTo>
                  <a:pt x="1593" y="1249"/>
                </a:lnTo>
                <a:lnTo>
                  <a:pt x="1594" y="1247"/>
                </a:lnTo>
                <a:lnTo>
                  <a:pt x="1595" y="1244"/>
                </a:lnTo>
                <a:lnTo>
                  <a:pt x="1601" y="1232"/>
                </a:lnTo>
                <a:lnTo>
                  <a:pt x="1607" y="1216"/>
                </a:lnTo>
                <a:lnTo>
                  <a:pt x="1611" y="1201"/>
                </a:lnTo>
                <a:lnTo>
                  <a:pt x="1612" y="1193"/>
                </a:lnTo>
                <a:lnTo>
                  <a:pt x="1612" y="1185"/>
                </a:lnTo>
                <a:lnTo>
                  <a:pt x="1612" y="1173"/>
                </a:lnTo>
                <a:lnTo>
                  <a:pt x="1611" y="1168"/>
                </a:lnTo>
                <a:lnTo>
                  <a:pt x="1609" y="1164"/>
                </a:lnTo>
                <a:lnTo>
                  <a:pt x="1608" y="1163"/>
                </a:lnTo>
                <a:lnTo>
                  <a:pt x="1607" y="1163"/>
                </a:lnTo>
                <a:lnTo>
                  <a:pt x="1605" y="1163"/>
                </a:lnTo>
                <a:lnTo>
                  <a:pt x="1602" y="1164"/>
                </a:lnTo>
                <a:lnTo>
                  <a:pt x="1597" y="1169"/>
                </a:lnTo>
                <a:lnTo>
                  <a:pt x="1594" y="1175"/>
                </a:lnTo>
                <a:lnTo>
                  <a:pt x="1591" y="1184"/>
                </a:lnTo>
                <a:lnTo>
                  <a:pt x="1588" y="1192"/>
                </a:lnTo>
                <a:lnTo>
                  <a:pt x="1586" y="1199"/>
                </a:lnTo>
                <a:lnTo>
                  <a:pt x="1583" y="1205"/>
                </a:lnTo>
                <a:lnTo>
                  <a:pt x="1580" y="1207"/>
                </a:lnTo>
                <a:lnTo>
                  <a:pt x="1578" y="1207"/>
                </a:lnTo>
                <a:lnTo>
                  <a:pt x="1576" y="1206"/>
                </a:lnTo>
                <a:lnTo>
                  <a:pt x="1574" y="1204"/>
                </a:lnTo>
                <a:lnTo>
                  <a:pt x="1566" y="1193"/>
                </a:lnTo>
                <a:lnTo>
                  <a:pt x="1560" y="1184"/>
                </a:lnTo>
                <a:lnTo>
                  <a:pt x="1557" y="1182"/>
                </a:lnTo>
                <a:lnTo>
                  <a:pt x="1555" y="1180"/>
                </a:lnTo>
                <a:lnTo>
                  <a:pt x="1552" y="1182"/>
                </a:lnTo>
                <a:lnTo>
                  <a:pt x="1550" y="1187"/>
                </a:lnTo>
                <a:lnTo>
                  <a:pt x="1547" y="1192"/>
                </a:lnTo>
                <a:lnTo>
                  <a:pt x="1543" y="1196"/>
                </a:lnTo>
                <a:lnTo>
                  <a:pt x="1540" y="1199"/>
                </a:lnTo>
                <a:lnTo>
                  <a:pt x="1535" y="1201"/>
                </a:lnTo>
                <a:lnTo>
                  <a:pt x="1532" y="1205"/>
                </a:lnTo>
                <a:lnTo>
                  <a:pt x="1530" y="1207"/>
                </a:lnTo>
                <a:lnTo>
                  <a:pt x="1529" y="1210"/>
                </a:lnTo>
                <a:lnTo>
                  <a:pt x="1529" y="1213"/>
                </a:lnTo>
                <a:lnTo>
                  <a:pt x="1533" y="1223"/>
                </a:lnTo>
                <a:lnTo>
                  <a:pt x="1542" y="1235"/>
                </a:lnTo>
                <a:lnTo>
                  <a:pt x="1549" y="1245"/>
                </a:lnTo>
                <a:lnTo>
                  <a:pt x="1552" y="1253"/>
                </a:lnTo>
                <a:lnTo>
                  <a:pt x="1550" y="1260"/>
                </a:lnTo>
                <a:lnTo>
                  <a:pt x="1546" y="1267"/>
                </a:lnTo>
                <a:lnTo>
                  <a:pt x="1543" y="1271"/>
                </a:lnTo>
                <a:lnTo>
                  <a:pt x="1540" y="1273"/>
                </a:lnTo>
                <a:lnTo>
                  <a:pt x="1538" y="1274"/>
                </a:lnTo>
                <a:lnTo>
                  <a:pt x="1536" y="1274"/>
                </a:lnTo>
                <a:lnTo>
                  <a:pt x="1535" y="1273"/>
                </a:lnTo>
                <a:lnTo>
                  <a:pt x="1533" y="1272"/>
                </a:lnTo>
                <a:lnTo>
                  <a:pt x="1525" y="1265"/>
                </a:lnTo>
                <a:lnTo>
                  <a:pt x="1513" y="1258"/>
                </a:lnTo>
                <a:lnTo>
                  <a:pt x="1504" y="1253"/>
                </a:lnTo>
                <a:lnTo>
                  <a:pt x="1501" y="1251"/>
                </a:lnTo>
                <a:lnTo>
                  <a:pt x="1498" y="1258"/>
                </a:lnTo>
                <a:close/>
                <a:moveTo>
                  <a:pt x="1130" y="1287"/>
                </a:moveTo>
                <a:lnTo>
                  <a:pt x="1136" y="1281"/>
                </a:lnTo>
                <a:lnTo>
                  <a:pt x="1146" y="1273"/>
                </a:lnTo>
                <a:lnTo>
                  <a:pt x="1158" y="1264"/>
                </a:lnTo>
                <a:lnTo>
                  <a:pt x="1173" y="1255"/>
                </a:lnTo>
                <a:lnTo>
                  <a:pt x="1186" y="1245"/>
                </a:lnTo>
                <a:lnTo>
                  <a:pt x="1198" y="1236"/>
                </a:lnTo>
                <a:lnTo>
                  <a:pt x="1203" y="1232"/>
                </a:lnTo>
                <a:lnTo>
                  <a:pt x="1206" y="1228"/>
                </a:lnTo>
                <a:lnTo>
                  <a:pt x="1210" y="1225"/>
                </a:lnTo>
                <a:lnTo>
                  <a:pt x="1211" y="1221"/>
                </a:lnTo>
                <a:lnTo>
                  <a:pt x="1211" y="1216"/>
                </a:lnTo>
                <a:lnTo>
                  <a:pt x="1211" y="1211"/>
                </a:lnTo>
                <a:lnTo>
                  <a:pt x="1210" y="1206"/>
                </a:lnTo>
                <a:lnTo>
                  <a:pt x="1207" y="1199"/>
                </a:lnTo>
                <a:lnTo>
                  <a:pt x="1203" y="1193"/>
                </a:lnTo>
                <a:lnTo>
                  <a:pt x="1197" y="1187"/>
                </a:lnTo>
                <a:lnTo>
                  <a:pt x="1187" y="1179"/>
                </a:lnTo>
                <a:lnTo>
                  <a:pt x="1176" y="1171"/>
                </a:lnTo>
                <a:lnTo>
                  <a:pt x="1159" y="1158"/>
                </a:lnTo>
                <a:lnTo>
                  <a:pt x="1153" y="1152"/>
                </a:lnTo>
                <a:lnTo>
                  <a:pt x="1151" y="1151"/>
                </a:lnTo>
                <a:lnTo>
                  <a:pt x="1150" y="1152"/>
                </a:lnTo>
                <a:lnTo>
                  <a:pt x="1148" y="1155"/>
                </a:lnTo>
                <a:lnTo>
                  <a:pt x="1142" y="1158"/>
                </a:lnTo>
                <a:lnTo>
                  <a:pt x="1136" y="1163"/>
                </a:lnTo>
                <a:lnTo>
                  <a:pt x="1131" y="1166"/>
                </a:lnTo>
                <a:lnTo>
                  <a:pt x="1126" y="1168"/>
                </a:lnTo>
                <a:lnTo>
                  <a:pt x="1121" y="1169"/>
                </a:lnTo>
                <a:lnTo>
                  <a:pt x="1115" y="1170"/>
                </a:lnTo>
                <a:lnTo>
                  <a:pt x="1113" y="1170"/>
                </a:lnTo>
                <a:lnTo>
                  <a:pt x="1111" y="1163"/>
                </a:lnTo>
                <a:lnTo>
                  <a:pt x="1104" y="1148"/>
                </a:lnTo>
                <a:lnTo>
                  <a:pt x="1099" y="1140"/>
                </a:lnTo>
                <a:lnTo>
                  <a:pt x="1093" y="1133"/>
                </a:lnTo>
                <a:lnTo>
                  <a:pt x="1089" y="1130"/>
                </a:lnTo>
                <a:lnTo>
                  <a:pt x="1086" y="1128"/>
                </a:lnTo>
                <a:lnTo>
                  <a:pt x="1082" y="1127"/>
                </a:lnTo>
                <a:lnTo>
                  <a:pt x="1076" y="1127"/>
                </a:lnTo>
                <a:lnTo>
                  <a:pt x="1063" y="1129"/>
                </a:lnTo>
                <a:lnTo>
                  <a:pt x="1054" y="1131"/>
                </a:lnTo>
                <a:lnTo>
                  <a:pt x="1049" y="1133"/>
                </a:lnTo>
                <a:lnTo>
                  <a:pt x="1045" y="1134"/>
                </a:lnTo>
                <a:lnTo>
                  <a:pt x="1036" y="1134"/>
                </a:lnTo>
                <a:lnTo>
                  <a:pt x="1022" y="1134"/>
                </a:lnTo>
                <a:lnTo>
                  <a:pt x="1016" y="1135"/>
                </a:lnTo>
                <a:lnTo>
                  <a:pt x="1010" y="1138"/>
                </a:lnTo>
                <a:lnTo>
                  <a:pt x="1007" y="1139"/>
                </a:lnTo>
                <a:lnTo>
                  <a:pt x="1006" y="1141"/>
                </a:lnTo>
                <a:lnTo>
                  <a:pt x="1005" y="1144"/>
                </a:lnTo>
                <a:lnTo>
                  <a:pt x="1005" y="1147"/>
                </a:lnTo>
                <a:lnTo>
                  <a:pt x="1005" y="1149"/>
                </a:lnTo>
                <a:lnTo>
                  <a:pt x="1006" y="1152"/>
                </a:lnTo>
                <a:lnTo>
                  <a:pt x="1008" y="1154"/>
                </a:lnTo>
                <a:lnTo>
                  <a:pt x="1010" y="1155"/>
                </a:lnTo>
                <a:lnTo>
                  <a:pt x="1015" y="1158"/>
                </a:lnTo>
                <a:lnTo>
                  <a:pt x="1020" y="1161"/>
                </a:lnTo>
                <a:lnTo>
                  <a:pt x="1025" y="1164"/>
                </a:lnTo>
                <a:lnTo>
                  <a:pt x="1028" y="1167"/>
                </a:lnTo>
                <a:lnTo>
                  <a:pt x="1028" y="1169"/>
                </a:lnTo>
                <a:lnTo>
                  <a:pt x="1028" y="1172"/>
                </a:lnTo>
                <a:lnTo>
                  <a:pt x="1028" y="1175"/>
                </a:lnTo>
                <a:lnTo>
                  <a:pt x="1026" y="1179"/>
                </a:lnTo>
                <a:lnTo>
                  <a:pt x="1019" y="1193"/>
                </a:lnTo>
                <a:lnTo>
                  <a:pt x="1011" y="1204"/>
                </a:lnTo>
                <a:lnTo>
                  <a:pt x="1008" y="1207"/>
                </a:lnTo>
                <a:lnTo>
                  <a:pt x="1006" y="1211"/>
                </a:lnTo>
                <a:lnTo>
                  <a:pt x="1005" y="1214"/>
                </a:lnTo>
                <a:lnTo>
                  <a:pt x="1005" y="1217"/>
                </a:lnTo>
                <a:lnTo>
                  <a:pt x="1006" y="1226"/>
                </a:lnTo>
                <a:lnTo>
                  <a:pt x="1008" y="1236"/>
                </a:lnTo>
                <a:lnTo>
                  <a:pt x="1008" y="1241"/>
                </a:lnTo>
                <a:lnTo>
                  <a:pt x="1008" y="1247"/>
                </a:lnTo>
                <a:lnTo>
                  <a:pt x="1007" y="1252"/>
                </a:lnTo>
                <a:lnTo>
                  <a:pt x="1004" y="1256"/>
                </a:lnTo>
                <a:lnTo>
                  <a:pt x="996" y="1266"/>
                </a:lnTo>
                <a:lnTo>
                  <a:pt x="987" y="1280"/>
                </a:lnTo>
                <a:lnTo>
                  <a:pt x="984" y="1286"/>
                </a:lnTo>
                <a:lnTo>
                  <a:pt x="981" y="1293"/>
                </a:lnTo>
                <a:lnTo>
                  <a:pt x="980" y="1298"/>
                </a:lnTo>
                <a:lnTo>
                  <a:pt x="980" y="1302"/>
                </a:lnTo>
                <a:lnTo>
                  <a:pt x="982" y="1310"/>
                </a:lnTo>
                <a:lnTo>
                  <a:pt x="983" y="1319"/>
                </a:lnTo>
                <a:lnTo>
                  <a:pt x="984" y="1323"/>
                </a:lnTo>
                <a:lnTo>
                  <a:pt x="987" y="1327"/>
                </a:lnTo>
                <a:lnTo>
                  <a:pt x="993" y="1332"/>
                </a:lnTo>
                <a:lnTo>
                  <a:pt x="999" y="1339"/>
                </a:lnTo>
                <a:lnTo>
                  <a:pt x="1014" y="1348"/>
                </a:lnTo>
                <a:lnTo>
                  <a:pt x="1025" y="1357"/>
                </a:lnTo>
                <a:lnTo>
                  <a:pt x="1030" y="1361"/>
                </a:lnTo>
                <a:lnTo>
                  <a:pt x="1033" y="1364"/>
                </a:lnTo>
                <a:lnTo>
                  <a:pt x="1036" y="1367"/>
                </a:lnTo>
                <a:lnTo>
                  <a:pt x="1036" y="1371"/>
                </a:lnTo>
                <a:lnTo>
                  <a:pt x="1037" y="1380"/>
                </a:lnTo>
                <a:lnTo>
                  <a:pt x="1039" y="1387"/>
                </a:lnTo>
                <a:lnTo>
                  <a:pt x="1041" y="1390"/>
                </a:lnTo>
                <a:lnTo>
                  <a:pt x="1043" y="1393"/>
                </a:lnTo>
                <a:lnTo>
                  <a:pt x="1045" y="1394"/>
                </a:lnTo>
                <a:lnTo>
                  <a:pt x="1047" y="1394"/>
                </a:lnTo>
                <a:lnTo>
                  <a:pt x="1050" y="1393"/>
                </a:lnTo>
                <a:lnTo>
                  <a:pt x="1054" y="1389"/>
                </a:lnTo>
                <a:lnTo>
                  <a:pt x="1059" y="1383"/>
                </a:lnTo>
                <a:lnTo>
                  <a:pt x="1064" y="1376"/>
                </a:lnTo>
                <a:lnTo>
                  <a:pt x="1072" y="1364"/>
                </a:lnTo>
                <a:lnTo>
                  <a:pt x="1075" y="1358"/>
                </a:lnTo>
                <a:lnTo>
                  <a:pt x="1079" y="1359"/>
                </a:lnTo>
                <a:lnTo>
                  <a:pt x="1086" y="1360"/>
                </a:lnTo>
                <a:lnTo>
                  <a:pt x="1089" y="1359"/>
                </a:lnTo>
                <a:lnTo>
                  <a:pt x="1093" y="1359"/>
                </a:lnTo>
                <a:lnTo>
                  <a:pt x="1095" y="1357"/>
                </a:lnTo>
                <a:lnTo>
                  <a:pt x="1096" y="1353"/>
                </a:lnTo>
                <a:lnTo>
                  <a:pt x="1097" y="1344"/>
                </a:lnTo>
                <a:lnTo>
                  <a:pt x="1099" y="1331"/>
                </a:lnTo>
                <a:lnTo>
                  <a:pt x="1103" y="1319"/>
                </a:lnTo>
                <a:lnTo>
                  <a:pt x="1106" y="1309"/>
                </a:lnTo>
                <a:lnTo>
                  <a:pt x="1119" y="1296"/>
                </a:lnTo>
                <a:lnTo>
                  <a:pt x="1130" y="1287"/>
                </a:lnTo>
                <a:close/>
                <a:moveTo>
                  <a:pt x="1408" y="1198"/>
                </a:moveTo>
                <a:lnTo>
                  <a:pt x="1409" y="1203"/>
                </a:lnTo>
                <a:lnTo>
                  <a:pt x="1413" y="1210"/>
                </a:lnTo>
                <a:lnTo>
                  <a:pt x="1420" y="1217"/>
                </a:lnTo>
                <a:lnTo>
                  <a:pt x="1427" y="1226"/>
                </a:lnTo>
                <a:lnTo>
                  <a:pt x="1436" y="1233"/>
                </a:lnTo>
                <a:lnTo>
                  <a:pt x="1443" y="1237"/>
                </a:lnTo>
                <a:lnTo>
                  <a:pt x="1446" y="1238"/>
                </a:lnTo>
                <a:lnTo>
                  <a:pt x="1449" y="1238"/>
                </a:lnTo>
                <a:lnTo>
                  <a:pt x="1452" y="1238"/>
                </a:lnTo>
                <a:lnTo>
                  <a:pt x="1454" y="1236"/>
                </a:lnTo>
                <a:lnTo>
                  <a:pt x="1458" y="1228"/>
                </a:lnTo>
                <a:lnTo>
                  <a:pt x="1462" y="1222"/>
                </a:lnTo>
                <a:lnTo>
                  <a:pt x="1464" y="1219"/>
                </a:lnTo>
                <a:lnTo>
                  <a:pt x="1464" y="1215"/>
                </a:lnTo>
                <a:lnTo>
                  <a:pt x="1462" y="1211"/>
                </a:lnTo>
                <a:lnTo>
                  <a:pt x="1460" y="1204"/>
                </a:lnTo>
                <a:lnTo>
                  <a:pt x="1456" y="1197"/>
                </a:lnTo>
                <a:lnTo>
                  <a:pt x="1453" y="1193"/>
                </a:lnTo>
                <a:lnTo>
                  <a:pt x="1448" y="1190"/>
                </a:lnTo>
                <a:lnTo>
                  <a:pt x="1445" y="1188"/>
                </a:lnTo>
                <a:lnTo>
                  <a:pt x="1441" y="1188"/>
                </a:lnTo>
                <a:lnTo>
                  <a:pt x="1438" y="1188"/>
                </a:lnTo>
                <a:lnTo>
                  <a:pt x="1434" y="1189"/>
                </a:lnTo>
                <a:lnTo>
                  <a:pt x="1428" y="1191"/>
                </a:lnTo>
                <a:lnTo>
                  <a:pt x="1413" y="1196"/>
                </a:lnTo>
                <a:lnTo>
                  <a:pt x="1408" y="1198"/>
                </a:lnTo>
                <a:close/>
                <a:moveTo>
                  <a:pt x="1507" y="1516"/>
                </a:moveTo>
                <a:lnTo>
                  <a:pt x="1498" y="1505"/>
                </a:lnTo>
                <a:lnTo>
                  <a:pt x="1487" y="1494"/>
                </a:lnTo>
                <a:lnTo>
                  <a:pt x="1483" y="1489"/>
                </a:lnTo>
                <a:lnTo>
                  <a:pt x="1481" y="1483"/>
                </a:lnTo>
                <a:lnTo>
                  <a:pt x="1480" y="1481"/>
                </a:lnTo>
                <a:lnTo>
                  <a:pt x="1480" y="1479"/>
                </a:lnTo>
                <a:lnTo>
                  <a:pt x="1481" y="1477"/>
                </a:lnTo>
                <a:lnTo>
                  <a:pt x="1482" y="1476"/>
                </a:lnTo>
                <a:lnTo>
                  <a:pt x="1487" y="1474"/>
                </a:lnTo>
                <a:lnTo>
                  <a:pt x="1494" y="1472"/>
                </a:lnTo>
                <a:lnTo>
                  <a:pt x="1503" y="1472"/>
                </a:lnTo>
                <a:lnTo>
                  <a:pt x="1511" y="1471"/>
                </a:lnTo>
                <a:lnTo>
                  <a:pt x="1519" y="1470"/>
                </a:lnTo>
                <a:lnTo>
                  <a:pt x="1526" y="1468"/>
                </a:lnTo>
                <a:lnTo>
                  <a:pt x="1528" y="1467"/>
                </a:lnTo>
                <a:lnTo>
                  <a:pt x="1529" y="1465"/>
                </a:lnTo>
                <a:lnTo>
                  <a:pt x="1530" y="1463"/>
                </a:lnTo>
                <a:lnTo>
                  <a:pt x="1530" y="1461"/>
                </a:lnTo>
                <a:lnTo>
                  <a:pt x="1526" y="1455"/>
                </a:lnTo>
                <a:lnTo>
                  <a:pt x="1518" y="1445"/>
                </a:lnTo>
                <a:lnTo>
                  <a:pt x="1507" y="1432"/>
                </a:lnTo>
                <a:lnTo>
                  <a:pt x="1493" y="1418"/>
                </a:lnTo>
                <a:lnTo>
                  <a:pt x="1481" y="1404"/>
                </a:lnTo>
                <a:lnTo>
                  <a:pt x="1469" y="1391"/>
                </a:lnTo>
                <a:lnTo>
                  <a:pt x="1461" y="1381"/>
                </a:lnTo>
                <a:lnTo>
                  <a:pt x="1458" y="1373"/>
                </a:lnTo>
                <a:lnTo>
                  <a:pt x="1454" y="1355"/>
                </a:lnTo>
                <a:lnTo>
                  <a:pt x="1447" y="1330"/>
                </a:lnTo>
                <a:lnTo>
                  <a:pt x="1441" y="1306"/>
                </a:lnTo>
                <a:lnTo>
                  <a:pt x="1437" y="1294"/>
                </a:lnTo>
                <a:lnTo>
                  <a:pt x="1435" y="1284"/>
                </a:lnTo>
                <a:lnTo>
                  <a:pt x="1434" y="1271"/>
                </a:lnTo>
                <a:lnTo>
                  <a:pt x="1433" y="1258"/>
                </a:lnTo>
                <a:lnTo>
                  <a:pt x="1433" y="1252"/>
                </a:lnTo>
                <a:lnTo>
                  <a:pt x="1425" y="1249"/>
                </a:lnTo>
                <a:lnTo>
                  <a:pt x="1408" y="1241"/>
                </a:lnTo>
                <a:lnTo>
                  <a:pt x="1399" y="1238"/>
                </a:lnTo>
                <a:lnTo>
                  <a:pt x="1391" y="1237"/>
                </a:lnTo>
                <a:lnTo>
                  <a:pt x="1388" y="1237"/>
                </a:lnTo>
                <a:lnTo>
                  <a:pt x="1384" y="1238"/>
                </a:lnTo>
                <a:lnTo>
                  <a:pt x="1383" y="1239"/>
                </a:lnTo>
                <a:lnTo>
                  <a:pt x="1382" y="1242"/>
                </a:lnTo>
                <a:lnTo>
                  <a:pt x="1381" y="1255"/>
                </a:lnTo>
                <a:lnTo>
                  <a:pt x="1380" y="1267"/>
                </a:lnTo>
                <a:lnTo>
                  <a:pt x="1380" y="1274"/>
                </a:lnTo>
                <a:lnTo>
                  <a:pt x="1380" y="1279"/>
                </a:lnTo>
                <a:lnTo>
                  <a:pt x="1382" y="1285"/>
                </a:lnTo>
                <a:lnTo>
                  <a:pt x="1386" y="1291"/>
                </a:lnTo>
                <a:lnTo>
                  <a:pt x="1394" y="1301"/>
                </a:lnTo>
                <a:lnTo>
                  <a:pt x="1401" y="1313"/>
                </a:lnTo>
                <a:lnTo>
                  <a:pt x="1403" y="1319"/>
                </a:lnTo>
                <a:lnTo>
                  <a:pt x="1404" y="1323"/>
                </a:lnTo>
                <a:lnTo>
                  <a:pt x="1404" y="1327"/>
                </a:lnTo>
                <a:lnTo>
                  <a:pt x="1403" y="1330"/>
                </a:lnTo>
                <a:lnTo>
                  <a:pt x="1394" y="1337"/>
                </a:lnTo>
                <a:lnTo>
                  <a:pt x="1380" y="1343"/>
                </a:lnTo>
                <a:lnTo>
                  <a:pt x="1374" y="1345"/>
                </a:lnTo>
                <a:lnTo>
                  <a:pt x="1368" y="1346"/>
                </a:lnTo>
                <a:lnTo>
                  <a:pt x="1366" y="1345"/>
                </a:lnTo>
                <a:lnTo>
                  <a:pt x="1364" y="1344"/>
                </a:lnTo>
                <a:lnTo>
                  <a:pt x="1361" y="1342"/>
                </a:lnTo>
                <a:lnTo>
                  <a:pt x="1361" y="1340"/>
                </a:lnTo>
                <a:lnTo>
                  <a:pt x="1360" y="1322"/>
                </a:lnTo>
                <a:lnTo>
                  <a:pt x="1361" y="1299"/>
                </a:lnTo>
                <a:lnTo>
                  <a:pt x="1361" y="1288"/>
                </a:lnTo>
                <a:lnTo>
                  <a:pt x="1359" y="1280"/>
                </a:lnTo>
                <a:lnTo>
                  <a:pt x="1358" y="1277"/>
                </a:lnTo>
                <a:lnTo>
                  <a:pt x="1357" y="1274"/>
                </a:lnTo>
                <a:lnTo>
                  <a:pt x="1354" y="1273"/>
                </a:lnTo>
                <a:lnTo>
                  <a:pt x="1352" y="1272"/>
                </a:lnTo>
                <a:lnTo>
                  <a:pt x="1349" y="1273"/>
                </a:lnTo>
                <a:lnTo>
                  <a:pt x="1346" y="1274"/>
                </a:lnTo>
                <a:lnTo>
                  <a:pt x="1343" y="1277"/>
                </a:lnTo>
                <a:lnTo>
                  <a:pt x="1338" y="1280"/>
                </a:lnTo>
                <a:lnTo>
                  <a:pt x="1332" y="1287"/>
                </a:lnTo>
                <a:lnTo>
                  <a:pt x="1326" y="1296"/>
                </a:lnTo>
                <a:lnTo>
                  <a:pt x="1320" y="1304"/>
                </a:lnTo>
                <a:lnTo>
                  <a:pt x="1313" y="1309"/>
                </a:lnTo>
                <a:lnTo>
                  <a:pt x="1310" y="1310"/>
                </a:lnTo>
                <a:lnTo>
                  <a:pt x="1308" y="1311"/>
                </a:lnTo>
                <a:lnTo>
                  <a:pt x="1305" y="1310"/>
                </a:lnTo>
                <a:lnTo>
                  <a:pt x="1303" y="1308"/>
                </a:lnTo>
                <a:lnTo>
                  <a:pt x="1299" y="1302"/>
                </a:lnTo>
                <a:lnTo>
                  <a:pt x="1296" y="1294"/>
                </a:lnTo>
                <a:lnTo>
                  <a:pt x="1294" y="1285"/>
                </a:lnTo>
                <a:lnTo>
                  <a:pt x="1293" y="1277"/>
                </a:lnTo>
                <a:lnTo>
                  <a:pt x="1293" y="1269"/>
                </a:lnTo>
                <a:lnTo>
                  <a:pt x="1292" y="1261"/>
                </a:lnTo>
                <a:lnTo>
                  <a:pt x="1290" y="1256"/>
                </a:lnTo>
                <a:lnTo>
                  <a:pt x="1288" y="1252"/>
                </a:lnTo>
                <a:lnTo>
                  <a:pt x="1286" y="1252"/>
                </a:lnTo>
                <a:lnTo>
                  <a:pt x="1284" y="1252"/>
                </a:lnTo>
                <a:lnTo>
                  <a:pt x="1281" y="1254"/>
                </a:lnTo>
                <a:lnTo>
                  <a:pt x="1278" y="1256"/>
                </a:lnTo>
                <a:lnTo>
                  <a:pt x="1270" y="1262"/>
                </a:lnTo>
                <a:lnTo>
                  <a:pt x="1262" y="1269"/>
                </a:lnTo>
                <a:lnTo>
                  <a:pt x="1255" y="1276"/>
                </a:lnTo>
                <a:lnTo>
                  <a:pt x="1247" y="1280"/>
                </a:lnTo>
                <a:lnTo>
                  <a:pt x="1245" y="1281"/>
                </a:lnTo>
                <a:lnTo>
                  <a:pt x="1242" y="1282"/>
                </a:lnTo>
                <a:lnTo>
                  <a:pt x="1240" y="1281"/>
                </a:lnTo>
                <a:lnTo>
                  <a:pt x="1239" y="1279"/>
                </a:lnTo>
                <a:lnTo>
                  <a:pt x="1238" y="1273"/>
                </a:lnTo>
                <a:lnTo>
                  <a:pt x="1237" y="1264"/>
                </a:lnTo>
                <a:lnTo>
                  <a:pt x="1238" y="1257"/>
                </a:lnTo>
                <a:lnTo>
                  <a:pt x="1238" y="1249"/>
                </a:lnTo>
                <a:lnTo>
                  <a:pt x="1238" y="1241"/>
                </a:lnTo>
                <a:lnTo>
                  <a:pt x="1238" y="1236"/>
                </a:lnTo>
                <a:lnTo>
                  <a:pt x="1237" y="1235"/>
                </a:lnTo>
                <a:lnTo>
                  <a:pt x="1236" y="1234"/>
                </a:lnTo>
                <a:lnTo>
                  <a:pt x="1235" y="1233"/>
                </a:lnTo>
                <a:lnTo>
                  <a:pt x="1233" y="1234"/>
                </a:lnTo>
                <a:lnTo>
                  <a:pt x="1217" y="1240"/>
                </a:lnTo>
                <a:lnTo>
                  <a:pt x="1191" y="1252"/>
                </a:lnTo>
                <a:lnTo>
                  <a:pt x="1178" y="1259"/>
                </a:lnTo>
                <a:lnTo>
                  <a:pt x="1168" y="1265"/>
                </a:lnTo>
                <a:lnTo>
                  <a:pt x="1163" y="1270"/>
                </a:lnTo>
                <a:lnTo>
                  <a:pt x="1160" y="1273"/>
                </a:lnTo>
                <a:lnTo>
                  <a:pt x="1158" y="1276"/>
                </a:lnTo>
                <a:lnTo>
                  <a:pt x="1158" y="1279"/>
                </a:lnTo>
                <a:lnTo>
                  <a:pt x="1159" y="1299"/>
                </a:lnTo>
                <a:lnTo>
                  <a:pt x="1158" y="1307"/>
                </a:lnTo>
                <a:lnTo>
                  <a:pt x="1152" y="1309"/>
                </a:lnTo>
                <a:lnTo>
                  <a:pt x="1138" y="1314"/>
                </a:lnTo>
                <a:lnTo>
                  <a:pt x="1132" y="1318"/>
                </a:lnTo>
                <a:lnTo>
                  <a:pt x="1127" y="1322"/>
                </a:lnTo>
                <a:lnTo>
                  <a:pt x="1125" y="1324"/>
                </a:lnTo>
                <a:lnTo>
                  <a:pt x="1124" y="1326"/>
                </a:lnTo>
                <a:lnTo>
                  <a:pt x="1124" y="1328"/>
                </a:lnTo>
                <a:lnTo>
                  <a:pt x="1124" y="1331"/>
                </a:lnTo>
                <a:lnTo>
                  <a:pt x="1128" y="1337"/>
                </a:lnTo>
                <a:lnTo>
                  <a:pt x="1134" y="1344"/>
                </a:lnTo>
                <a:lnTo>
                  <a:pt x="1141" y="1350"/>
                </a:lnTo>
                <a:lnTo>
                  <a:pt x="1149" y="1357"/>
                </a:lnTo>
                <a:lnTo>
                  <a:pt x="1157" y="1362"/>
                </a:lnTo>
                <a:lnTo>
                  <a:pt x="1164" y="1366"/>
                </a:lnTo>
                <a:lnTo>
                  <a:pt x="1172" y="1369"/>
                </a:lnTo>
                <a:lnTo>
                  <a:pt x="1176" y="1369"/>
                </a:lnTo>
                <a:lnTo>
                  <a:pt x="1180" y="1367"/>
                </a:lnTo>
                <a:lnTo>
                  <a:pt x="1185" y="1363"/>
                </a:lnTo>
                <a:lnTo>
                  <a:pt x="1191" y="1358"/>
                </a:lnTo>
                <a:lnTo>
                  <a:pt x="1196" y="1352"/>
                </a:lnTo>
                <a:lnTo>
                  <a:pt x="1200" y="1347"/>
                </a:lnTo>
                <a:lnTo>
                  <a:pt x="1204" y="1344"/>
                </a:lnTo>
                <a:lnTo>
                  <a:pt x="1206" y="1344"/>
                </a:lnTo>
                <a:lnTo>
                  <a:pt x="1207" y="1344"/>
                </a:lnTo>
                <a:lnTo>
                  <a:pt x="1208" y="1345"/>
                </a:lnTo>
                <a:lnTo>
                  <a:pt x="1210" y="1346"/>
                </a:lnTo>
                <a:lnTo>
                  <a:pt x="1210" y="1352"/>
                </a:lnTo>
                <a:lnTo>
                  <a:pt x="1206" y="1358"/>
                </a:lnTo>
                <a:lnTo>
                  <a:pt x="1203" y="1364"/>
                </a:lnTo>
                <a:lnTo>
                  <a:pt x="1199" y="1369"/>
                </a:lnTo>
                <a:lnTo>
                  <a:pt x="1190" y="1379"/>
                </a:lnTo>
                <a:lnTo>
                  <a:pt x="1185" y="1383"/>
                </a:lnTo>
                <a:lnTo>
                  <a:pt x="1179" y="1379"/>
                </a:lnTo>
                <a:lnTo>
                  <a:pt x="1167" y="1373"/>
                </a:lnTo>
                <a:lnTo>
                  <a:pt x="1162" y="1372"/>
                </a:lnTo>
                <a:lnTo>
                  <a:pt x="1159" y="1372"/>
                </a:lnTo>
                <a:lnTo>
                  <a:pt x="1156" y="1372"/>
                </a:lnTo>
                <a:lnTo>
                  <a:pt x="1153" y="1373"/>
                </a:lnTo>
                <a:lnTo>
                  <a:pt x="1151" y="1374"/>
                </a:lnTo>
                <a:lnTo>
                  <a:pt x="1149" y="1376"/>
                </a:lnTo>
                <a:lnTo>
                  <a:pt x="1148" y="1380"/>
                </a:lnTo>
                <a:lnTo>
                  <a:pt x="1148" y="1385"/>
                </a:lnTo>
                <a:lnTo>
                  <a:pt x="1149" y="1394"/>
                </a:lnTo>
                <a:lnTo>
                  <a:pt x="1152" y="1403"/>
                </a:lnTo>
                <a:lnTo>
                  <a:pt x="1156" y="1411"/>
                </a:lnTo>
                <a:lnTo>
                  <a:pt x="1161" y="1417"/>
                </a:lnTo>
                <a:lnTo>
                  <a:pt x="1167" y="1423"/>
                </a:lnTo>
                <a:lnTo>
                  <a:pt x="1173" y="1427"/>
                </a:lnTo>
                <a:lnTo>
                  <a:pt x="1178" y="1429"/>
                </a:lnTo>
                <a:lnTo>
                  <a:pt x="1182" y="1429"/>
                </a:lnTo>
                <a:lnTo>
                  <a:pt x="1196" y="1425"/>
                </a:lnTo>
                <a:lnTo>
                  <a:pt x="1218" y="1418"/>
                </a:lnTo>
                <a:lnTo>
                  <a:pt x="1229" y="1416"/>
                </a:lnTo>
                <a:lnTo>
                  <a:pt x="1243" y="1414"/>
                </a:lnTo>
                <a:lnTo>
                  <a:pt x="1255" y="1413"/>
                </a:lnTo>
                <a:lnTo>
                  <a:pt x="1267" y="1414"/>
                </a:lnTo>
                <a:lnTo>
                  <a:pt x="1277" y="1416"/>
                </a:lnTo>
                <a:lnTo>
                  <a:pt x="1286" y="1418"/>
                </a:lnTo>
                <a:lnTo>
                  <a:pt x="1292" y="1420"/>
                </a:lnTo>
                <a:lnTo>
                  <a:pt x="1298" y="1424"/>
                </a:lnTo>
                <a:lnTo>
                  <a:pt x="1301" y="1426"/>
                </a:lnTo>
                <a:lnTo>
                  <a:pt x="1302" y="1429"/>
                </a:lnTo>
                <a:lnTo>
                  <a:pt x="1301" y="1432"/>
                </a:lnTo>
                <a:lnTo>
                  <a:pt x="1298" y="1436"/>
                </a:lnTo>
                <a:lnTo>
                  <a:pt x="1293" y="1438"/>
                </a:lnTo>
                <a:lnTo>
                  <a:pt x="1287" y="1439"/>
                </a:lnTo>
                <a:lnTo>
                  <a:pt x="1282" y="1439"/>
                </a:lnTo>
                <a:lnTo>
                  <a:pt x="1274" y="1438"/>
                </a:lnTo>
                <a:lnTo>
                  <a:pt x="1267" y="1437"/>
                </a:lnTo>
                <a:lnTo>
                  <a:pt x="1259" y="1436"/>
                </a:lnTo>
                <a:lnTo>
                  <a:pt x="1249" y="1436"/>
                </a:lnTo>
                <a:lnTo>
                  <a:pt x="1239" y="1438"/>
                </a:lnTo>
                <a:lnTo>
                  <a:pt x="1227" y="1439"/>
                </a:lnTo>
                <a:lnTo>
                  <a:pt x="1215" y="1440"/>
                </a:lnTo>
                <a:lnTo>
                  <a:pt x="1202" y="1441"/>
                </a:lnTo>
                <a:lnTo>
                  <a:pt x="1190" y="1441"/>
                </a:lnTo>
                <a:lnTo>
                  <a:pt x="1179" y="1441"/>
                </a:lnTo>
                <a:lnTo>
                  <a:pt x="1171" y="1443"/>
                </a:lnTo>
                <a:lnTo>
                  <a:pt x="1168" y="1445"/>
                </a:lnTo>
                <a:lnTo>
                  <a:pt x="1165" y="1447"/>
                </a:lnTo>
                <a:lnTo>
                  <a:pt x="1164" y="1449"/>
                </a:lnTo>
                <a:lnTo>
                  <a:pt x="1165" y="1451"/>
                </a:lnTo>
                <a:lnTo>
                  <a:pt x="1169" y="1463"/>
                </a:lnTo>
                <a:lnTo>
                  <a:pt x="1175" y="1475"/>
                </a:lnTo>
                <a:lnTo>
                  <a:pt x="1179" y="1480"/>
                </a:lnTo>
                <a:lnTo>
                  <a:pt x="1183" y="1485"/>
                </a:lnTo>
                <a:lnTo>
                  <a:pt x="1187" y="1489"/>
                </a:lnTo>
                <a:lnTo>
                  <a:pt x="1193" y="1492"/>
                </a:lnTo>
                <a:lnTo>
                  <a:pt x="1200" y="1494"/>
                </a:lnTo>
                <a:lnTo>
                  <a:pt x="1208" y="1495"/>
                </a:lnTo>
                <a:lnTo>
                  <a:pt x="1219" y="1494"/>
                </a:lnTo>
                <a:lnTo>
                  <a:pt x="1230" y="1494"/>
                </a:lnTo>
                <a:lnTo>
                  <a:pt x="1241" y="1494"/>
                </a:lnTo>
                <a:lnTo>
                  <a:pt x="1249" y="1495"/>
                </a:lnTo>
                <a:lnTo>
                  <a:pt x="1252" y="1496"/>
                </a:lnTo>
                <a:lnTo>
                  <a:pt x="1256" y="1497"/>
                </a:lnTo>
                <a:lnTo>
                  <a:pt x="1258" y="1499"/>
                </a:lnTo>
                <a:lnTo>
                  <a:pt x="1259" y="1501"/>
                </a:lnTo>
                <a:lnTo>
                  <a:pt x="1260" y="1515"/>
                </a:lnTo>
                <a:lnTo>
                  <a:pt x="1262" y="1528"/>
                </a:lnTo>
                <a:lnTo>
                  <a:pt x="1264" y="1539"/>
                </a:lnTo>
                <a:lnTo>
                  <a:pt x="1265" y="1543"/>
                </a:lnTo>
                <a:lnTo>
                  <a:pt x="1272" y="1544"/>
                </a:lnTo>
                <a:lnTo>
                  <a:pt x="1291" y="1544"/>
                </a:lnTo>
                <a:lnTo>
                  <a:pt x="1302" y="1544"/>
                </a:lnTo>
                <a:lnTo>
                  <a:pt x="1311" y="1543"/>
                </a:lnTo>
                <a:lnTo>
                  <a:pt x="1320" y="1542"/>
                </a:lnTo>
                <a:lnTo>
                  <a:pt x="1326" y="1540"/>
                </a:lnTo>
                <a:lnTo>
                  <a:pt x="1338" y="1536"/>
                </a:lnTo>
                <a:lnTo>
                  <a:pt x="1354" y="1531"/>
                </a:lnTo>
                <a:lnTo>
                  <a:pt x="1362" y="1528"/>
                </a:lnTo>
                <a:lnTo>
                  <a:pt x="1370" y="1525"/>
                </a:lnTo>
                <a:lnTo>
                  <a:pt x="1378" y="1521"/>
                </a:lnTo>
                <a:lnTo>
                  <a:pt x="1384" y="1516"/>
                </a:lnTo>
                <a:lnTo>
                  <a:pt x="1395" y="1504"/>
                </a:lnTo>
                <a:lnTo>
                  <a:pt x="1403" y="1496"/>
                </a:lnTo>
                <a:lnTo>
                  <a:pt x="1409" y="1494"/>
                </a:lnTo>
                <a:lnTo>
                  <a:pt x="1413" y="1494"/>
                </a:lnTo>
                <a:lnTo>
                  <a:pt x="1419" y="1496"/>
                </a:lnTo>
                <a:lnTo>
                  <a:pt x="1426" y="1500"/>
                </a:lnTo>
                <a:lnTo>
                  <a:pt x="1435" y="1506"/>
                </a:lnTo>
                <a:lnTo>
                  <a:pt x="1444" y="1512"/>
                </a:lnTo>
                <a:lnTo>
                  <a:pt x="1454" y="1516"/>
                </a:lnTo>
                <a:lnTo>
                  <a:pt x="1463" y="1519"/>
                </a:lnTo>
                <a:lnTo>
                  <a:pt x="1478" y="1523"/>
                </a:lnTo>
                <a:lnTo>
                  <a:pt x="1487" y="1525"/>
                </a:lnTo>
                <a:lnTo>
                  <a:pt x="1492" y="1524"/>
                </a:lnTo>
                <a:lnTo>
                  <a:pt x="1499" y="1521"/>
                </a:lnTo>
                <a:lnTo>
                  <a:pt x="1504" y="1518"/>
                </a:lnTo>
                <a:lnTo>
                  <a:pt x="1507" y="1516"/>
                </a:lnTo>
                <a:close/>
                <a:moveTo>
                  <a:pt x="2165" y="3195"/>
                </a:moveTo>
                <a:lnTo>
                  <a:pt x="2154" y="3200"/>
                </a:lnTo>
                <a:lnTo>
                  <a:pt x="2136" y="3205"/>
                </a:lnTo>
                <a:lnTo>
                  <a:pt x="2127" y="3208"/>
                </a:lnTo>
                <a:lnTo>
                  <a:pt x="2122" y="3211"/>
                </a:lnTo>
                <a:lnTo>
                  <a:pt x="2120" y="3213"/>
                </a:lnTo>
                <a:lnTo>
                  <a:pt x="2120" y="3216"/>
                </a:lnTo>
                <a:lnTo>
                  <a:pt x="2120" y="3218"/>
                </a:lnTo>
                <a:lnTo>
                  <a:pt x="2122" y="3220"/>
                </a:lnTo>
                <a:lnTo>
                  <a:pt x="2126" y="3226"/>
                </a:lnTo>
                <a:lnTo>
                  <a:pt x="2132" y="3229"/>
                </a:lnTo>
                <a:lnTo>
                  <a:pt x="2137" y="3230"/>
                </a:lnTo>
                <a:lnTo>
                  <a:pt x="2142" y="3231"/>
                </a:lnTo>
                <a:lnTo>
                  <a:pt x="2152" y="3231"/>
                </a:lnTo>
                <a:lnTo>
                  <a:pt x="2162" y="3233"/>
                </a:lnTo>
                <a:lnTo>
                  <a:pt x="2172" y="3237"/>
                </a:lnTo>
                <a:lnTo>
                  <a:pt x="2184" y="3240"/>
                </a:lnTo>
                <a:lnTo>
                  <a:pt x="2189" y="3241"/>
                </a:lnTo>
                <a:lnTo>
                  <a:pt x="2193" y="3242"/>
                </a:lnTo>
                <a:lnTo>
                  <a:pt x="2196" y="3242"/>
                </a:lnTo>
                <a:lnTo>
                  <a:pt x="2199" y="3240"/>
                </a:lnTo>
                <a:lnTo>
                  <a:pt x="2200" y="3236"/>
                </a:lnTo>
                <a:lnTo>
                  <a:pt x="2202" y="3231"/>
                </a:lnTo>
                <a:lnTo>
                  <a:pt x="2203" y="3229"/>
                </a:lnTo>
                <a:lnTo>
                  <a:pt x="2205" y="3228"/>
                </a:lnTo>
                <a:lnTo>
                  <a:pt x="2207" y="3227"/>
                </a:lnTo>
                <a:lnTo>
                  <a:pt x="2210" y="3227"/>
                </a:lnTo>
                <a:lnTo>
                  <a:pt x="2222" y="3227"/>
                </a:lnTo>
                <a:lnTo>
                  <a:pt x="2238" y="3225"/>
                </a:lnTo>
                <a:lnTo>
                  <a:pt x="2247" y="3224"/>
                </a:lnTo>
                <a:lnTo>
                  <a:pt x="2253" y="3222"/>
                </a:lnTo>
                <a:lnTo>
                  <a:pt x="2257" y="3219"/>
                </a:lnTo>
                <a:lnTo>
                  <a:pt x="2257" y="3218"/>
                </a:lnTo>
                <a:lnTo>
                  <a:pt x="2251" y="3212"/>
                </a:lnTo>
                <a:lnTo>
                  <a:pt x="2237" y="3202"/>
                </a:lnTo>
                <a:lnTo>
                  <a:pt x="2229" y="3196"/>
                </a:lnTo>
                <a:lnTo>
                  <a:pt x="2222" y="3192"/>
                </a:lnTo>
                <a:lnTo>
                  <a:pt x="2213" y="3189"/>
                </a:lnTo>
                <a:lnTo>
                  <a:pt x="2207" y="3188"/>
                </a:lnTo>
                <a:lnTo>
                  <a:pt x="2198" y="3188"/>
                </a:lnTo>
                <a:lnTo>
                  <a:pt x="2190" y="3188"/>
                </a:lnTo>
                <a:lnTo>
                  <a:pt x="2188" y="3189"/>
                </a:lnTo>
                <a:lnTo>
                  <a:pt x="2185" y="3190"/>
                </a:lnTo>
                <a:lnTo>
                  <a:pt x="2183" y="3191"/>
                </a:lnTo>
                <a:lnTo>
                  <a:pt x="2181" y="3194"/>
                </a:lnTo>
                <a:lnTo>
                  <a:pt x="2179" y="3196"/>
                </a:lnTo>
                <a:lnTo>
                  <a:pt x="2176" y="3197"/>
                </a:lnTo>
                <a:lnTo>
                  <a:pt x="2173" y="3197"/>
                </a:lnTo>
                <a:lnTo>
                  <a:pt x="2170" y="3197"/>
                </a:lnTo>
                <a:lnTo>
                  <a:pt x="2167" y="3196"/>
                </a:lnTo>
                <a:lnTo>
                  <a:pt x="2165" y="3195"/>
                </a:lnTo>
                <a:close/>
                <a:moveTo>
                  <a:pt x="1907" y="3132"/>
                </a:moveTo>
                <a:lnTo>
                  <a:pt x="1918" y="3124"/>
                </a:lnTo>
                <a:lnTo>
                  <a:pt x="1936" y="3112"/>
                </a:lnTo>
                <a:lnTo>
                  <a:pt x="1946" y="3106"/>
                </a:lnTo>
                <a:lnTo>
                  <a:pt x="1956" y="3103"/>
                </a:lnTo>
                <a:lnTo>
                  <a:pt x="1960" y="3102"/>
                </a:lnTo>
                <a:lnTo>
                  <a:pt x="1964" y="3102"/>
                </a:lnTo>
                <a:lnTo>
                  <a:pt x="1967" y="3103"/>
                </a:lnTo>
                <a:lnTo>
                  <a:pt x="1970" y="3105"/>
                </a:lnTo>
                <a:lnTo>
                  <a:pt x="1975" y="3109"/>
                </a:lnTo>
                <a:lnTo>
                  <a:pt x="1983" y="3113"/>
                </a:lnTo>
                <a:lnTo>
                  <a:pt x="1991" y="3115"/>
                </a:lnTo>
                <a:lnTo>
                  <a:pt x="2000" y="3115"/>
                </a:lnTo>
                <a:lnTo>
                  <a:pt x="2015" y="3116"/>
                </a:lnTo>
                <a:lnTo>
                  <a:pt x="2027" y="3118"/>
                </a:lnTo>
                <a:lnTo>
                  <a:pt x="2040" y="3123"/>
                </a:lnTo>
                <a:lnTo>
                  <a:pt x="2062" y="3132"/>
                </a:lnTo>
                <a:lnTo>
                  <a:pt x="2073" y="3138"/>
                </a:lnTo>
                <a:lnTo>
                  <a:pt x="2083" y="3144"/>
                </a:lnTo>
                <a:lnTo>
                  <a:pt x="2092" y="3149"/>
                </a:lnTo>
                <a:lnTo>
                  <a:pt x="2096" y="3154"/>
                </a:lnTo>
                <a:lnTo>
                  <a:pt x="2103" y="3164"/>
                </a:lnTo>
                <a:lnTo>
                  <a:pt x="2112" y="3172"/>
                </a:lnTo>
                <a:lnTo>
                  <a:pt x="2114" y="3175"/>
                </a:lnTo>
                <a:lnTo>
                  <a:pt x="2115" y="3179"/>
                </a:lnTo>
                <a:lnTo>
                  <a:pt x="2114" y="3181"/>
                </a:lnTo>
                <a:lnTo>
                  <a:pt x="2114" y="3182"/>
                </a:lnTo>
                <a:lnTo>
                  <a:pt x="2112" y="3184"/>
                </a:lnTo>
                <a:lnTo>
                  <a:pt x="2110" y="3185"/>
                </a:lnTo>
                <a:lnTo>
                  <a:pt x="2103" y="3187"/>
                </a:lnTo>
                <a:lnTo>
                  <a:pt x="2095" y="3189"/>
                </a:lnTo>
                <a:lnTo>
                  <a:pt x="2086" y="3190"/>
                </a:lnTo>
                <a:lnTo>
                  <a:pt x="2076" y="3190"/>
                </a:lnTo>
                <a:lnTo>
                  <a:pt x="2067" y="3189"/>
                </a:lnTo>
                <a:lnTo>
                  <a:pt x="2057" y="3188"/>
                </a:lnTo>
                <a:lnTo>
                  <a:pt x="2049" y="3184"/>
                </a:lnTo>
                <a:lnTo>
                  <a:pt x="2042" y="3180"/>
                </a:lnTo>
                <a:lnTo>
                  <a:pt x="2030" y="3168"/>
                </a:lnTo>
                <a:lnTo>
                  <a:pt x="2016" y="3158"/>
                </a:lnTo>
                <a:lnTo>
                  <a:pt x="2009" y="3153"/>
                </a:lnTo>
                <a:lnTo>
                  <a:pt x="2003" y="3150"/>
                </a:lnTo>
                <a:lnTo>
                  <a:pt x="1996" y="3148"/>
                </a:lnTo>
                <a:lnTo>
                  <a:pt x="1990" y="3147"/>
                </a:lnTo>
                <a:lnTo>
                  <a:pt x="1976" y="3145"/>
                </a:lnTo>
                <a:lnTo>
                  <a:pt x="1960" y="3142"/>
                </a:lnTo>
                <a:lnTo>
                  <a:pt x="1952" y="3141"/>
                </a:lnTo>
                <a:lnTo>
                  <a:pt x="1945" y="3141"/>
                </a:lnTo>
                <a:lnTo>
                  <a:pt x="1941" y="3141"/>
                </a:lnTo>
                <a:lnTo>
                  <a:pt x="1938" y="3142"/>
                </a:lnTo>
                <a:lnTo>
                  <a:pt x="1937" y="3143"/>
                </a:lnTo>
                <a:lnTo>
                  <a:pt x="1937" y="3145"/>
                </a:lnTo>
                <a:lnTo>
                  <a:pt x="1938" y="3147"/>
                </a:lnTo>
                <a:lnTo>
                  <a:pt x="1939" y="3148"/>
                </a:lnTo>
                <a:lnTo>
                  <a:pt x="1939" y="3150"/>
                </a:lnTo>
                <a:lnTo>
                  <a:pt x="1938" y="3151"/>
                </a:lnTo>
                <a:lnTo>
                  <a:pt x="1936" y="3151"/>
                </a:lnTo>
                <a:lnTo>
                  <a:pt x="1931" y="3151"/>
                </a:lnTo>
                <a:lnTo>
                  <a:pt x="1921" y="3149"/>
                </a:lnTo>
                <a:lnTo>
                  <a:pt x="1914" y="3146"/>
                </a:lnTo>
                <a:lnTo>
                  <a:pt x="1907" y="3144"/>
                </a:lnTo>
                <a:lnTo>
                  <a:pt x="1904" y="3142"/>
                </a:lnTo>
                <a:lnTo>
                  <a:pt x="1905" y="3137"/>
                </a:lnTo>
                <a:lnTo>
                  <a:pt x="1907" y="3132"/>
                </a:lnTo>
                <a:close/>
                <a:moveTo>
                  <a:pt x="3808" y="2685"/>
                </a:moveTo>
                <a:lnTo>
                  <a:pt x="3796" y="2692"/>
                </a:lnTo>
                <a:lnTo>
                  <a:pt x="3783" y="2704"/>
                </a:lnTo>
                <a:lnTo>
                  <a:pt x="3783" y="2707"/>
                </a:lnTo>
                <a:lnTo>
                  <a:pt x="3785" y="2712"/>
                </a:lnTo>
                <a:lnTo>
                  <a:pt x="3786" y="2714"/>
                </a:lnTo>
                <a:lnTo>
                  <a:pt x="3787" y="2716"/>
                </a:lnTo>
                <a:lnTo>
                  <a:pt x="3789" y="2716"/>
                </a:lnTo>
                <a:lnTo>
                  <a:pt x="3790" y="2716"/>
                </a:lnTo>
                <a:lnTo>
                  <a:pt x="3797" y="2706"/>
                </a:lnTo>
                <a:lnTo>
                  <a:pt x="3805" y="2699"/>
                </a:lnTo>
                <a:lnTo>
                  <a:pt x="3808" y="2698"/>
                </a:lnTo>
                <a:lnTo>
                  <a:pt x="3811" y="2697"/>
                </a:lnTo>
                <a:lnTo>
                  <a:pt x="3815" y="2697"/>
                </a:lnTo>
                <a:lnTo>
                  <a:pt x="3823" y="2698"/>
                </a:lnTo>
                <a:lnTo>
                  <a:pt x="3826" y="2699"/>
                </a:lnTo>
                <a:lnTo>
                  <a:pt x="3829" y="2698"/>
                </a:lnTo>
                <a:lnTo>
                  <a:pt x="3831" y="2697"/>
                </a:lnTo>
                <a:lnTo>
                  <a:pt x="3833" y="2696"/>
                </a:lnTo>
                <a:lnTo>
                  <a:pt x="3836" y="2691"/>
                </a:lnTo>
                <a:lnTo>
                  <a:pt x="3840" y="2687"/>
                </a:lnTo>
                <a:lnTo>
                  <a:pt x="3847" y="2685"/>
                </a:lnTo>
                <a:lnTo>
                  <a:pt x="3853" y="2683"/>
                </a:lnTo>
                <a:lnTo>
                  <a:pt x="3856" y="2682"/>
                </a:lnTo>
                <a:lnTo>
                  <a:pt x="3857" y="2680"/>
                </a:lnTo>
                <a:lnTo>
                  <a:pt x="3856" y="2677"/>
                </a:lnTo>
                <a:lnTo>
                  <a:pt x="3853" y="2672"/>
                </a:lnTo>
                <a:lnTo>
                  <a:pt x="3849" y="2667"/>
                </a:lnTo>
                <a:lnTo>
                  <a:pt x="3845" y="2664"/>
                </a:lnTo>
                <a:lnTo>
                  <a:pt x="3840" y="2662"/>
                </a:lnTo>
                <a:lnTo>
                  <a:pt x="3837" y="2661"/>
                </a:lnTo>
                <a:lnTo>
                  <a:pt x="3834" y="2660"/>
                </a:lnTo>
                <a:lnTo>
                  <a:pt x="3832" y="2661"/>
                </a:lnTo>
                <a:lnTo>
                  <a:pt x="3830" y="2662"/>
                </a:lnTo>
                <a:lnTo>
                  <a:pt x="3828" y="2664"/>
                </a:lnTo>
                <a:lnTo>
                  <a:pt x="3818" y="2678"/>
                </a:lnTo>
                <a:lnTo>
                  <a:pt x="3813" y="2685"/>
                </a:lnTo>
                <a:lnTo>
                  <a:pt x="3808" y="2685"/>
                </a:lnTo>
                <a:close/>
                <a:moveTo>
                  <a:pt x="3951" y="2588"/>
                </a:moveTo>
                <a:lnTo>
                  <a:pt x="3947" y="2597"/>
                </a:lnTo>
                <a:lnTo>
                  <a:pt x="3944" y="2604"/>
                </a:lnTo>
                <a:lnTo>
                  <a:pt x="3944" y="2608"/>
                </a:lnTo>
                <a:lnTo>
                  <a:pt x="3944" y="2612"/>
                </a:lnTo>
                <a:lnTo>
                  <a:pt x="3946" y="2615"/>
                </a:lnTo>
                <a:lnTo>
                  <a:pt x="3948" y="2619"/>
                </a:lnTo>
                <a:lnTo>
                  <a:pt x="3951" y="2626"/>
                </a:lnTo>
                <a:lnTo>
                  <a:pt x="3954" y="2634"/>
                </a:lnTo>
                <a:lnTo>
                  <a:pt x="3954" y="2637"/>
                </a:lnTo>
                <a:lnTo>
                  <a:pt x="3953" y="2640"/>
                </a:lnTo>
                <a:lnTo>
                  <a:pt x="3951" y="2642"/>
                </a:lnTo>
                <a:lnTo>
                  <a:pt x="3948" y="2643"/>
                </a:lnTo>
                <a:lnTo>
                  <a:pt x="3942" y="2646"/>
                </a:lnTo>
                <a:lnTo>
                  <a:pt x="3934" y="2647"/>
                </a:lnTo>
                <a:lnTo>
                  <a:pt x="3931" y="2648"/>
                </a:lnTo>
                <a:lnTo>
                  <a:pt x="3928" y="2650"/>
                </a:lnTo>
                <a:lnTo>
                  <a:pt x="3927" y="2653"/>
                </a:lnTo>
                <a:lnTo>
                  <a:pt x="3928" y="2656"/>
                </a:lnTo>
                <a:lnTo>
                  <a:pt x="3934" y="2662"/>
                </a:lnTo>
                <a:lnTo>
                  <a:pt x="3939" y="2668"/>
                </a:lnTo>
                <a:lnTo>
                  <a:pt x="3941" y="2671"/>
                </a:lnTo>
                <a:lnTo>
                  <a:pt x="3943" y="2675"/>
                </a:lnTo>
                <a:lnTo>
                  <a:pt x="3943" y="2679"/>
                </a:lnTo>
                <a:lnTo>
                  <a:pt x="3942" y="2682"/>
                </a:lnTo>
                <a:lnTo>
                  <a:pt x="3941" y="2686"/>
                </a:lnTo>
                <a:lnTo>
                  <a:pt x="3941" y="2690"/>
                </a:lnTo>
                <a:lnTo>
                  <a:pt x="3942" y="2694"/>
                </a:lnTo>
                <a:lnTo>
                  <a:pt x="3943" y="2699"/>
                </a:lnTo>
                <a:lnTo>
                  <a:pt x="3945" y="2706"/>
                </a:lnTo>
                <a:lnTo>
                  <a:pt x="3947" y="2708"/>
                </a:lnTo>
                <a:lnTo>
                  <a:pt x="3951" y="2710"/>
                </a:lnTo>
                <a:lnTo>
                  <a:pt x="3961" y="2713"/>
                </a:lnTo>
                <a:lnTo>
                  <a:pt x="3966" y="2713"/>
                </a:lnTo>
                <a:lnTo>
                  <a:pt x="3971" y="2712"/>
                </a:lnTo>
                <a:lnTo>
                  <a:pt x="3972" y="2711"/>
                </a:lnTo>
                <a:lnTo>
                  <a:pt x="3973" y="2709"/>
                </a:lnTo>
                <a:lnTo>
                  <a:pt x="3975" y="2706"/>
                </a:lnTo>
                <a:lnTo>
                  <a:pt x="3975" y="2703"/>
                </a:lnTo>
                <a:lnTo>
                  <a:pt x="3973" y="2687"/>
                </a:lnTo>
                <a:lnTo>
                  <a:pt x="3975" y="2672"/>
                </a:lnTo>
                <a:lnTo>
                  <a:pt x="3976" y="2661"/>
                </a:lnTo>
                <a:lnTo>
                  <a:pt x="3975" y="2654"/>
                </a:lnTo>
                <a:lnTo>
                  <a:pt x="3971" y="2650"/>
                </a:lnTo>
                <a:lnTo>
                  <a:pt x="3968" y="2646"/>
                </a:lnTo>
                <a:lnTo>
                  <a:pt x="3967" y="2644"/>
                </a:lnTo>
                <a:lnTo>
                  <a:pt x="3966" y="2640"/>
                </a:lnTo>
                <a:lnTo>
                  <a:pt x="3966" y="2635"/>
                </a:lnTo>
                <a:lnTo>
                  <a:pt x="3968" y="2628"/>
                </a:lnTo>
                <a:lnTo>
                  <a:pt x="3971" y="2616"/>
                </a:lnTo>
                <a:lnTo>
                  <a:pt x="3972" y="2605"/>
                </a:lnTo>
                <a:lnTo>
                  <a:pt x="3971" y="2601"/>
                </a:lnTo>
                <a:lnTo>
                  <a:pt x="3970" y="2598"/>
                </a:lnTo>
                <a:lnTo>
                  <a:pt x="3969" y="2595"/>
                </a:lnTo>
                <a:lnTo>
                  <a:pt x="3968" y="2593"/>
                </a:lnTo>
                <a:lnTo>
                  <a:pt x="3963" y="2590"/>
                </a:lnTo>
                <a:lnTo>
                  <a:pt x="3959" y="2589"/>
                </a:lnTo>
                <a:lnTo>
                  <a:pt x="3954" y="2589"/>
                </a:lnTo>
                <a:lnTo>
                  <a:pt x="3951" y="2588"/>
                </a:lnTo>
                <a:close/>
                <a:moveTo>
                  <a:pt x="5530" y="3421"/>
                </a:moveTo>
                <a:lnTo>
                  <a:pt x="5526" y="3429"/>
                </a:lnTo>
                <a:lnTo>
                  <a:pt x="5520" y="3442"/>
                </a:lnTo>
                <a:lnTo>
                  <a:pt x="5517" y="3448"/>
                </a:lnTo>
                <a:lnTo>
                  <a:pt x="5515" y="3454"/>
                </a:lnTo>
                <a:lnTo>
                  <a:pt x="5514" y="3460"/>
                </a:lnTo>
                <a:lnTo>
                  <a:pt x="5515" y="3465"/>
                </a:lnTo>
                <a:lnTo>
                  <a:pt x="5518" y="3474"/>
                </a:lnTo>
                <a:lnTo>
                  <a:pt x="5523" y="3487"/>
                </a:lnTo>
                <a:lnTo>
                  <a:pt x="5526" y="3493"/>
                </a:lnTo>
                <a:lnTo>
                  <a:pt x="5529" y="3498"/>
                </a:lnTo>
                <a:lnTo>
                  <a:pt x="5533" y="3503"/>
                </a:lnTo>
                <a:lnTo>
                  <a:pt x="5537" y="3507"/>
                </a:lnTo>
                <a:lnTo>
                  <a:pt x="5541" y="3509"/>
                </a:lnTo>
                <a:lnTo>
                  <a:pt x="5545" y="3509"/>
                </a:lnTo>
                <a:lnTo>
                  <a:pt x="5549" y="3507"/>
                </a:lnTo>
                <a:lnTo>
                  <a:pt x="5553" y="3504"/>
                </a:lnTo>
                <a:lnTo>
                  <a:pt x="5561" y="3498"/>
                </a:lnTo>
                <a:lnTo>
                  <a:pt x="5563" y="3494"/>
                </a:lnTo>
                <a:lnTo>
                  <a:pt x="5565" y="3490"/>
                </a:lnTo>
                <a:lnTo>
                  <a:pt x="5569" y="3485"/>
                </a:lnTo>
                <a:lnTo>
                  <a:pt x="5571" y="3481"/>
                </a:lnTo>
                <a:lnTo>
                  <a:pt x="5572" y="3478"/>
                </a:lnTo>
                <a:lnTo>
                  <a:pt x="5572" y="3475"/>
                </a:lnTo>
                <a:lnTo>
                  <a:pt x="5572" y="3472"/>
                </a:lnTo>
                <a:lnTo>
                  <a:pt x="5563" y="3458"/>
                </a:lnTo>
                <a:lnTo>
                  <a:pt x="5555" y="3445"/>
                </a:lnTo>
                <a:lnTo>
                  <a:pt x="5544" y="3431"/>
                </a:lnTo>
                <a:lnTo>
                  <a:pt x="5537" y="3424"/>
                </a:lnTo>
                <a:lnTo>
                  <a:pt x="5534" y="3422"/>
                </a:lnTo>
                <a:lnTo>
                  <a:pt x="5530" y="3421"/>
                </a:lnTo>
                <a:close/>
                <a:moveTo>
                  <a:pt x="6631" y="2898"/>
                </a:moveTo>
                <a:lnTo>
                  <a:pt x="6633" y="2902"/>
                </a:lnTo>
                <a:lnTo>
                  <a:pt x="6635" y="2904"/>
                </a:lnTo>
                <a:lnTo>
                  <a:pt x="6637" y="2906"/>
                </a:lnTo>
                <a:lnTo>
                  <a:pt x="6639" y="2906"/>
                </a:lnTo>
                <a:lnTo>
                  <a:pt x="6643" y="2905"/>
                </a:lnTo>
                <a:lnTo>
                  <a:pt x="6648" y="2902"/>
                </a:lnTo>
                <a:lnTo>
                  <a:pt x="6659" y="2890"/>
                </a:lnTo>
                <a:lnTo>
                  <a:pt x="6669" y="2880"/>
                </a:lnTo>
                <a:lnTo>
                  <a:pt x="6677" y="2876"/>
                </a:lnTo>
                <a:lnTo>
                  <a:pt x="6685" y="2872"/>
                </a:lnTo>
                <a:lnTo>
                  <a:pt x="6696" y="2868"/>
                </a:lnTo>
                <a:lnTo>
                  <a:pt x="6706" y="2866"/>
                </a:lnTo>
                <a:lnTo>
                  <a:pt x="6725" y="2862"/>
                </a:lnTo>
                <a:lnTo>
                  <a:pt x="6735" y="2860"/>
                </a:lnTo>
                <a:lnTo>
                  <a:pt x="6742" y="2859"/>
                </a:lnTo>
                <a:lnTo>
                  <a:pt x="6752" y="2854"/>
                </a:lnTo>
                <a:lnTo>
                  <a:pt x="6765" y="2846"/>
                </a:lnTo>
                <a:lnTo>
                  <a:pt x="6776" y="2837"/>
                </a:lnTo>
                <a:lnTo>
                  <a:pt x="6778" y="2834"/>
                </a:lnTo>
                <a:lnTo>
                  <a:pt x="6780" y="2830"/>
                </a:lnTo>
                <a:lnTo>
                  <a:pt x="6781" y="2824"/>
                </a:lnTo>
                <a:lnTo>
                  <a:pt x="6782" y="2819"/>
                </a:lnTo>
                <a:lnTo>
                  <a:pt x="6784" y="2807"/>
                </a:lnTo>
                <a:lnTo>
                  <a:pt x="6785" y="2793"/>
                </a:lnTo>
                <a:lnTo>
                  <a:pt x="6785" y="2781"/>
                </a:lnTo>
                <a:lnTo>
                  <a:pt x="6787" y="2772"/>
                </a:lnTo>
                <a:lnTo>
                  <a:pt x="6788" y="2769"/>
                </a:lnTo>
                <a:lnTo>
                  <a:pt x="6789" y="2767"/>
                </a:lnTo>
                <a:lnTo>
                  <a:pt x="6791" y="2766"/>
                </a:lnTo>
                <a:lnTo>
                  <a:pt x="6794" y="2767"/>
                </a:lnTo>
                <a:lnTo>
                  <a:pt x="6799" y="2771"/>
                </a:lnTo>
                <a:lnTo>
                  <a:pt x="6803" y="2773"/>
                </a:lnTo>
                <a:lnTo>
                  <a:pt x="6809" y="2775"/>
                </a:lnTo>
                <a:lnTo>
                  <a:pt x="6813" y="2777"/>
                </a:lnTo>
                <a:lnTo>
                  <a:pt x="6818" y="2777"/>
                </a:lnTo>
                <a:lnTo>
                  <a:pt x="6823" y="2776"/>
                </a:lnTo>
                <a:lnTo>
                  <a:pt x="6830" y="2775"/>
                </a:lnTo>
                <a:lnTo>
                  <a:pt x="6837" y="2772"/>
                </a:lnTo>
                <a:lnTo>
                  <a:pt x="6844" y="2768"/>
                </a:lnTo>
                <a:lnTo>
                  <a:pt x="6851" y="2763"/>
                </a:lnTo>
                <a:lnTo>
                  <a:pt x="6856" y="2755"/>
                </a:lnTo>
                <a:lnTo>
                  <a:pt x="6860" y="2748"/>
                </a:lnTo>
                <a:lnTo>
                  <a:pt x="6868" y="2734"/>
                </a:lnTo>
                <a:lnTo>
                  <a:pt x="6876" y="2723"/>
                </a:lnTo>
                <a:lnTo>
                  <a:pt x="6889" y="2712"/>
                </a:lnTo>
                <a:lnTo>
                  <a:pt x="6907" y="2700"/>
                </a:lnTo>
                <a:lnTo>
                  <a:pt x="6911" y="2696"/>
                </a:lnTo>
                <a:lnTo>
                  <a:pt x="6915" y="2692"/>
                </a:lnTo>
                <a:lnTo>
                  <a:pt x="6918" y="2688"/>
                </a:lnTo>
                <a:lnTo>
                  <a:pt x="6919" y="2685"/>
                </a:lnTo>
                <a:lnTo>
                  <a:pt x="6920" y="2681"/>
                </a:lnTo>
                <a:lnTo>
                  <a:pt x="6920" y="2678"/>
                </a:lnTo>
                <a:lnTo>
                  <a:pt x="6918" y="2675"/>
                </a:lnTo>
                <a:lnTo>
                  <a:pt x="6915" y="2670"/>
                </a:lnTo>
                <a:lnTo>
                  <a:pt x="6900" y="2658"/>
                </a:lnTo>
                <a:lnTo>
                  <a:pt x="6889" y="2645"/>
                </a:lnTo>
                <a:lnTo>
                  <a:pt x="6886" y="2640"/>
                </a:lnTo>
                <a:lnTo>
                  <a:pt x="6885" y="2636"/>
                </a:lnTo>
                <a:lnTo>
                  <a:pt x="6885" y="2634"/>
                </a:lnTo>
                <a:lnTo>
                  <a:pt x="6885" y="2632"/>
                </a:lnTo>
                <a:lnTo>
                  <a:pt x="6886" y="2630"/>
                </a:lnTo>
                <a:lnTo>
                  <a:pt x="6888" y="2627"/>
                </a:lnTo>
                <a:lnTo>
                  <a:pt x="6901" y="2618"/>
                </a:lnTo>
                <a:lnTo>
                  <a:pt x="6920" y="2604"/>
                </a:lnTo>
                <a:lnTo>
                  <a:pt x="6939" y="2593"/>
                </a:lnTo>
                <a:lnTo>
                  <a:pt x="6950" y="2584"/>
                </a:lnTo>
                <a:lnTo>
                  <a:pt x="6973" y="2566"/>
                </a:lnTo>
                <a:lnTo>
                  <a:pt x="7013" y="2532"/>
                </a:lnTo>
                <a:lnTo>
                  <a:pt x="7048" y="2502"/>
                </a:lnTo>
                <a:lnTo>
                  <a:pt x="7055" y="2493"/>
                </a:lnTo>
                <a:lnTo>
                  <a:pt x="7032" y="2509"/>
                </a:lnTo>
                <a:lnTo>
                  <a:pt x="6998" y="2530"/>
                </a:lnTo>
                <a:lnTo>
                  <a:pt x="6983" y="2540"/>
                </a:lnTo>
                <a:lnTo>
                  <a:pt x="6968" y="2548"/>
                </a:lnTo>
                <a:lnTo>
                  <a:pt x="6962" y="2550"/>
                </a:lnTo>
                <a:lnTo>
                  <a:pt x="6957" y="2552"/>
                </a:lnTo>
                <a:lnTo>
                  <a:pt x="6954" y="2552"/>
                </a:lnTo>
                <a:lnTo>
                  <a:pt x="6952" y="2551"/>
                </a:lnTo>
                <a:lnTo>
                  <a:pt x="6951" y="2549"/>
                </a:lnTo>
                <a:lnTo>
                  <a:pt x="6950" y="2548"/>
                </a:lnTo>
                <a:lnTo>
                  <a:pt x="6948" y="2547"/>
                </a:lnTo>
                <a:lnTo>
                  <a:pt x="6945" y="2546"/>
                </a:lnTo>
                <a:lnTo>
                  <a:pt x="6939" y="2545"/>
                </a:lnTo>
                <a:lnTo>
                  <a:pt x="6931" y="2545"/>
                </a:lnTo>
                <a:lnTo>
                  <a:pt x="6925" y="2545"/>
                </a:lnTo>
                <a:lnTo>
                  <a:pt x="6918" y="2543"/>
                </a:lnTo>
                <a:lnTo>
                  <a:pt x="6915" y="2543"/>
                </a:lnTo>
                <a:lnTo>
                  <a:pt x="6912" y="2540"/>
                </a:lnTo>
                <a:lnTo>
                  <a:pt x="6910" y="2539"/>
                </a:lnTo>
                <a:lnTo>
                  <a:pt x="6908" y="2537"/>
                </a:lnTo>
                <a:lnTo>
                  <a:pt x="6902" y="2527"/>
                </a:lnTo>
                <a:lnTo>
                  <a:pt x="6895" y="2514"/>
                </a:lnTo>
                <a:lnTo>
                  <a:pt x="6891" y="2509"/>
                </a:lnTo>
                <a:lnTo>
                  <a:pt x="6889" y="2505"/>
                </a:lnTo>
                <a:lnTo>
                  <a:pt x="6888" y="2503"/>
                </a:lnTo>
                <a:lnTo>
                  <a:pt x="6889" y="2502"/>
                </a:lnTo>
                <a:lnTo>
                  <a:pt x="6890" y="2500"/>
                </a:lnTo>
                <a:lnTo>
                  <a:pt x="6891" y="2496"/>
                </a:lnTo>
                <a:lnTo>
                  <a:pt x="6891" y="2492"/>
                </a:lnTo>
                <a:lnTo>
                  <a:pt x="6891" y="2487"/>
                </a:lnTo>
                <a:lnTo>
                  <a:pt x="6891" y="2483"/>
                </a:lnTo>
                <a:lnTo>
                  <a:pt x="6893" y="2479"/>
                </a:lnTo>
                <a:lnTo>
                  <a:pt x="6893" y="2477"/>
                </a:lnTo>
                <a:lnTo>
                  <a:pt x="6894" y="2476"/>
                </a:lnTo>
                <a:lnTo>
                  <a:pt x="6895" y="2476"/>
                </a:lnTo>
                <a:lnTo>
                  <a:pt x="6896" y="2476"/>
                </a:lnTo>
                <a:lnTo>
                  <a:pt x="6898" y="2477"/>
                </a:lnTo>
                <a:lnTo>
                  <a:pt x="6902" y="2477"/>
                </a:lnTo>
                <a:lnTo>
                  <a:pt x="6906" y="2477"/>
                </a:lnTo>
                <a:lnTo>
                  <a:pt x="6910" y="2476"/>
                </a:lnTo>
                <a:lnTo>
                  <a:pt x="6915" y="2473"/>
                </a:lnTo>
                <a:lnTo>
                  <a:pt x="6917" y="2471"/>
                </a:lnTo>
                <a:lnTo>
                  <a:pt x="6918" y="2469"/>
                </a:lnTo>
                <a:lnTo>
                  <a:pt x="6918" y="2467"/>
                </a:lnTo>
                <a:lnTo>
                  <a:pt x="6917" y="2464"/>
                </a:lnTo>
                <a:lnTo>
                  <a:pt x="6916" y="2461"/>
                </a:lnTo>
                <a:lnTo>
                  <a:pt x="6911" y="2456"/>
                </a:lnTo>
                <a:lnTo>
                  <a:pt x="6906" y="2451"/>
                </a:lnTo>
                <a:lnTo>
                  <a:pt x="6901" y="2447"/>
                </a:lnTo>
                <a:lnTo>
                  <a:pt x="6896" y="2443"/>
                </a:lnTo>
                <a:lnTo>
                  <a:pt x="6894" y="2441"/>
                </a:lnTo>
                <a:lnTo>
                  <a:pt x="6891" y="2439"/>
                </a:lnTo>
                <a:lnTo>
                  <a:pt x="6890" y="2437"/>
                </a:lnTo>
                <a:lnTo>
                  <a:pt x="6890" y="2435"/>
                </a:lnTo>
                <a:lnTo>
                  <a:pt x="6890" y="2432"/>
                </a:lnTo>
                <a:lnTo>
                  <a:pt x="6891" y="2429"/>
                </a:lnTo>
                <a:lnTo>
                  <a:pt x="6894" y="2426"/>
                </a:lnTo>
                <a:lnTo>
                  <a:pt x="6897" y="2422"/>
                </a:lnTo>
                <a:lnTo>
                  <a:pt x="6913" y="2411"/>
                </a:lnTo>
                <a:lnTo>
                  <a:pt x="6928" y="2402"/>
                </a:lnTo>
                <a:lnTo>
                  <a:pt x="6934" y="2398"/>
                </a:lnTo>
                <a:lnTo>
                  <a:pt x="6938" y="2393"/>
                </a:lnTo>
                <a:lnTo>
                  <a:pt x="6938" y="2390"/>
                </a:lnTo>
                <a:lnTo>
                  <a:pt x="6938" y="2386"/>
                </a:lnTo>
                <a:lnTo>
                  <a:pt x="6937" y="2382"/>
                </a:lnTo>
                <a:lnTo>
                  <a:pt x="6935" y="2378"/>
                </a:lnTo>
                <a:lnTo>
                  <a:pt x="6930" y="2363"/>
                </a:lnTo>
                <a:lnTo>
                  <a:pt x="6925" y="2338"/>
                </a:lnTo>
                <a:lnTo>
                  <a:pt x="6920" y="2309"/>
                </a:lnTo>
                <a:lnTo>
                  <a:pt x="6915" y="2276"/>
                </a:lnTo>
                <a:lnTo>
                  <a:pt x="6909" y="2247"/>
                </a:lnTo>
                <a:lnTo>
                  <a:pt x="6904" y="2224"/>
                </a:lnTo>
                <a:lnTo>
                  <a:pt x="6902" y="2216"/>
                </a:lnTo>
                <a:lnTo>
                  <a:pt x="6899" y="2210"/>
                </a:lnTo>
                <a:lnTo>
                  <a:pt x="6898" y="2209"/>
                </a:lnTo>
                <a:lnTo>
                  <a:pt x="6897" y="2209"/>
                </a:lnTo>
                <a:lnTo>
                  <a:pt x="6896" y="2210"/>
                </a:lnTo>
                <a:lnTo>
                  <a:pt x="6896" y="2213"/>
                </a:lnTo>
                <a:lnTo>
                  <a:pt x="6887" y="2232"/>
                </a:lnTo>
                <a:lnTo>
                  <a:pt x="6880" y="2252"/>
                </a:lnTo>
                <a:lnTo>
                  <a:pt x="6875" y="2269"/>
                </a:lnTo>
                <a:lnTo>
                  <a:pt x="6873" y="2277"/>
                </a:lnTo>
                <a:lnTo>
                  <a:pt x="6872" y="2282"/>
                </a:lnTo>
                <a:lnTo>
                  <a:pt x="6871" y="2287"/>
                </a:lnTo>
                <a:lnTo>
                  <a:pt x="6869" y="2290"/>
                </a:lnTo>
                <a:lnTo>
                  <a:pt x="6871" y="2293"/>
                </a:lnTo>
                <a:lnTo>
                  <a:pt x="6872" y="2297"/>
                </a:lnTo>
                <a:lnTo>
                  <a:pt x="6874" y="2303"/>
                </a:lnTo>
                <a:lnTo>
                  <a:pt x="6876" y="2308"/>
                </a:lnTo>
                <a:lnTo>
                  <a:pt x="6878" y="2315"/>
                </a:lnTo>
                <a:lnTo>
                  <a:pt x="6879" y="2321"/>
                </a:lnTo>
                <a:lnTo>
                  <a:pt x="6880" y="2329"/>
                </a:lnTo>
                <a:lnTo>
                  <a:pt x="6880" y="2342"/>
                </a:lnTo>
                <a:lnTo>
                  <a:pt x="6880" y="2352"/>
                </a:lnTo>
                <a:lnTo>
                  <a:pt x="6880" y="2364"/>
                </a:lnTo>
                <a:lnTo>
                  <a:pt x="6880" y="2386"/>
                </a:lnTo>
                <a:lnTo>
                  <a:pt x="6881" y="2407"/>
                </a:lnTo>
                <a:lnTo>
                  <a:pt x="6882" y="2419"/>
                </a:lnTo>
                <a:lnTo>
                  <a:pt x="6882" y="2422"/>
                </a:lnTo>
                <a:lnTo>
                  <a:pt x="6881" y="2426"/>
                </a:lnTo>
                <a:lnTo>
                  <a:pt x="6879" y="2430"/>
                </a:lnTo>
                <a:lnTo>
                  <a:pt x="6877" y="2436"/>
                </a:lnTo>
                <a:lnTo>
                  <a:pt x="6872" y="2446"/>
                </a:lnTo>
                <a:lnTo>
                  <a:pt x="6868" y="2455"/>
                </a:lnTo>
                <a:lnTo>
                  <a:pt x="6864" y="2469"/>
                </a:lnTo>
                <a:lnTo>
                  <a:pt x="6861" y="2484"/>
                </a:lnTo>
                <a:lnTo>
                  <a:pt x="6864" y="2490"/>
                </a:lnTo>
                <a:lnTo>
                  <a:pt x="6869" y="2495"/>
                </a:lnTo>
                <a:lnTo>
                  <a:pt x="6871" y="2499"/>
                </a:lnTo>
                <a:lnTo>
                  <a:pt x="6872" y="2501"/>
                </a:lnTo>
                <a:lnTo>
                  <a:pt x="6871" y="2503"/>
                </a:lnTo>
                <a:lnTo>
                  <a:pt x="6867" y="2505"/>
                </a:lnTo>
                <a:lnTo>
                  <a:pt x="6858" y="2506"/>
                </a:lnTo>
                <a:lnTo>
                  <a:pt x="6848" y="2506"/>
                </a:lnTo>
                <a:lnTo>
                  <a:pt x="6845" y="2507"/>
                </a:lnTo>
                <a:lnTo>
                  <a:pt x="6843" y="2510"/>
                </a:lnTo>
                <a:lnTo>
                  <a:pt x="6842" y="2513"/>
                </a:lnTo>
                <a:lnTo>
                  <a:pt x="6844" y="2518"/>
                </a:lnTo>
                <a:lnTo>
                  <a:pt x="6845" y="2522"/>
                </a:lnTo>
                <a:lnTo>
                  <a:pt x="6847" y="2524"/>
                </a:lnTo>
                <a:lnTo>
                  <a:pt x="6851" y="2526"/>
                </a:lnTo>
                <a:lnTo>
                  <a:pt x="6853" y="2527"/>
                </a:lnTo>
                <a:lnTo>
                  <a:pt x="6859" y="2529"/>
                </a:lnTo>
                <a:lnTo>
                  <a:pt x="6865" y="2530"/>
                </a:lnTo>
                <a:lnTo>
                  <a:pt x="6867" y="2531"/>
                </a:lnTo>
                <a:lnTo>
                  <a:pt x="6869" y="2532"/>
                </a:lnTo>
                <a:lnTo>
                  <a:pt x="6872" y="2534"/>
                </a:lnTo>
                <a:lnTo>
                  <a:pt x="6873" y="2536"/>
                </a:lnTo>
                <a:lnTo>
                  <a:pt x="6874" y="2538"/>
                </a:lnTo>
                <a:lnTo>
                  <a:pt x="6874" y="2543"/>
                </a:lnTo>
                <a:lnTo>
                  <a:pt x="6873" y="2547"/>
                </a:lnTo>
                <a:lnTo>
                  <a:pt x="6871" y="2553"/>
                </a:lnTo>
                <a:lnTo>
                  <a:pt x="6865" y="2564"/>
                </a:lnTo>
                <a:lnTo>
                  <a:pt x="6860" y="2573"/>
                </a:lnTo>
                <a:lnTo>
                  <a:pt x="6855" y="2580"/>
                </a:lnTo>
                <a:lnTo>
                  <a:pt x="6848" y="2587"/>
                </a:lnTo>
                <a:lnTo>
                  <a:pt x="6843" y="2591"/>
                </a:lnTo>
                <a:lnTo>
                  <a:pt x="6838" y="2594"/>
                </a:lnTo>
                <a:lnTo>
                  <a:pt x="6833" y="2596"/>
                </a:lnTo>
                <a:lnTo>
                  <a:pt x="6828" y="2597"/>
                </a:lnTo>
                <a:lnTo>
                  <a:pt x="6822" y="2596"/>
                </a:lnTo>
                <a:lnTo>
                  <a:pt x="6817" y="2595"/>
                </a:lnTo>
                <a:lnTo>
                  <a:pt x="6812" y="2592"/>
                </a:lnTo>
                <a:lnTo>
                  <a:pt x="6807" y="2591"/>
                </a:lnTo>
                <a:lnTo>
                  <a:pt x="6804" y="2590"/>
                </a:lnTo>
                <a:lnTo>
                  <a:pt x="6802" y="2590"/>
                </a:lnTo>
                <a:lnTo>
                  <a:pt x="6800" y="2590"/>
                </a:lnTo>
                <a:lnTo>
                  <a:pt x="6799" y="2591"/>
                </a:lnTo>
                <a:lnTo>
                  <a:pt x="6798" y="2593"/>
                </a:lnTo>
                <a:lnTo>
                  <a:pt x="6798" y="2595"/>
                </a:lnTo>
                <a:lnTo>
                  <a:pt x="6799" y="2599"/>
                </a:lnTo>
                <a:lnTo>
                  <a:pt x="6799" y="2604"/>
                </a:lnTo>
                <a:lnTo>
                  <a:pt x="6801" y="2609"/>
                </a:lnTo>
                <a:lnTo>
                  <a:pt x="6803" y="2613"/>
                </a:lnTo>
                <a:lnTo>
                  <a:pt x="6806" y="2616"/>
                </a:lnTo>
                <a:lnTo>
                  <a:pt x="6808" y="2619"/>
                </a:lnTo>
                <a:lnTo>
                  <a:pt x="6813" y="2623"/>
                </a:lnTo>
                <a:lnTo>
                  <a:pt x="6818" y="2625"/>
                </a:lnTo>
                <a:lnTo>
                  <a:pt x="6823" y="2627"/>
                </a:lnTo>
                <a:lnTo>
                  <a:pt x="6828" y="2630"/>
                </a:lnTo>
                <a:lnTo>
                  <a:pt x="6830" y="2632"/>
                </a:lnTo>
                <a:lnTo>
                  <a:pt x="6831" y="2634"/>
                </a:lnTo>
                <a:lnTo>
                  <a:pt x="6832" y="2636"/>
                </a:lnTo>
                <a:lnTo>
                  <a:pt x="6833" y="2639"/>
                </a:lnTo>
                <a:lnTo>
                  <a:pt x="6834" y="2652"/>
                </a:lnTo>
                <a:lnTo>
                  <a:pt x="6836" y="2664"/>
                </a:lnTo>
                <a:lnTo>
                  <a:pt x="6837" y="2670"/>
                </a:lnTo>
                <a:lnTo>
                  <a:pt x="6837" y="2677"/>
                </a:lnTo>
                <a:lnTo>
                  <a:pt x="6836" y="2683"/>
                </a:lnTo>
                <a:lnTo>
                  <a:pt x="6835" y="2689"/>
                </a:lnTo>
                <a:lnTo>
                  <a:pt x="6832" y="2694"/>
                </a:lnTo>
                <a:lnTo>
                  <a:pt x="6828" y="2699"/>
                </a:lnTo>
                <a:lnTo>
                  <a:pt x="6823" y="2702"/>
                </a:lnTo>
                <a:lnTo>
                  <a:pt x="6818" y="2705"/>
                </a:lnTo>
                <a:lnTo>
                  <a:pt x="6813" y="2708"/>
                </a:lnTo>
                <a:lnTo>
                  <a:pt x="6808" y="2711"/>
                </a:lnTo>
                <a:lnTo>
                  <a:pt x="6803" y="2715"/>
                </a:lnTo>
                <a:lnTo>
                  <a:pt x="6800" y="2721"/>
                </a:lnTo>
                <a:lnTo>
                  <a:pt x="6798" y="2726"/>
                </a:lnTo>
                <a:lnTo>
                  <a:pt x="6794" y="2729"/>
                </a:lnTo>
                <a:lnTo>
                  <a:pt x="6789" y="2731"/>
                </a:lnTo>
                <a:lnTo>
                  <a:pt x="6782" y="2733"/>
                </a:lnTo>
                <a:lnTo>
                  <a:pt x="6776" y="2735"/>
                </a:lnTo>
                <a:lnTo>
                  <a:pt x="6770" y="2739"/>
                </a:lnTo>
                <a:lnTo>
                  <a:pt x="6765" y="2742"/>
                </a:lnTo>
                <a:lnTo>
                  <a:pt x="6758" y="2747"/>
                </a:lnTo>
                <a:lnTo>
                  <a:pt x="6751" y="2758"/>
                </a:lnTo>
                <a:lnTo>
                  <a:pt x="6745" y="2769"/>
                </a:lnTo>
                <a:lnTo>
                  <a:pt x="6743" y="2773"/>
                </a:lnTo>
                <a:lnTo>
                  <a:pt x="6740" y="2777"/>
                </a:lnTo>
                <a:lnTo>
                  <a:pt x="6736" y="2781"/>
                </a:lnTo>
                <a:lnTo>
                  <a:pt x="6732" y="2785"/>
                </a:lnTo>
                <a:lnTo>
                  <a:pt x="6724" y="2791"/>
                </a:lnTo>
                <a:lnTo>
                  <a:pt x="6715" y="2794"/>
                </a:lnTo>
                <a:lnTo>
                  <a:pt x="6713" y="2794"/>
                </a:lnTo>
                <a:lnTo>
                  <a:pt x="6710" y="2793"/>
                </a:lnTo>
                <a:lnTo>
                  <a:pt x="6708" y="2791"/>
                </a:lnTo>
                <a:lnTo>
                  <a:pt x="6707" y="2788"/>
                </a:lnTo>
                <a:lnTo>
                  <a:pt x="6707" y="2777"/>
                </a:lnTo>
                <a:lnTo>
                  <a:pt x="6707" y="2768"/>
                </a:lnTo>
                <a:lnTo>
                  <a:pt x="6707" y="2766"/>
                </a:lnTo>
                <a:lnTo>
                  <a:pt x="6706" y="2765"/>
                </a:lnTo>
                <a:lnTo>
                  <a:pt x="6705" y="2764"/>
                </a:lnTo>
                <a:lnTo>
                  <a:pt x="6704" y="2764"/>
                </a:lnTo>
                <a:lnTo>
                  <a:pt x="6698" y="2767"/>
                </a:lnTo>
                <a:lnTo>
                  <a:pt x="6690" y="2773"/>
                </a:lnTo>
                <a:lnTo>
                  <a:pt x="6681" y="2783"/>
                </a:lnTo>
                <a:lnTo>
                  <a:pt x="6675" y="2790"/>
                </a:lnTo>
                <a:lnTo>
                  <a:pt x="6670" y="2797"/>
                </a:lnTo>
                <a:lnTo>
                  <a:pt x="6667" y="2805"/>
                </a:lnTo>
                <a:lnTo>
                  <a:pt x="6663" y="2815"/>
                </a:lnTo>
                <a:lnTo>
                  <a:pt x="6659" y="2824"/>
                </a:lnTo>
                <a:lnTo>
                  <a:pt x="6657" y="2828"/>
                </a:lnTo>
                <a:lnTo>
                  <a:pt x="6653" y="2829"/>
                </a:lnTo>
                <a:lnTo>
                  <a:pt x="6648" y="2830"/>
                </a:lnTo>
                <a:lnTo>
                  <a:pt x="6644" y="2831"/>
                </a:lnTo>
                <a:lnTo>
                  <a:pt x="6639" y="2831"/>
                </a:lnTo>
                <a:lnTo>
                  <a:pt x="6635" y="2832"/>
                </a:lnTo>
                <a:lnTo>
                  <a:pt x="6631" y="2834"/>
                </a:lnTo>
                <a:lnTo>
                  <a:pt x="6626" y="2837"/>
                </a:lnTo>
                <a:lnTo>
                  <a:pt x="6623" y="2841"/>
                </a:lnTo>
                <a:lnTo>
                  <a:pt x="6620" y="2846"/>
                </a:lnTo>
                <a:lnTo>
                  <a:pt x="6617" y="2853"/>
                </a:lnTo>
                <a:lnTo>
                  <a:pt x="6615" y="2860"/>
                </a:lnTo>
                <a:lnTo>
                  <a:pt x="6613" y="2866"/>
                </a:lnTo>
                <a:lnTo>
                  <a:pt x="6613" y="2874"/>
                </a:lnTo>
                <a:lnTo>
                  <a:pt x="6613" y="2879"/>
                </a:lnTo>
                <a:lnTo>
                  <a:pt x="6614" y="2884"/>
                </a:lnTo>
                <a:lnTo>
                  <a:pt x="6617" y="2891"/>
                </a:lnTo>
                <a:lnTo>
                  <a:pt x="6618" y="2899"/>
                </a:lnTo>
                <a:lnTo>
                  <a:pt x="6618" y="2902"/>
                </a:lnTo>
                <a:lnTo>
                  <a:pt x="6618" y="2905"/>
                </a:lnTo>
                <a:lnTo>
                  <a:pt x="6617" y="2907"/>
                </a:lnTo>
                <a:lnTo>
                  <a:pt x="6615" y="2909"/>
                </a:lnTo>
                <a:lnTo>
                  <a:pt x="6614" y="2911"/>
                </a:lnTo>
                <a:lnTo>
                  <a:pt x="6614" y="2912"/>
                </a:lnTo>
                <a:lnTo>
                  <a:pt x="6615" y="2912"/>
                </a:lnTo>
                <a:lnTo>
                  <a:pt x="6617" y="2913"/>
                </a:lnTo>
                <a:lnTo>
                  <a:pt x="6621" y="2913"/>
                </a:lnTo>
                <a:lnTo>
                  <a:pt x="6624" y="2915"/>
                </a:lnTo>
                <a:lnTo>
                  <a:pt x="6625" y="2915"/>
                </a:lnTo>
                <a:lnTo>
                  <a:pt x="6627" y="2912"/>
                </a:lnTo>
                <a:lnTo>
                  <a:pt x="6628" y="2908"/>
                </a:lnTo>
                <a:lnTo>
                  <a:pt x="6627" y="2906"/>
                </a:lnTo>
                <a:lnTo>
                  <a:pt x="6627" y="2903"/>
                </a:lnTo>
                <a:lnTo>
                  <a:pt x="6628" y="2901"/>
                </a:lnTo>
                <a:lnTo>
                  <a:pt x="6630" y="2899"/>
                </a:lnTo>
                <a:lnTo>
                  <a:pt x="6631" y="2898"/>
                </a:lnTo>
                <a:close/>
                <a:moveTo>
                  <a:pt x="6397" y="3098"/>
                </a:moveTo>
                <a:lnTo>
                  <a:pt x="6398" y="3104"/>
                </a:lnTo>
                <a:lnTo>
                  <a:pt x="6401" y="3112"/>
                </a:lnTo>
                <a:lnTo>
                  <a:pt x="6404" y="3119"/>
                </a:lnTo>
                <a:lnTo>
                  <a:pt x="6407" y="3126"/>
                </a:lnTo>
                <a:lnTo>
                  <a:pt x="6412" y="3132"/>
                </a:lnTo>
                <a:lnTo>
                  <a:pt x="6416" y="3137"/>
                </a:lnTo>
                <a:lnTo>
                  <a:pt x="6418" y="3138"/>
                </a:lnTo>
                <a:lnTo>
                  <a:pt x="6419" y="3138"/>
                </a:lnTo>
                <a:lnTo>
                  <a:pt x="6421" y="3138"/>
                </a:lnTo>
                <a:lnTo>
                  <a:pt x="6422" y="3137"/>
                </a:lnTo>
                <a:lnTo>
                  <a:pt x="6427" y="3126"/>
                </a:lnTo>
                <a:lnTo>
                  <a:pt x="6433" y="3112"/>
                </a:lnTo>
                <a:lnTo>
                  <a:pt x="6439" y="3096"/>
                </a:lnTo>
                <a:lnTo>
                  <a:pt x="6446" y="3083"/>
                </a:lnTo>
                <a:lnTo>
                  <a:pt x="6452" y="3076"/>
                </a:lnTo>
                <a:lnTo>
                  <a:pt x="6456" y="3071"/>
                </a:lnTo>
                <a:lnTo>
                  <a:pt x="6457" y="3067"/>
                </a:lnTo>
                <a:lnTo>
                  <a:pt x="6457" y="3065"/>
                </a:lnTo>
                <a:lnTo>
                  <a:pt x="6456" y="3064"/>
                </a:lnTo>
                <a:lnTo>
                  <a:pt x="6455" y="3062"/>
                </a:lnTo>
                <a:lnTo>
                  <a:pt x="6449" y="3057"/>
                </a:lnTo>
                <a:lnTo>
                  <a:pt x="6442" y="3053"/>
                </a:lnTo>
                <a:lnTo>
                  <a:pt x="6439" y="3052"/>
                </a:lnTo>
                <a:lnTo>
                  <a:pt x="6435" y="3052"/>
                </a:lnTo>
                <a:lnTo>
                  <a:pt x="6430" y="3053"/>
                </a:lnTo>
                <a:lnTo>
                  <a:pt x="6427" y="3055"/>
                </a:lnTo>
                <a:lnTo>
                  <a:pt x="6416" y="3070"/>
                </a:lnTo>
                <a:lnTo>
                  <a:pt x="6408" y="3080"/>
                </a:lnTo>
                <a:lnTo>
                  <a:pt x="6400" y="3091"/>
                </a:lnTo>
                <a:lnTo>
                  <a:pt x="6397" y="3098"/>
                </a:lnTo>
                <a:close/>
                <a:moveTo>
                  <a:pt x="6463" y="3448"/>
                </a:moveTo>
                <a:lnTo>
                  <a:pt x="6466" y="3454"/>
                </a:lnTo>
                <a:lnTo>
                  <a:pt x="6472" y="3460"/>
                </a:lnTo>
                <a:lnTo>
                  <a:pt x="6479" y="3469"/>
                </a:lnTo>
                <a:lnTo>
                  <a:pt x="6486" y="3478"/>
                </a:lnTo>
                <a:lnTo>
                  <a:pt x="6503" y="3496"/>
                </a:lnTo>
                <a:lnTo>
                  <a:pt x="6515" y="3509"/>
                </a:lnTo>
                <a:lnTo>
                  <a:pt x="6518" y="3510"/>
                </a:lnTo>
                <a:lnTo>
                  <a:pt x="6522" y="3510"/>
                </a:lnTo>
                <a:lnTo>
                  <a:pt x="6525" y="3509"/>
                </a:lnTo>
                <a:lnTo>
                  <a:pt x="6529" y="3507"/>
                </a:lnTo>
                <a:lnTo>
                  <a:pt x="6536" y="3499"/>
                </a:lnTo>
                <a:lnTo>
                  <a:pt x="6544" y="3489"/>
                </a:lnTo>
                <a:lnTo>
                  <a:pt x="6550" y="3477"/>
                </a:lnTo>
                <a:lnTo>
                  <a:pt x="6554" y="3466"/>
                </a:lnTo>
                <a:lnTo>
                  <a:pt x="6555" y="3460"/>
                </a:lnTo>
                <a:lnTo>
                  <a:pt x="6556" y="3456"/>
                </a:lnTo>
                <a:lnTo>
                  <a:pt x="6556" y="3451"/>
                </a:lnTo>
                <a:lnTo>
                  <a:pt x="6555" y="3448"/>
                </a:lnTo>
                <a:lnTo>
                  <a:pt x="6552" y="3442"/>
                </a:lnTo>
                <a:lnTo>
                  <a:pt x="6550" y="3434"/>
                </a:lnTo>
                <a:lnTo>
                  <a:pt x="6549" y="3427"/>
                </a:lnTo>
                <a:lnTo>
                  <a:pt x="6548" y="3420"/>
                </a:lnTo>
                <a:lnTo>
                  <a:pt x="6547" y="3414"/>
                </a:lnTo>
                <a:lnTo>
                  <a:pt x="6545" y="3411"/>
                </a:lnTo>
                <a:lnTo>
                  <a:pt x="6543" y="3410"/>
                </a:lnTo>
                <a:lnTo>
                  <a:pt x="6542" y="3410"/>
                </a:lnTo>
                <a:lnTo>
                  <a:pt x="6538" y="3411"/>
                </a:lnTo>
                <a:lnTo>
                  <a:pt x="6536" y="3413"/>
                </a:lnTo>
                <a:lnTo>
                  <a:pt x="6525" y="3422"/>
                </a:lnTo>
                <a:lnTo>
                  <a:pt x="6515" y="3431"/>
                </a:lnTo>
                <a:lnTo>
                  <a:pt x="6511" y="3435"/>
                </a:lnTo>
                <a:lnTo>
                  <a:pt x="6509" y="3439"/>
                </a:lnTo>
                <a:lnTo>
                  <a:pt x="6508" y="3444"/>
                </a:lnTo>
                <a:lnTo>
                  <a:pt x="6508" y="3448"/>
                </a:lnTo>
                <a:lnTo>
                  <a:pt x="6508" y="3450"/>
                </a:lnTo>
                <a:lnTo>
                  <a:pt x="6507" y="3451"/>
                </a:lnTo>
                <a:lnTo>
                  <a:pt x="6506" y="3452"/>
                </a:lnTo>
                <a:lnTo>
                  <a:pt x="6505" y="3453"/>
                </a:lnTo>
                <a:lnTo>
                  <a:pt x="6502" y="3454"/>
                </a:lnTo>
                <a:lnTo>
                  <a:pt x="6498" y="3454"/>
                </a:lnTo>
                <a:lnTo>
                  <a:pt x="6487" y="3451"/>
                </a:lnTo>
                <a:lnTo>
                  <a:pt x="6480" y="3447"/>
                </a:lnTo>
                <a:lnTo>
                  <a:pt x="6475" y="3443"/>
                </a:lnTo>
                <a:lnTo>
                  <a:pt x="6471" y="3439"/>
                </a:lnTo>
                <a:lnTo>
                  <a:pt x="6469" y="3437"/>
                </a:lnTo>
                <a:lnTo>
                  <a:pt x="6467" y="3438"/>
                </a:lnTo>
                <a:lnTo>
                  <a:pt x="6464" y="3440"/>
                </a:lnTo>
                <a:lnTo>
                  <a:pt x="6463" y="3443"/>
                </a:lnTo>
                <a:lnTo>
                  <a:pt x="6463" y="3446"/>
                </a:lnTo>
                <a:lnTo>
                  <a:pt x="6463" y="3448"/>
                </a:lnTo>
                <a:close/>
                <a:moveTo>
                  <a:pt x="6389" y="3251"/>
                </a:moveTo>
                <a:lnTo>
                  <a:pt x="6387" y="3255"/>
                </a:lnTo>
                <a:lnTo>
                  <a:pt x="6387" y="3259"/>
                </a:lnTo>
                <a:lnTo>
                  <a:pt x="6387" y="3266"/>
                </a:lnTo>
                <a:lnTo>
                  <a:pt x="6390" y="3272"/>
                </a:lnTo>
                <a:lnTo>
                  <a:pt x="6393" y="3286"/>
                </a:lnTo>
                <a:lnTo>
                  <a:pt x="6398" y="3301"/>
                </a:lnTo>
                <a:lnTo>
                  <a:pt x="6408" y="3327"/>
                </a:lnTo>
                <a:lnTo>
                  <a:pt x="6415" y="3341"/>
                </a:lnTo>
                <a:lnTo>
                  <a:pt x="6416" y="3342"/>
                </a:lnTo>
                <a:lnTo>
                  <a:pt x="6420" y="3342"/>
                </a:lnTo>
                <a:lnTo>
                  <a:pt x="6424" y="3340"/>
                </a:lnTo>
                <a:lnTo>
                  <a:pt x="6429" y="3338"/>
                </a:lnTo>
                <a:lnTo>
                  <a:pt x="6435" y="3335"/>
                </a:lnTo>
                <a:lnTo>
                  <a:pt x="6440" y="3332"/>
                </a:lnTo>
                <a:lnTo>
                  <a:pt x="6443" y="3327"/>
                </a:lnTo>
                <a:lnTo>
                  <a:pt x="6446" y="3324"/>
                </a:lnTo>
                <a:lnTo>
                  <a:pt x="6447" y="3315"/>
                </a:lnTo>
                <a:lnTo>
                  <a:pt x="6446" y="3304"/>
                </a:lnTo>
                <a:lnTo>
                  <a:pt x="6446" y="3298"/>
                </a:lnTo>
                <a:lnTo>
                  <a:pt x="6447" y="3292"/>
                </a:lnTo>
                <a:lnTo>
                  <a:pt x="6448" y="3285"/>
                </a:lnTo>
                <a:lnTo>
                  <a:pt x="6452" y="3280"/>
                </a:lnTo>
                <a:lnTo>
                  <a:pt x="6456" y="3273"/>
                </a:lnTo>
                <a:lnTo>
                  <a:pt x="6457" y="3263"/>
                </a:lnTo>
                <a:lnTo>
                  <a:pt x="6458" y="3254"/>
                </a:lnTo>
                <a:lnTo>
                  <a:pt x="6457" y="3246"/>
                </a:lnTo>
                <a:lnTo>
                  <a:pt x="6455" y="3236"/>
                </a:lnTo>
                <a:lnTo>
                  <a:pt x="6452" y="3230"/>
                </a:lnTo>
                <a:lnTo>
                  <a:pt x="6451" y="3227"/>
                </a:lnTo>
                <a:lnTo>
                  <a:pt x="6450" y="3225"/>
                </a:lnTo>
                <a:lnTo>
                  <a:pt x="6448" y="3224"/>
                </a:lnTo>
                <a:lnTo>
                  <a:pt x="6447" y="3224"/>
                </a:lnTo>
                <a:lnTo>
                  <a:pt x="6439" y="3223"/>
                </a:lnTo>
                <a:lnTo>
                  <a:pt x="6429" y="3222"/>
                </a:lnTo>
                <a:lnTo>
                  <a:pt x="6425" y="3222"/>
                </a:lnTo>
                <a:lnTo>
                  <a:pt x="6421" y="3223"/>
                </a:lnTo>
                <a:lnTo>
                  <a:pt x="6419" y="3225"/>
                </a:lnTo>
                <a:lnTo>
                  <a:pt x="6417" y="3227"/>
                </a:lnTo>
                <a:lnTo>
                  <a:pt x="6416" y="3229"/>
                </a:lnTo>
                <a:lnTo>
                  <a:pt x="6415" y="3232"/>
                </a:lnTo>
                <a:lnTo>
                  <a:pt x="6414" y="3237"/>
                </a:lnTo>
                <a:lnTo>
                  <a:pt x="6413" y="3240"/>
                </a:lnTo>
                <a:lnTo>
                  <a:pt x="6412" y="3241"/>
                </a:lnTo>
                <a:lnTo>
                  <a:pt x="6411" y="3242"/>
                </a:lnTo>
                <a:lnTo>
                  <a:pt x="6408" y="3241"/>
                </a:lnTo>
                <a:lnTo>
                  <a:pt x="6406" y="3241"/>
                </a:lnTo>
                <a:lnTo>
                  <a:pt x="6401" y="3245"/>
                </a:lnTo>
                <a:lnTo>
                  <a:pt x="6397" y="3247"/>
                </a:lnTo>
                <a:lnTo>
                  <a:pt x="6392" y="3250"/>
                </a:lnTo>
                <a:lnTo>
                  <a:pt x="6389" y="3251"/>
                </a:lnTo>
                <a:close/>
                <a:moveTo>
                  <a:pt x="6332" y="3679"/>
                </a:moveTo>
                <a:lnTo>
                  <a:pt x="6336" y="3671"/>
                </a:lnTo>
                <a:lnTo>
                  <a:pt x="6340" y="3661"/>
                </a:lnTo>
                <a:lnTo>
                  <a:pt x="6343" y="3648"/>
                </a:lnTo>
                <a:lnTo>
                  <a:pt x="6348" y="3636"/>
                </a:lnTo>
                <a:lnTo>
                  <a:pt x="6351" y="3625"/>
                </a:lnTo>
                <a:lnTo>
                  <a:pt x="6355" y="3615"/>
                </a:lnTo>
                <a:lnTo>
                  <a:pt x="6357" y="3612"/>
                </a:lnTo>
                <a:lnTo>
                  <a:pt x="6359" y="3609"/>
                </a:lnTo>
                <a:lnTo>
                  <a:pt x="6361" y="3608"/>
                </a:lnTo>
                <a:lnTo>
                  <a:pt x="6363" y="3608"/>
                </a:lnTo>
                <a:lnTo>
                  <a:pt x="6369" y="3608"/>
                </a:lnTo>
                <a:lnTo>
                  <a:pt x="6371" y="3607"/>
                </a:lnTo>
                <a:lnTo>
                  <a:pt x="6373" y="3605"/>
                </a:lnTo>
                <a:lnTo>
                  <a:pt x="6374" y="3602"/>
                </a:lnTo>
                <a:lnTo>
                  <a:pt x="6373" y="3598"/>
                </a:lnTo>
                <a:lnTo>
                  <a:pt x="6371" y="3591"/>
                </a:lnTo>
                <a:lnTo>
                  <a:pt x="6368" y="3585"/>
                </a:lnTo>
                <a:lnTo>
                  <a:pt x="6363" y="3578"/>
                </a:lnTo>
                <a:lnTo>
                  <a:pt x="6358" y="3570"/>
                </a:lnTo>
                <a:lnTo>
                  <a:pt x="6355" y="3562"/>
                </a:lnTo>
                <a:lnTo>
                  <a:pt x="6354" y="3554"/>
                </a:lnTo>
                <a:lnTo>
                  <a:pt x="6353" y="3546"/>
                </a:lnTo>
                <a:lnTo>
                  <a:pt x="6354" y="3541"/>
                </a:lnTo>
                <a:lnTo>
                  <a:pt x="6357" y="3537"/>
                </a:lnTo>
                <a:lnTo>
                  <a:pt x="6358" y="3535"/>
                </a:lnTo>
                <a:lnTo>
                  <a:pt x="6361" y="3535"/>
                </a:lnTo>
                <a:lnTo>
                  <a:pt x="6363" y="3535"/>
                </a:lnTo>
                <a:lnTo>
                  <a:pt x="6367" y="3535"/>
                </a:lnTo>
                <a:lnTo>
                  <a:pt x="6371" y="3536"/>
                </a:lnTo>
                <a:lnTo>
                  <a:pt x="6374" y="3536"/>
                </a:lnTo>
                <a:lnTo>
                  <a:pt x="6377" y="3535"/>
                </a:lnTo>
                <a:lnTo>
                  <a:pt x="6380" y="3534"/>
                </a:lnTo>
                <a:lnTo>
                  <a:pt x="6386" y="3529"/>
                </a:lnTo>
                <a:lnTo>
                  <a:pt x="6392" y="3523"/>
                </a:lnTo>
                <a:lnTo>
                  <a:pt x="6395" y="3517"/>
                </a:lnTo>
                <a:lnTo>
                  <a:pt x="6396" y="3512"/>
                </a:lnTo>
                <a:lnTo>
                  <a:pt x="6396" y="3510"/>
                </a:lnTo>
                <a:lnTo>
                  <a:pt x="6395" y="3508"/>
                </a:lnTo>
                <a:lnTo>
                  <a:pt x="6394" y="3507"/>
                </a:lnTo>
                <a:lnTo>
                  <a:pt x="6392" y="3507"/>
                </a:lnTo>
                <a:lnTo>
                  <a:pt x="6385" y="3505"/>
                </a:lnTo>
                <a:lnTo>
                  <a:pt x="6377" y="3502"/>
                </a:lnTo>
                <a:lnTo>
                  <a:pt x="6369" y="3498"/>
                </a:lnTo>
                <a:lnTo>
                  <a:pt x="6358" y="3494"/>
                </a:lnTo>
                <a:lnTo>
                  <a:pt x="6349" y="3490"/>
                </a:lnTo>
                <a:lnTo>
                  <a:pt x="6340" y="3487"/>
                </a:lnTo>
                <a:lnTo>
                  <a:pt x="6337" y="3486"/>
                </a:lnTo>
                <a:lnTo>
                  <a:pt x="6334" y="3486"/>
                </a:lnTo>
                <a:lnTo>
                  <a:pt x="6332" y="3486"/>
                </a:lnTo>
                <a:lnTo>
                  <a:pt x="6330" y="3487"/>
                </a:lnTo>
                <a:lnTo>
                  <a:pt x="6319" y="3500"/>
                </a:lnTo>
                <a:lnTo>
                  <a:pt x="6301" y="3522"/>
                </a:lnTo>
                <a:lnTo>
                  <a:pt x="6282" y="3546"/>
                </a:lnTo>
                <a:lnTo>
                  <a:pt x="6269" y="3563"/>
                </a:lnTo>
                <a:lnTo>
                  <a:pt x="6268" y="3565"/>
                </a:lnTo>
                <a:lnTo>
                  <a:pt x="6268" y="3568"/>
                </a:lnTo>
                <a:lnTo>
                  <a:pt x="6268" y="3573"/>
                </a:lnTo>
                <a:lnTo>
                  <a:pt x="6268" y="3576"/>
                </a:lnTo>
                <a:lnTo>
                  <a:pt x="6270" y="3583"/>
                </a:lnTo>
                <a:lnTo>
                  <a:pt x="6271" y="3589"/>
                </a:lnTo>
                <a:lnTo>
                  <a:pt x="6272" y="3593"/>
                </a:lnTo>
                <a:lnTo>
                  <a:pt x="6271" y="3596"/>
                </a:lnTo>
                <a:lnTo>
                  <a:pt x="6271" y="3599"/>
                </a:lnTo>
                <a:lnTo>
                  <a:pt x="6269" y="3601"/>
                </a:lnTo>
                <a:lnTo>
                  <a:pt x="6267" y="3603"/>
                </a:lnTo>
                <a:lnTo>
                  <a:pt x="6263" y="3605"/>
                </a:lnTo>
                <a:lnTo>
                  <a:pt x="6258" y="3606"/>
                </a:lnTo>
                <a:lnTo>
                  <a:pt x="6251" y="3606"/>
                </a:lnTo>
                <a:lnTo>
                  <a:pt x="6237" y="3606"/>
                </a:lnTo>
                <a:lnTo>
                  <a:pt x="6224" y="3608"/>
                </a:lnTo>
                <a:lnTo>
                  <a:pt x="6213" y="3610"/>
                </a:lnTo>
                <a:lnTo>
                  <a:pt x="6202" y="3612"/>
                </a:lnTo>
                <a:lnTo>
                  <a:pt x="6194" y="3613"/>
                </a:lnTo>
                <a:lnTo>
                  <a:pt x="6187" y="3613"/>
                </a:lnTo>
                <a:lnTo>
                  <a:pt x="6185" y="3613"/>
                </a:lnTo>
                <a:lnTo>
                  <a:pt x="6183" y="3612"/>
                </a:lnTo>
                <a:lnTo>
                  <a:pt x="6182" y="3611"/>
                </a:lnTo>
                <a:lnTo>
                  <a:pt x="6181" y="3610"/>
                </a:lnTo>
                <a:lnTo>
                  <a:pt x="6179" y="3605"/>
                </a:lnTo>
                <a:lnTo>
                  <a:pt x="6175" y="3597"/>
                </a:lnTo>
                <a:lnTo>
                  <a:pt x="6169" y="3588"/>
                </a:lnTo>
                <a:lnTo>
                  <a:pt x="6162" y="3580"/>
                </a:lnTo>
                <a:lnTo>
                  <a:pt x="6158" y="3577"/>
                </a:lnTo>
                <a:lnTo>
                  <a:pt x="6155" y="3575"/>
                </a:lnTo>
                <a:lnTo>
                  <a:pt x="6152" y="3574"/>
                </a:lnTo>
                <a:lnTo>
                  <a:pt x="6150" y="3574"/>
                </a:lnTo>
                <a:lnTo>
                  <a:pt x="6147" y="3575"/>
                </a:lnTo>
                <a:lnTo>
                  <a:pt x="6145" y="3577"/>
                </a:lnTo>
                <a:lnTo>
                  <a:pt x="6143" y="3581"/>
                </a:lnTo>
                <a:lnTo>
                  <a:pt x="6143" y="3587"/>
                </a:lnTo>
                <a:lnTo>
                  <a:pt x="6144" y="3601"/>
                </a:lnTo>
                <a:lnTo>
                  <a:pt x="6148" y="3612"/>
                </a:lnTo>
                <a:lnTo>
                  <a:pt x="6152" y="3623"/>
                </a:lnTo>
                <a:lnTo>
                  <a:pt x="6157" y="3631"/>
                </a:lnTo>
                <a:lnTo>
                  <a:pt x="6166" y="3644"/>
                </a:lnTo>
                <a:lnTo>
                  <a:pt x="6174" y="3654"/>
                </a:lnTo>
                <a:lnTo>
                  <a:pt x="6183" y="3666"/>
                </a:lnTo>
                <a:lnTo>
                  <a:pt x="6197" y="3681"/>
                </a:lnTo>
                <a:lnTo>
                  <a:pt x="6210" y="3695"/>
                </a:lnTo>
                <a:lnTo>
                  <a:pt x="6222" y="3705"/>
                </a:lnTo>
                <a:lnTo>
                  <a:pt x="6227" y="3706"/>
                </a:lnTo>
                <a:lnTo>
                  <a:pt x="6232" y="3706"/>
                </a:lnTo>
                <a:lnTo>
                  <a:pt x="6239" y="3705"/>
                </a:lnTo>
                <a:lnTo>
                  <a:pt x="6245" y="3703"/>
                </a:lnTo>
                <a:lnTo>
                  <a:pt x="6252" y="3702"/>
                </a:lnTo>
                <a:lnTo>
                  <a:pt x="6261" y="3703"/>
                </a:lnTo>
                <a:lnTo>
                  <a:pt x="6265" y="3705"/>
                </a:lnTo>
                <a:lnTo>
                  <a:pt x="6269" y="3707"/>
                </a:lnTo>
                <a:lnTo>
                  <a:pt x="6273" y="3709"/>
                </a:lnTo>
                <a:lnTo>
                  <a:pt x="6277" y="3713"/>
                </a:lnTo>
                <a:lnTo>
                  <a:pt x="6283" y="3716"/>
                </a:lnTo>
                <a:lnTo>
                  <a:pt x="6287" y="3718"/>
                </a:lnTo>
                <a:lnTo>
                  <a:pt x="6291" y="3720"/>
                </a:lnTo>
                <a:lnTo>
                  <a:pt x="6296" y="3721"/>
                </a:lnTo>
                <a:lnTo>
                  <a:pt x="6304" y="3721"/>
                </a:lnTo>
                <a:lnTo>
                  <a:pt x="6312" y="3720"/>
                </a:lnTo>
                <a:lnTo>
                  <a:pt x="6323" y="3715"/>
                </a:lnTo>
                <a:lnTo>
                  <a:pt x="6327" y="3712"/>
                </a:lnTo>
                <a:lnTo>
                  <a:pt x="6328" y="3707"/>
                </a:lnTo>
                <a:lnTo>
                  <a:pt x="6329" y="3696"/>
                </a:lnTo>
                <a:lnTo>
                  <a:pt x="6331" y="3685"/>
                </a:lnTo>
                <a:lnTo>
                  <a:pt x="6332" y="3679"/>
                </a:lnTo>
                <a:close/>
                <a:moveTo>
                  <a:pt x="6464" y="3710"/>
                </a:moveTo>
                <a:lnTo>
                  <a:pt x="6453" y="3697"/>
                </a:lnTo>
                <a:lnTo>
                  <a:pt x="6439" y="3683"/>
                </a:lnTo>
                <a:lnTo>
                  <a:pt x="6433" y="3675"/>
                </a:lnTo>
                <a:lnTo>
                  <a:pt x="6427" y="3669"/>
                </a:lnTo>
                <a:lnTo>
                  <a:pt x="6425" y="3666"/>
                </a:lnTo>
                <a:lnTo>
                  <a:pt x="6424" y="3663"/>
                </a:lnTo>
                <a:lnTo>
                  <a:pt x="6424" y="3661"/>
                </a:lnTo>
                <a:lnTo>
                  <a:pt x="6425" y="3658"/>
                </a:lnTo>
                <a:lnTo>
                  <a:pt x="6434" y="3649"/>
                </a:lnTo>
                <a:lnTo>
                  <a:pt x="6446" y="3639"/>
                </a:lnTo>
                <a:lnTo>
                  <a:pt x="6452" y="3634"/>
                </a:lnTo>
                <a:lnTo>
                  <a:pt x="6460" y="3630"/>
                </a:lnTo>
                <a:lnTo>
                  <a:pt x="6466" y="3627"/>
                </a:lnTo>
                <a:lnTo>
                  <a:pt x="6472" y="3626"/>
                </a:lnTo>
                <a:lnTo>
                  <a:pt x="6480" y="3625"/>
                </a:lnTo>
                <a:lnTo>
                  <a:pt x="6488" y="3622"/>
                </a:lnTo>
                <a:lnTo>
                  <a:pt x="6496" y="3617"/>
                </a:lnTo>
                <a:lnTo>
                  <a:pt x="6506" y="3610"/>
                </a:lnTo>
                <a:lnTo>
                  <a:pt x="6513" y="3604"/>
                </a:lnTo>
                <a:lnTo>
                  <a:pt x="6520" y="3599"/>
                </a:lnTo>
                <a:lnTo>
                  <a:pt x="6522" y="3597"/>
                </a:lnTo>
                <a:lnTo>
                  <a:pt x="6523" y="3595"/>
                </a:lnTo>
                <a:lnTo>
                  <a:pt x="6524" y="3592"/>
                </a:lnTo>
                <a:lnTo>
                  <a:pt x="6523" y="3591"/>
                </a:lnTo>
                <a:lnTo>
                  <a:pt x="6521" y="3590"/>
                </a:lnTo>
                <a:lnTo>
                  <a:pt x="6516" y="3591"/>
                </a:lnTo>
                <a:lnTo>
                  <a:pt x="6512" y="3592"/>
                </a:lnTo>
                <a:lnTo>
                  <a:pt x="6507" y="3595"/>
                </a:lnTo>
                <a:lnTo>
                  <a:pt x="6495" y="3600"/>
                </a:lnTo>
                <a:lnTo>
                  <a:pt x="6485" y="3605"/>
                </a:lnTo>
                <a:lnTo>
                  <a:pt x="6479" y="3607"/>
                </a:lnTo>
                <a:lnTo>
                  <a:pt x="6471" y="3608"/>
                </a:lnTo>
                <a:lnTo>
                  <a:pt x="6463" y="3608"/>
                </a:lnTo>
                <a:lnTo>
                  <a:pt x="6453" y="3608"/>
                </a:lnTo>
                <a:lnTo>
                  <a:pt x="6439" y="3607"/>
                </a:lnTo>
                <a:lnTo>
                  <a:pt x="6433" y="3606"/>
                </a:lnTo>
                <a:lnTo>
                  <a:pt x="6428" y="3607"/>
                </a:lnTo>
                <a:lnTo>
                  <a:pt x="6417" y="3610"/>
                </a:lnTo>
                <a:lnTo>
                  <a:pt x="6411" y="3614"/>
                </a:lnTo>
                <a:lnTo>
                  <a:pt x="6402" y="3621"/>
                </a:lnTo>
                <a:lnTo>
                  <a:pt x="6395" y="3629"/>
                </a:lnTo>
                <a:lnTo>
                  <a:pt x="6386" y="3640"/>
                </a:lnTo>
                <a:lnTo>
                  <a:pt x="6380" y="3651"/>
                </a:lnTo>
                <a:lnTo>
                  <a:pt x="6376" y="3663"/>
                </a:lnTo>
                <a:lnTo>
                  <a:pt x="6373" y="3672"/>
                </a:lnTo>
                <a:lnTo>
                  <a:pt x="6372" y="3681"/>
                </a:lnTo>
                <a:lnTo>
                  <a:pt x="6373" y="3691"/>
                </a:lnTo>
                <a:lnTo>
                  <a:pt x="6375" y="3699"/>
                </a:lnTo>
                <a:lnTo>
                  <a:pt x="6379" y="3708"/>
                </a:lnTo>
                <a:lnTo>
                  <a:pt x="6383" y="3716"/>
                </a:lnTo>
                <a:lnTo>
                  <a:pt x="6389" y="3722"/>
                </a:lnTo>
                <a:lnTo>
                  <a:pt x="6393" y="3729"/>
                </a:lnTo>
                <a:lnTo>
                  <a:pt x="6398" y="3733"/>
                </a:lnTo>
                <a:lnTo>
                  <a:pt x="6402" y="3736"/>
                </a:lnTo>
                <a:lnTo>
                  <a:pt x="6408" y="3741"/>
                </a:lnTo>
                <a:lnTo>
                  <a:pt x="6412" y="3744"/>
                </a:lnTo>
                <a:lnTo>
                  <a:pt x="6414" y="3745"/>
                </a:lnTo>
                <a:lnTo>
                  <a:pt x="6416" y="3745"/>
                </a:lnTo>
                <a:lnTo>
                  <a:pt x="6419" y="3744"/>
                </a:lnTo>
                <a:lnTo>
                  <a:pt x="6423" y="3742"/>
                </a:lnTo>
                <a:lnTo>
                  <a:pt x="6431" y="3736"/>
                </a:lnTo>
                <a:lnTo>
                  <a:pt x="6439" y="3728"/>
                </a:lnTo>
                <a:lnTo>
                  <a:pt x="6446" y="3720"/>
                </a:lnTo>
                <a:lnTo>
                  <a:pt x="6455" y="3714"/>
                </a:lnTo>
                <a:lnTo>
                  <a:pt x="6462" y="3711"/>
                </a:lnTo>
                <a:lnTo>
                  <a:pt x="6464" y="3710"/>
                </a:lnTo>
                <a:close/>
                <a:moveTo>
                  <a:pt x="6807" y="3774"/>
                </a:moveTo>
                <a:lnTo>
                  <a:pt x="6812" y="3785"/>
                </a:lnTo>
                <a:lnTo>
                  <a:pt x="6817" y="3795"/>
                </a:lnTo>
                <a:lnTo>
                  <a:pt x="6822" y="3802"/>
                </a:lnTo>
                <a:lnTo>
                  <a:pt x="6828" y="3807"/>
                </a:lnTo>
                <a:lnTo>
                  <a:pt x="6837" y="3815"/>
                </a:lnTo>
                <a:lnTo>
                  <a:pt x="6845" y="3820"/>
                </a:lnTo>
                <a:lnTo>
                  <a:pt x="6855" y="3828"/>
                </a:lnTo>
                <a:lnTo>
                  <a:pt x="6868" y="3837"/>
                </a:lnTo>
                <a:lnTo>
                  <a:pt x="6876" y="3840"/>
                </a:lnTo>
                <a:lnTo>
                  <a:pt x="6884" y="3841"/>
                </a:lnTo>
                <a:lnTo>
                  <a:pt x="6888" y="3841"/>
                </a:lnTo>
                <a:lnTo>
                  <a:pt x="6891" y="3841"/>
                </a:lnTo>
                <a:lnTo>
                  <a:pt x="6896" y="3839"/>
                </a:lnTo>
                <a:lnTo>
                  <a:pt x="6899" y="3837"/>
                </a:lnTo>
                <a:lnTo>
                  <a:pt x="6907" y="3831"/>
                </a:lnTo>
                <a:lnTo>
                  <a:pt x="6917" y="3826"/>
                </a:lnTo>
                <a:lnTo>
                  <a:pt x="6926" y="3822"/>
                </a:lnTo>
                <a:lnTo>
                  <a:pt x="6935" y="3819"/>
                </a:lnTo>
                <a:lnTo>
                  <a:pt x="6945" y="3817"/>
                </a:lnTo>
                <a:lnTo>
                  <a:pt x="6953" y="3816"/>
                </a:lnTo>
                <a:lnTo>
                  <a:pt x="6956" y="3817"/>
                </a:lnTo>
                <a:lnTo>
                  <a:pt x="6960" y="3817"/>
                </a:lnTo>
                <a:lnTo>
                  <a:pt x="6962" y="3819"/>
                </a:lnTo>
                <a:lnTo>
                  <a:pt x="6964" y="3820"/>
                </a:lnTo>
                <a:lnTo>
                  <a:pt x="6969" y="3825"/>
                </a:lnTo>
                <a:lnTo>
                  <a:pt x="6976" y="3830"/>
                </a:lnTo>
                <a:lnTo>
                  <a:pt x="6986" y="3837"/>
                </a:lnTo>
                <a:lnTo>
                  <a:pt x="6996" y="3843"/>
                </a:lnTo>
                <a:lnTo>
                  <a:pt x="7018" y="3855"/>
                </a:lnTo>
                <a:lnTo>
                  <a:pt x="7035" y="3864"/>
                </a:lnTo>
                <a:lnTo>
                  <a:pt x="7040" y="3866"/>
                </a:lnTo>
                <a:lnTo>
                  <a:pt x="7048" y="3867"/>
                </a:lnTo>
                <a:lnTo>
                  <a:pt x="7054" y="3868"/>
                </a:lnTo>
                <a:lnTo>
                  <a:pt x="7060" y="3868"/>
                </a:lnTo>
                <a:lnTo>
                  <a:pt x="7065" y="3867"/>
                </a:lnTo>
                <a:lnTo>
                  <a:pt x="7071" y="3866"/>
                </a:lnTo>
                <a:lnTo>
                  <a:pt x="7075" y="3864"/>
                </a:lnTo>
                <a:lnTo>
                  <a:pt x="7077" y="3861"/>
                </a:lnTo>
                <a:lnTo>
                  <a:pt x="7081" y="3850"/>
                </a:lnTo>
                <a:lnTo>
                  <a:pt x="7086" y="3837"/>
                </a:lnTo>
                <a:lnTo>
                  <a:pt x="7087" y="3830"/>
                </a:lnTo>
                <a:lnTo>
                  <a:pt x="7088" y="3826"/>
                </a:lnTo>
                <a:lnTo>
                  <a:pt x="7088" y="3824"/>
                </a:lnTo>
                <a:lnTo>
                  <a:pt x="7087" y="3823"/>
                </a:lnTo>
                <a:lnTo>
                  <a:pt x="7086" y="3823"/>
                </a:lnTo>
                <a:lnTo>
                  <a:pt x="7085" y="3823"/>
                </a:lnTo>
                <a:lnTo>
                  <a:pt x="7077" y="3827"/>
                </a:lnTo>
                <a:lnTo>
                  <a:pt x="7067" y="3830"/>
                </a:lnTo>
                <a:lnTo>
                  <a:pt x="7063" y="3831"/>
                </a:lnTo>
                <a:lnTo>
                  <a:pt x="7058" y="3831"/>
                </a:lnTo>
                <a:lnTo>
                  <a:pt x="7054" y="3830"/>
                </a:lnTo>
                <a:lnTo>
                  <a:pt x="7050" y="3827"/>
                </a:lnTo>
                <a:lnTo>
                  <a:pt x="7041" y="3822"/>
                </a:lnTo>
                <a:lnTo>
                  <a:pt x="7031" y="3816"/>
                </a:lnTo>
                <a:lnTo>
                  <a:pt x="7017" y="3807"/>
                </a:lnTo>
                <a:lnTo>
                  <a:pt x="6998" y="3794"/>
                </a:lnTo>
                <a:lnTo>
                  <a:pt x="6990" y="3785"/>
                </a:lnTo>
                <a:lnTo>
                  <a:pt x="6984" y="3779"/>
                </a:lnTo>
                <a:lnTo>
                  <a:pt x="6979" y="3773"/>
                </a:lnTo>
                <a:lnTo>
                  <a:pt x="6977" y="3766"/>
                </a:lnTo>
                <a:lnTo>
                  <a:pt x="6975" y="3761"/>
                </a:lnTo>
                <a:lnTo>
                  <a:pt x="6973" y="3756"/>
                </a:lnTo>
                <a:lnTo>
                  <a:pt x="6971" y="3751"/>
                </a:lnTo>
                <a:lnTo>
                  <a:pt x="6967" y="3745"/>
                </a:lnTo>
                <a:lnTo>
                  <a:pt x="6955" y="3732"/>
                </a:lnTo>
                <a:lnTo>
                  <a:pt x="6940" y="3718"/>
                </a:lnTo>
                <a:lnTo>
                  <a:pt x="6931" y="3711"/>
                </a:lnTo>
                <a:lnTo>
                  <a:pt x="6923" y="3706"/>
                </a:lnTo>
                <a:lnTo>
                  <a:pt x="6915" y="3701"/>
                </a:lnTo>
                <a:lnTo>
                  <a:pt x="6905" y="3699"/>
                </a:lnTo>
                <a:lnTo>
                  <a:pt x="6887" y="3697"/>
                </a:lnTo>
                <a:lnTo>
                  <a:pt x="6869" y="3695"/>
                </a:lnTo>
                <a:lnTo>
                  <a:pt x="6861" y="3694"/>
                </a:lnTo>
                <a:lnTo>
                  <a:pt x="6853" y="3692"/>
                </a:lnTo>
                <a:lnTo>
                  <a:pt x="6844" y="3689"/>
                </a:lnTo>
                <a:lnTo>
                  <a:pt x="6836" y="3685"/>
                </a:lnTo>
                <a:lnTo>
                  <a:pt x="6818" y="3676"/>
                </a:lnTo>
                <a:lnTo>
                  <a:pt x="6800" y="3669"/>
                </a:lnTo>
                <a:lnTo>
                  <a:pt x="6792" y="3666"/>
                </a:lnTo>
                <a:lnTo>
                  <a:pt x="6785" y="3664"/>
                </a:lnTo>
                <a:lnTo>
                  <a:pt x="6778" y="3663"/>
                </a:lnTo>
                <a:lnTo>
                  <a:pt x="6773" y="3663"/>
                </a:lnTo>
                <a:lnTo>
                  <a:pt x="6769" y="3662"/>
                </a:lnTo>
                <a:lnTo>
                  <a:pt x="6764" y="3658"/>
                </a:lnTo>
                <a:lnTo>
                  <a:pt x="6759" y="3655"/>
                </a:lnTo>
                <a:lnTo>
                  <a:pt x="6755" y="3651"/>
                </a:lnTo>
                <a:lnTo>
                  <a:pt x="6751" y="3648"/>
                </a:lnTo>
                <a:lnTo>
                  <a:pt x="6747" y="3645"/>
                </a:lnTo>
                <a:lnTo>
                  <a:pt x="6746" y="3645"/>
                </a:lnTo>
                <a:lnTo>
                  <a:pt x="6745" y="3645"/>
                </a:lnTo>
                <a:lnTo>
                  <a:pt x="6744" y="3646"/>
                </a:lnTo>
                <a:lnTo>
                  <a:pt x="6744" y="3647"/>
                </a:lnTo>
                <a:lnTo>
                  <a:pt x="6743" y="3651"/>
                </a:lnTo>
                <a:lnTo>
                  <a:pt x="6744" y="3655"/>
                </a:lnTo>
                <a:lnTo>
                  <a:pt x="6745" y="3659"/>
                </a:lnTo>
                <a:lnTo>
                  <a:pt x="6747" y="3664"/>
                </a:lnTo>
                <a:lnTo>
                  <a:pt x="6749" y="3673"/>
                </a:lnTo>
                <a:lnTo>
                  <a:pt x="6750" y="3679"/>
                </a:lnTo>
                <a:lnTo>
                  <a:pt x="6749" y="3681"/>
                </a:lnTo>
                <a:lnTo>
                  <a:pt x="6748" y="3681"/>
                </a:lnTo>
                <a:lnTo>
                  <a:pt x="6747" y="3683"/>
                </a:lnTo>
                <a:lnTo>
                  <a:pt x="6746" y="3683"/>
                </a:lnTo>
                <a:lnTo>
                  <a:pt x="6742" y="3681"/>
                </a:lnTo>
                <a:lnTo>
                  <a:pt x="6737" y="3678"/>
                </a:lnTo>
                <a:lnTo>
                  <a:pt x="6729" y="3673"/>
                </a:lnTo>
                <a:lnTo>
                  <a:pt x="6722" y="3667"/>
                </a:lnTo>
                <a:lnTo>
                  <a:pt x="6714" y="3658"/>
                </a:lnTo>
                <a:lnTo>
                  <a:pt x="6705" y="3648"/>
                </a:lnTo>
                <a:lnTo>
                  <a:pt x="6701" y="3644"/>
                </a:lnTo>
                <a:lnTo>
                  <a:pt x="6696" y="3642"/>
                </a:lnTo>
                <a:lnTo>
                  <a:pt x="6692" y="3641"/>
                </a:lnTo>
                <a:lnTo>
                  <a:pt x="6690" y="3641"/>
                </a:lnTo>
                <a:lnTo>
                  <a:pt x="6688" y="3642"/>
                </a:lnTo>
                <a:lnTo>
                  <a:pt x="6686" y="3643"/>
                </a:lnTo>
                <a:lnTo>
                  <a:pt x="6684" y="3645"/>
                </a:lnTo>
                <a:lnTo>
                  <a:pt x="6681" y="3645"/>
                </a:lnTo>
                <a:lnTo>
                  <a:pt x="6679" y="3646"/>
                </a:lnTo>
                <a:lnTo>
                  <a:pt x="6677" y="3646"/>
                </a:lnTo>
                <a:lnTo>
                  <a:pt x="6671" y="3645"/>
                </a:lnTo>
                <a:lnTo>
                  <a:pt x="6667" y="3644"/>
                </a:lnTo>
                <a:lnTo>
                  <a:pt x="6663" y="3643"/>
                </a:lnTo>
                <a:lnTo>
                  <a:pt x="6661" y="3645"/>
                </a:lnTo>
                <a:lnTo>
                  <a:pt x="6660" y="3649"/>
                </a:lnTo>
                <a:lnTo>
                  <a:pt x="6661" y="3657"/>
                </a:lnTo>
                <a:lnTo>
                  <a:pt x="6664" y="3667"/>
                </a:lnTo>
                <a:lnTo>
                  <a:pt x="6667" y="3676"/>
                </a:lnTo>
                <a:lnTo>
                  <a:pt x="6670" y="3686"/>
                </a:lnTo>
                <a:lnTo>
                  <a:pt x="6674" y="3693"/>
                </a:lnTo>
                <a:lnTo>
                  <a:pt x="6681" y="3707"/>
                </a:lnTo>
                <a:lnTo>
                  <a:pt x="6688" y="3717"/>
                </a:lnTo>
                <a:lnTo>
                  <a:pt x="6692" y="3720"/>
                </a:lnTo>
                <a:lnTo>
                  <a:pt x="6700" y="3722"/>
                </a:lnTo>
                <a:lnTo>
                  <a:pt x="6708" y="3723"/>
                </a:lnTo>
                <a:lnTo>
                  <a:pt x="6718" y="3724"/>
                </a:lnTo>
                <a:lnTo>
                  <a:pt x="6727" y="3725"/>
                </a:lnTo>
                <a:lnTo>
                  <a:pt x="6736" y="3727"/>
                </a:lnTo>
                <a:lnTo>
                  <a:pt x="6744" y="3729"/>
                </a:lnTo>
                <a:lnTo>
                  <a:pt x="6750" y="3731"/>
                </a:lnTo>
                <a:lnTo>
                  <a:pt x="6760" y="3740"/>
                </a:lnTo>
                <a:lnTo>
                  <a:pt x="6774" y="3753"/>
                </a:lnTo>
                <a:lnTo>
                  <a:pt x="6785" y="3762"/>
                </a:lnTo>
                <a:lnTo>
                  <a:pt x="6790" y="3767"/>
                </a:lnTo>
                <a:lnTo>
                  <a:pt x="6807" y="3774"/>
                </a:lnTo>
                <a:close/>
                <a:moveTo>
                  <a:pt x="2785" y="1985"/>
                </a:moveTo>
                <a:lnTo>
                  <a:pt x="2790" y="1966"/>
                </a:lnTo>
                <a:lnTo>
                  <a:pt x="2799" y="1923"/>
                </a:lnTo>
                <a:lnTo>
                  <a:pt x="2805" y="1899"/>
                </a:lnTo>
                <a:lnTo>
                  <a:pt x="2812" y="1876"/>
                </a:lnTo>
                <a:lnTo>
                  <a:pt x="2815" y="1866"/>
                </a:lnTo>
                <a:lnTo>
                  <a:pt x="2818" y="1857"/>
                </a:lnTo>
                <a:lnTo>
                  <a:pt x="2821" y="1850"/>
                </a:lnTo>
                <a:lnTo>
                  <a:pt x="2824" y="1846"/>
                </a:lnTo>
                <a:lnTo>
                  <a:pt x="2839" y="1829"/>
                </a:lnTo>
                <a:lnTo>
                  <a:pt x="2853" y="1812"/>
                </a:lnTo>
                <a:lnTo>
                  <a:pt x="2860" y="1804"/>
                </a:lnTo>
                <a:lnTo>
                  <a:pt x="2865" y="1796"/>
                </a:lnTo>
                <a:lnTo>
                  <a:pt x="2866" y="1791"/>
                </a:lnTo>
                <a:lnTo>
                  <a:pt x="2867" y="1788"/>
                </a:lnTo>
                <a:lnTo>
                  <a:pt x="2868" y="1784"/>
                </a:lnTo>
                <a:lnTo>
                  <a:pt x="2867" y="1780"/>
                </a:lnTo>
                <a:lnTo>
                  <a:pt x="2867" y="1771"/>
                </a:lnTo>
                <a:lnTo>
                  <a:pt x="2867" y="1761"/>
                </a:lnTo>
                <a:lnTo>
                  <a:pt x="2869" y="1750"/>
                </a:lnTo>
                <a:lnTo>
                  <a:pt x="2872" y="1740"/>
                </a:lnTo>
                <a:lnTo>
                  <a:pt x="2876" y="1731"/>
                </a:lnTo>
                <a:lnTo>
                  <a:pt x="2881" y="1722"/>
                </a:lnTo>
                <a:lnTo>
                  <a:pt x="2883" y="1719"/>
                </a:lnTo>
                <a:lnTo>
                  <a:pt x="2885" y="1717"/>
                </a:lnTo>
                <a:lnTo>
                  <a:pt x="2888" y="1715"/>
                </a:lnTo>
                <a:lnTo>
                  <a:pt x="2890" y="1714"/>
                </a:lnTo>
                <a:lnTo>
                  <a:pt x="2895" y="1711"/>
                </a:lnTo>
                <a:lnTo>
                  <a:pt x="2903" y="1704"/>
                </a:lnTo>
                <a:lnTo>
                  <a:pt x="2911" y="1696"/>
                </a:lnTo>
                <a:lnTo>
                  <a:pt x="2919" y="1687"/>
                </a:lnTo>
                <a:lnTo>
                  <a:pt x="2929" y="1679"/>
                </a:lnTo>
                <a:lnTo>
                  <a:pt x="2937" y="1673"/>
                </a:lnTo>
                <a:lnTo>
                  <a:pt x="2940" y="1672"/>
                </a:lnTo>
                <a:lnTo>
                  <a:pt x="2944" y="1672"/>
                </a:lnTo>
                <a:lnTo>
                  <a:pt x="2947" y="1673"/>
                </a:lnTo>
                <a:lnTo>
                  <a:pt x="2950" y="1675"/>
                </a:lnTo>
                <a:lnTo>
                  <a:pt x="2954" y="1680"/>
                </a:lnTo>
                <a:lnTo>
                  <a:pt x="2956" y="1681"/>
                </a:lnTo>
                <a:lnTo>
                  <a:pt x="2959" y="1681"/>
                </a:lnTo>
                <a:lnTo>
                  <a:pt x="2961" y="1678"/>
                </a:lnTo>
                <a:lnTo>
                  <a:pt x="2962" y="1674"/>
                </a:lnTo>
                <a:lnTo>
                  <a:pt x="2966" y="1669"/>
                </a:lnTo>
                <a:lnTo>
                  <a:pt x="2969" y="1665"/>
                </a:lnTo>
                <a:lnTo>
                  <a:pt x="2972" y="1660"/>
                </a:lnTo>
                <a:lnTo>
                  <a:pt x="2979" y="1655"/>
                </a:lnTo>
                <a:lnTo>
                  <a:pt x="2990" y="1645"/>
                </a:lnTo>
                <a:lnTo>
                  <a:pt x="3003" y="1631"/>
                </a:lnTo>
                <a:lnTo>
                  <a:pt x="3017" y="1615"/>
                </a:lnTo>
                <a:lnTo>
                  <a:pt x="3029" y="1600"/>
                </a:lnTo>
                <a:lnTo>
                  <a:pt x="3039" y="1585"/>
                </a:lnTo>
                <a:lnTo>
                  <a:pt x="3042" y="1579"/>
                </a:lnTo>
                <a:lnTo>
                  <a:pt x="3044" y="1572"/>
                </a:lnTo>
                <a:lnTo>
                  <a:pt x="3045" y="1568"/>
                </a:lnTo>
                <a:lnTo>
                  <a:pt x="3044" y="1564"/>
                </a:lnTo>
                <a:lnTo>
                  <a:pt x="3041" y="1558"/>
                </a:lnTo>
                <a:lnTo>
                  <a:pt x="3038" y="1551"/>
                </a:lnTo>
                <a:lnTo>
                  <a:pt x="3037" y="1546"/>
                </a:lnTo>
                <a:lnTo>
                  <a:pt x="3035" y="1541"/>
                </a:lnTo>
                <a:lnTo>
                  <a:pt x="3034" y="1533"/>
                </a:lnTo>
                <a:lnTo>
                  <a:pt x="3034" y="1529"/>
                </a:lnTo>
                <a:lnTo>
                  <a:pt x="3038" y="1535"/>
                </a:lnTo>
                <a:lnTo>
                  <a:pt x="3047" y="1547"/>
                </a:lnTo>
                <a:lnTo>
                  <a:pt x="3054" y="1553"/>
                </a:lnTo>
                <a:lnTo>
                  <a:pt x="3061" y="1558"/>
                </a:lnTo>
                <a:lnTo>
                  <a:pt x="3065" y="1560"/>
                </a:lnTo>
                <a:lnTo>
                  <a:pt x="3068" y="1561"/>
                </a:lnTo>
                <a:lnTo>
                  <a:pt x="3072" y="1561"/>
                </a:lnTo>
                <a:lnTo>
                  <a:pt x="3077" y="1560"/>
                </a:lnTo>
                <a:lnTo>
                  <a:pt x="3091" y="1553"/>
                </a:lnTo>
                <a:lnTo>
                  <a:pt x="3114" y="1540"/>
                </a:lnTo>
                <a:lnTo>
                  <a:pt x="3143" y="1521"/>
                </a:lnTo>
                <a:lnTo>
                  <a:pt x="3174" y="1500"/>
                </a:lnTo>
                <a:lnTo>
                  <a:pt x="3203" y="1480"/>
                </a:lnTo>
                <a:lnTo>
                  <a:pt x="3230" y="1462"/>
                </a:lnTo>
                <a:lnTo>
                  <a:pt x="3247" y="1450"/>
                </a:lnTo>
                <a:lnTo>
                  <a:pt x="3254" y="1446"/>
                </a:lnTo>
                <a:lnTo>
                  <a:pt x="3245" y="1440"/>
                </a:lnTo>
                <a:lnTo>
                  <a:pt x="3225" y="1432"/>
                </a:lnTo>
                <a:lnTo>
                  <a:pt x="3214" y="1428"/>
                </a:lnTo>
                <a:lnTo>
                  <a:pt x="3201" y="1425"/>
                </a:lnTo>
                <a:lnTo>
                  <a:pt x="3196" y="1425"/>
                </a:lnTo>
                <a:lnTo>
                  <a:pt x="3190" y="1425"/>
                </a:lnTo>
                <a:lnTo>
                  <a:pt x="3185" y="1425"/>
                </a:lnTo>
                <a:lnTo>
                  <a:pt x="3179" y="1427"/>
                </a:lnTo>
                <a:lnTo>
                  <a:pt x="3175" y="1428"/>
                </a:lnTo>
                <a:lnTo>
                  <a:pt x="3171" y="1429"/>
                </a:lnTo>
                <a:lnTo>
                  <a:pt x="3168" y="1429"/>
                </a:lnTo>
                <a:lnTo>
                  <a:pt x="3165" y="1429"/>
                </a:lnTo>
                <a:lnTo>
                  <a:pt x="3161" y="1428"/>
                </a:lnTo>
                <a:lnTo>
                  <a:pt x="3159" y="1426"/>
                </a:lnTo>
                <a:lnTo>
                  <a:pt x="3157" y="1425"/>
                </a:lnTo>
                <a:lnTo>
                  <a:pt x="3155" y="1423"/>
                </a:lnTo>
                <a:lnTo>
                  <a:pt x="3153" y="1417"/>
                </a:lnTo>
                <a:lnTo>
                  <a:pt x="3153" y="1412"/>
                </a:lnTo>
                <a:lnTo>
                  <a:pt x="3154" y="1408"/>
                </a:lnTo>
                <a:lnTo>
                  <a:pt x="3157" y="1404"/>
                </a:lnTo>
                <a:lnTo>
                  <a:pt x="3168" y="1397"/>
                </a:lnTo>
                <a:lnTo>
                  <a:pt x="3181" y="1392"/>
                </a:lnTo>
                <a:lnTo>
                  <a:pt x="3187" y="1389"/>
                </a:lnTo>
                <a:lnTo>
                  <a:pt x="3191" y="1386"/>
                </a:lnTo>
                <a:lnTo>
                  <a:pt x="3192" y="1384"/>
                </a:lnTo>
                <a:lnTo>
                  <a:pt x="3192" y="1383"/>
                </a:lnTo>
                <a:lnTo>
                  <a:pt x="3192" y="1381"/>
                </a:lnTo>
                <a:lnTo>
                  <a:pt x="3190" y="1380"/>
                </a:lnTo>
                <a:lnTo>
                  <a:pt x="3187" y="1375"/>
                </a:lnTo>
                <a:lnTo>
                  <a:pt x="3183" y="1371"/>
                </a:lnTo>
                <a:lnTo>
                  <a:pt x="3182" y="1366"/>
                </a:lnTo>
                <a:lnTo>
                  <a:pt x="3181" y="1361"/>
                </a:lnTo>
                <a:lnTo>
                  <a:pt x="3182" y="1357"/>
                </a:lnTo>
                <a:lnTo>
                  <a:pt x="3185" y="1353"/>
                </a:lnTo>
                <a:lnTo>
                  <a:pt x="3186" y="1352"/>
                </a:lnTo>
                <a:lnTo>
                  <a:pt x="3188" y="1351"/>
                </a:lnTo>
                <a:lnTo>
                  <a:pt x="3190" y="1352"/>
                </a:lnTo>
                <a:lnTo>
                  <a:pt x="3192" y="1352"/>
                </a:lnTo>
                <a:lnTo>
                  <a:pt x="3197" y="1357"/>
                </a:lnTo>
                <a:lnTo>
                  <a:pt x="3202" y="1363"/>
                </a:lnTo>
                <a:lnTo>
                  <a:pt x="3208" y="1371"/>
                </a:lnTo>
                <a:lnTo>
                  <a:pt x="3212" y="1380"/>
                </a:lnTo>
                <a:lnTo>
                  <a:pt x="3218" y="1395"/>
                </a:lnTo>
                <a:lnTo>
                  <a:pt x="3221" y="1402"/>
                </a:lnTo>
                <a:lnTo>
                  <a:pt x="3223" y="1407"/>
                </a:lnTo>
                <a:lnTo>
                  <a:pt x="3230" y="1416"/>
                </a:lnTo>
                <a:lnTo>
                  <a:pt x="3234" y="1421"/>
                </a:lnTo>
                <a:lnTo>
                  <a:pt x="3239" y="1425"/>
                </a:lnTo>
                <a:lnTo>
                  <a:pt x="3241" y="1426"/>
                </a:lnTo>
                <a:lnTo>
                  <a:pt x="3244" y="1426"/>
                </a:lnTo>
                <a:lnTo>
                  <a:pt x="3246" y="1426"/>
                </a:lnTo>
                <a:lnTo>
                  <a:pt x="3249" y="1425"/>
                </a:lnTo>
                <a:lnTo>
                  <a:pt x="3256" y="1420"/>
                </a:lnTo>
                <a:lnTo>
                  <a:pt x="3262" y="1414"/>
                </a:lnTo>
                <a:lnTo>
                  <a:pt x="3269" y="1408"/>
                </a:lnTo>
                <a:lnTo>
                  <a:pt x="3277" y="1399"/>
                </a:lnTo>
                <a:lnTo>
                  <a:pt x="3282" y="1391"/>
                </a:lnTo>
                <a:lnTo>
                  <a:pt x="3285" y="1383"/>
                </a:lnTo>
                <a:lnTo>
                  <a:pt x="3286" y="1379"/>
                </a:lnTo>
                <a:lnTo>
                  <a:pt x="3286" y="1374"/>
                </a:lnTo>
                <a:lnTo>
                  <a:pt x="3286" y="1370"/>
                </a:lnTo>
                <a:lnTo>
                  <a:pt x="3284" y="1367"/>
                </a:lnTo>
                <a:lnTo>
                  <a:pt x="3275" y="1350"/>
                </a:lnTo>
                <a:lnTo>
                  <a:pt x="3261" y="1329"/>
                </a:lnTo>
                <a:lnTo>
                  <a:pt x="3246" y="1309"/>
                </a:lnTo>
                <a:lnTo>
                  <a:pt x="3235" y="1295"/>
                </a:lnTo>
                <a:lnTo>
                  <a:pt x="3222" y="1282"/>
                </a:lnTo>
                <a:lnTo>
                  <a:pt x="3204" y="1266"/>
                </a:lnTo>
                <a:lnTo>
                  <a:pt x="3190" y="1253"/>
                </a:lnTo>
                <a:lnTo>
                  <a:pt x="3183" y="1248"/>
                </a:lnTo>
                <a:lnTo>
                  <a:pt x="3191" y="1247"/>
                </a:lnTo>
                <a:lnTo>
                  <a:pt x="3207" y="1243"/>
                </a:lnTo>
                <a:lnTo>
                  <a:pt x="3215" y="1242"/>
                </a:lnTo>
                <a:lnTo>
                  <a:pt x="3223" y="1242"/>
                </a:lnTo>
                <a:lnTo>
                  <a:pt x="3226" y="1242"/>
                </a:lnTo>
                <a:lnTo>
                  <a:pt x="3230" y="1243"/>
                </a:lnTo>
                <a:lnTo>
                  <a:pt x="3232" y="1244"/>
                </a:lnTo>
                <a:lnTo>
                  <a:pt x="3233" y="1245"/>
                </a:lnTo>
                <a:lnTo>
                  <a:pt x="3234" y="1248"/>
                </a:lnTo>
                <a:lnTo>
                  <a:pt x="3236" y="1248"/>
                </a:lnTo>
                <a:lnTo>
                  <a:pt x="3237" y="1248"/>
                </a:lnTo>
                <a:lnTo>
                  <a:pt x="3238" y="1248"/>
                </a:lnTo>
                <a:lnTo>
                  <a:pt x="3240" y="1244"/>
                </a:lnTo>
                <a:lnTo>
                  <a:pt x="3241" y="1240"/>
                </a:lnTo>
                <a:lnTo>
                  <a:pt x="3244" y="1232"/>
                </a:lnTo>
                <a:lnTo>
                  <a:pt x="3245" y="1228"/>
                </a:lnTo>
                <a:lnTo>
                  <a:pt x="3246" y="1221"/>
                </a:lnTo>
                <a:lnTo>
                  <a:pt x="3247" y="1211"/>
                </a:lnTo>
                <a:lnTo>
                  <a:pt x="3249" y="1206"/>
                </a:lnTo>
                <a:lnTo>
                  <a:pt x="3252" y="1203"/>
                </a:lnTo>
                <a:lnTo>
                  <a:pt x="3253" y="1201"/>
                </a:lnTo>
                <a:lnTo>
                  <a:pt x="3255" y="1201"/>
                </a:lnTo>
                <a:lnTo>
                  <a:pt x="3256" y="1203"/>
                </a:lnTo>
                <a:lnTo>
                  <a:pt x="3258" y="1205"/>
                </a:lnTo>
                <a:lnTo>
                  <a:pt x="3260" y="1207"/>
                </a:lnTo>
                <a:lnTo>
                  <a:pt x="3262" y="1209"/>
                </a:lnTo>
                <a:lnTo>
                  <a:pt x="3265" y="1210"/>
                </a:lnTo>
                <a:lnTo>
                  <a:pt x="3268" y="1211"/>
                </a:lnTo>
                <a:lnTo>
                  <a:pt x="3276" y="1212"/>
                </a:lnTo>
                <a:lnTo>
                  <a:pt x="3283" y="1211"/>
                </a:lnTo>
                <a:lnTo>
                  <a:pt x="3296" y="1209"/>
                </a:lnTo>
                <a:lnTo>
                  <a:pt x="3301" y="1207"/>
                </a:lnTo>
                <a:lnTo>
                  <a:pt x="3300" y="1201"/>
                </a:lnTo>
                <a:lnTo>
                  <a:pt x="3298" y="1191"/>
                </a:lnTo>
                <a:lnTo>
                  <a:pt x="3295" y="1180"/>
                </a:lnTo>
                <a:lnTo>
                  <a:pt x="3292" y="1174"/>
                </a:lnTo>
                <a:lnTo>
                  <a:pt x="3284" y="1170"/>
                </a:lnTo>
                <a:lnTo>
                  <a:pt x="3270" y="1161"/>
                </a:lnTo>
                <a:lnTo>
                  <a:pt x="3265" y="1155"/>
                </a:lnTo>
                <a:lnTo>
                  <a:pt x="3261" y="1150"/>
                </a:lnTo>
                <a:lnTo>
                  <a:pt x="3260" y="1147"/>
                </a:lnTo>
                <a:lnTo>
                  <a:pt x="3260" y="1145"/>
                </a:lnTo>
                <a:lnTo>
                  <a:pt x="3261" y="1143"/>
                </a:lnTo>
                <a:lnTo>
                  <a:pt x="3263" y="1141"/>
                </a:lnTo>
                <a:lnTo>
                  <a:pt x="3277" y="1133"/>
                </a:lnTo>
                <a:lnTo>
                  <a:pt x="3295" y="1126"/>
                </a:lnTo>
                <a:lnTo>
                  <a:pt x="3311" y="1120"/>
                </a:lnTo>
                <a:lnTo>
                  <a:pt x="3320" y="1119"/>
                </a:lnTo>
                <a:lnTo>
                  <a:pt x="3321" y="1118"/>
                </a:lnTo>
                <a:lnTo>
                  <a:pt x="3320" y="1114"/>
                </a:lnTo>
                <a:lnTo>
                  <a:pt x="3318" y="1110"/>
                </a:lnTo>
                <a:lnTo>
                  <a:pt x="3314" y="1104"/>
                </a:lnTo>
                <a:lnTo>
                  <a:pt x="3306" y="1091"/>
                </a:lnTo>
                <a:lnTo>
                  <a:pt x="3296" y="1080"/>
                </a:lnTo>
                <a:lnTo>
                  <a:pt x="3290" y="1075"/>
                </a:lnTo>
                <a:lnTo>
                  <a:pt x="3284" y="1066"/>
                </a:lnTo>
                <a:lnTo>
                  <a:pt x="3279" y="1058"/>
                </a:lnTo>
                <a:lnTo>
                  <a:pt x="3274" y="1048"/>
                </a:lnTo>
                <a:lnTo>
                  <a:pt x="3270" y="1040"/>
                </a:lnTo>
                <a:lnTo>
                  <a:pt x="3268" y="1034"/>
                </a:lnTo>
                <a:lnTo>
                  <a:pt x="3267" y="1032"/>
                </a:lnTo>
                <a:lnTo>
                  <a:pt x="3267" y="1031"/>
                </a:lnTo>
                <a:lnTo>
                  <a:pt x="3268" y="1030"/>
                </a:lnTo>
                <a:lnTo>
                  <a:pt x="3269" y="1031"/>
                </a:lnTo>
                <a:lnTo>
                  <a:pt x="3281" y="1038"/>
                </a:lnTo>
                <a:lnTo>
                  <a:pt x="3299" y="1048"/>
                </a:lnTo>
                <a:lnTo>
                  <a:pt x="3307" y="1053"/>
                </a:lnTo>
                <a:lnTo>
                  <a:pt x="3315" y="1056"/>
                </a:lnTo>
                <a:lnTo>
                  <a:pt x="3318" y="1056"/>
                </a:lnTo>
                <a:lnTo>
                  <a:pt x="3321" y="1056"/>
                </a:lnTo>
                <a:lnTo>
                  <a:pt x="3322" y="1055"/>
                </a:lnTo>
                <a:lnTo>
                  <a:pt x="3323" y="1054"/>
                </a:lnTo>
                <a:lnTo>
                  <a:pt x="3321" y="1046"/>
                </a:lnTo>
                <a:lnTo>
                  <a:pt x="3317" y="1035"/>
                </a:lnTo>
                <a:lnTo>
                  <a:pt x="3310" y="1022"/>
                </a:lnTo>
                <a:lnTo>
                  <a:pt x="3303" y="1008"/>
                </a:lnTo>
                <a:lnTo>
                  <a:pt x="3295" y="994"/>
                </a:lnTo>
                <a:lnTo>
                  <a:pt x="3288" y="982"/>
                </a:lnTo>
                <a:lnTo>
                  <a:pt x="3282" y="974"/>
                </a:lnTo>
                <a:lnTo>
                  <a:pt x="3279" y="970"/>
                </a:lnTo>
                <a:lnTo>
                  <a:pt x="3271" y="968"/>
                </a:lnTo>
                <a:lnTo>
                  <a:pt x="3262" y="964"/>
                </a:lnTo>
                <a:lnTo>
                  <a:pt x="3258" y="959"/>
                </a:lnTo>
                <a:lnTo>
                  <a:pt x="3256" y="955"/>
                </a:lnTo>
                <a:lnTo>
                  <a:pt x="3256" y="952"/>
                </a:lnTo>
                <a:lnTo>
                  <a:pt x="3256" y="949"/>
                </a:lnTo>
                <a:lnTo>
                  <a:pt x="3257" y="946"/>
                </a:lnTo>
                <a:lnTo>
                  <a:pt x="3258" y="942"/>
                </a:lnTo>
                <a:lnTo>
                  <a:pt x="3263" y="933"/>
                </a:lnTo>
                <a:lnTo>
                  <a:pt x="3269" y="925"/>
                </a:lnTo>
                <a:lnTo>
                  <a:pt x="3276" y="918"/>
                </a:lnTo>
                <a:lnTo>
                  <a:pt x="3282" y="910"/>
                </a:lnTo>
                <a:lnTo>
                  <a:pt x="3289" y="905"/>
                </a:lnTo>
                <a:lnTo>
                  <a:pt x="3296" y="902"/>
                </a:lnTo>
                <a:lnTo>
                  <a:pt x="3299" y="902"/>
                </a:lnTo>
                <a:lnTo>
                  <a:pt x="3302" y="902"/>
                </a:lnTo>
                <a:lnTo>
                  <a:pt x="3304" y="903"/>
                </a:lnTo>
                <a:lnTo>
                  <a:pt x="3306" y="905"/>
                </a:lnTo>
                <a:lnTo>
                  <a:pt x="3317" y="915"/>
                </a:lnTo>
                <a:lnTo>
                  <a:pt x="3328" y="927"/>
                </a:lnTo>
                <a:lnTo>
                  <a:pt x="3332" y="932"/>
                </a:lnTo>
                <a:lnTo>
                  <a:pt x="3336" y="935"/>
                </a:lnTo>
                <a:lnTo>
                  <a:pt x="3339" y="936"/>
                </a:lnTo>
                <a:lnTo>
                  <a:pt x="3340" y="937"/>
                </a:lnTo>
                <a:lnTo>
                  <a:pt x="3341" y="937"/>
                </a:lnTo>
                <a:lnTo>
                  <a:pt x="3342" y="936"/>
                </a:lnTo>
                <a:lnTo>
                  <a:pt x="3343" y="922"/>
                </a:lnTo>
                <a:lnTo>
                  <a:pt x="3343" y="896"/>
                </a:lnTo>
                <a:lnTo>
                  <a:pt x="3344" y="870"/>
                </a:lnTo>
                <a:lnTo>
                  <a:pt x="3344" y="860"/>
                </a:lnTo>
                <a:lnTo>
                  <a:pt x="3335" y="861"/>
                </a:lnTo>
                <a:lnTo>
                  <a:pt x="3325" y="864"/>
                </a:lnTo>
                <a:lnTo>
                  <a:pt x="3318" y="865"/>
                </a:lnTo>
                <a:lnTo>
                  <a:pt x="3306" y="864"/>
                </a:lnTo>
                <a:lnTo>
                  <a:pt x="3301" y="863"/>
                </a:lnTo>
                <a:lnTo>
                  <a:pt x="3297" y="861"/>
                </a:lnTo>
                <a:lnTo>
                  <a:pt x="3296" y="860"/>
                </a:lnTo>
                <a:lnTo>
                  <a:pt x="3295" y="859"/>
                </a:lnTo>
                <a:lnTo>
                  <a:pt x="3295" y="857"/>
                </a:lnTo>
                <a:lnTo>
                  <a:pt x="3295" y="856"/>
                </a:lnTo>
                <a:lnTo>
                  <a:pt x="3301" y="845"/>
                </a:lnTo>
                <a:lnTo>
                  <a:pt x="3308" y="834"/>
                </a:lnTo>
                <a:lnTo>
                  <a:pt x="3314" y="823"/>
                </a:lnTo>
                <a:lnTo>
                  <a:pt x="3317" y="818"/>
                </a:lnTo>
                <a:lnTo>
                  <a:pt x="3312" y="818"/>
                </a:lnTo>
                <a:lnTo>
                  <a:pt x="3304" y="820"/>
                </a:lnTo>
                <a:lnTo>
                  <a:pt x="3295" y="824"/>
                </a:lnTo>
                <a:lnTo>
                  <a:pt x="3287" y="827"/>
                </a:lnTo>
                <a:lnTo>
                  <a:pt x="3281" y="830"/>
                </a:lnTo>
                <a:lnTo>
                  <a:pt x="3274" y="830"/>
                </a:lnTo>
                <a:lnTo>
                  <a:pt x="3270" y="828"/>
                </a:lnTo>
                <a:lnTo>
                  <a:pt x="3268" y="825"/>
                </a:lnTo>
                <a:lnTo>
                  <a:pt x="3266" y="822"/>
                </a:lnTo>
                <a:lnTo>
                  <a:pt x="3266" y="817"/>
                </a:lnTo>
                <a:lnTo>
                  <a:pt x="3267" y="806"/>
                </a:lnTo>
                <a:lnTo>
                  <a:pt x="3267" y="797"/>
                </a:lnTo>
                <a:lnTo>
                  <a:pt x="3268" y="793"/>
                </a:lnTo>
                <a:lnTo>
                  <a:pt x="3270" y="790"/>
                </a:lnTo>
                <a:lnTo>
                  <a:pt x="3273" y="787"/>
                </a:lnTo>
                <a:lnTo>
                  <a:pt x="3276" y="783"/>
                </a:lnTo>
                <a:lnTo>
                  <a:pt x="3283" y="779"/>
                </a:lnTo>
                <a:lnTo>
                  <a:pt x="3290" y="775"/>
                </a:lnTo>
                <a:lnTo>
                  <a:pt x="3292" y="772"/>
                </a:lnTo>
                <a:lnTo>
                  <a:pt x="3293" y="768"/>
                </a:lnTo>
                <a:lnTo>
                  <a:pt x="3293" y="761"/>
                </a:lnTo>
                <a:lnTo>
                  <a:pt x="3290" y="754"/>
                </a:lnTo>
                <a:lnTo>
                  <a:pt x="3284" y="737"/>
                </a:lnTo>
                <a:lnTo>
                  <a:pt x="3280" y="726"/>
                </a:lnTo>
                <a:lnTo>
                  <a:pt x="3279" y="721"/>
                </a:lnTo>
                <a:lnTo>
                  <a:pt x="3278" y="715"/>
                </a:lnTo>
                <a:lnTo>
                  <a:pt x="3279" y="712"/>
                </a:lnTo>
                <a:lnTo>
                  <a:pt x="3281" y="708"/>
                </a:lnTo>
                <a:lnTo>
                  <a:pt x="3291" y="700"/>
                </a:lnTo>
                <a:lnTo>
                  <a:pt x="3306" y="688"/>
                </a:lnTo>
                <a:lnTo>
                  <a:pt x="3314" y="683"/>
                </a:lnTo>
                <a:lnTo>
                  <a:pt x="3321" y="678"/>
                </a:lnTo>
                <a:lnTo>
                  <a:pt x="3325" y="673"/>
                </a:lnTo>
                <a:lnTo>
                  <a:pt x="3327" y="670"/>
                </a:lnTo>
                <a:lnTo>
                  <a:pt x="3325" y="659"/>
                </a:lnTo>
                <a:lnTo>
                  <a:pt x="3323" y="640"/>
                </a:lnTo>
                <a:lnTo>
                  <a:pt x="3320" y="621"/>
                </a:lnTo>
                <a:lnTo>
                  <a:pt x="3319" y="614"/>
                </a:lnTo>
                <a:lnTo>
                  <a:pt x="3324" y="607"/>
                </a:lnTo>
                <a:lnTo>
                  <a:pt x="3336" y="595"/>
                </a:lnTo>
                <a:lnTo>
                  <a:pt x="3348" y="581"/>
                </a:lnTo>
                <a:lnTo>
                  <a:pt x="3354" y="572"/>
                </a:lnTo>
                <a:lnTo>
                  <a:pt x="3353" y="571"/>
                </a:lnTo>
                <a:lnTo>
                  <a:pt x="3351" y="569"/>
                </a:lnTo>
                <a:lnTo>
                  <a:pt x="3348" y="568"/>
                </a:lnTo>
                <a:lnTo>
                  <a:pt x="3344" y="567"/>
                </a:lnTo>
                <a:lnTo>
                  <a:pt x="3337" y="564"/>
                </a:lnTo>
                <a:lnTo>
                  <a:pt x="3334" y="564"/>
                </a:lnTo>
                <a:lnTo>
                  <a:pt x="3334" y="568"/>
                </a:lnTo>
                <a:lnTo>
                  <a:pt x="3334" y="574"/>
                </a:lnTo>
                <a:lnTo>
                  <a:pt x="3333" y="578"/>
                </a:lnTo>
                <a:lnTo>
                  <a:pt x="3331" y="581"/>
                </a:lnTo>
                <a:lnTo>
                  <a:pt x="3327" y="583"/>
                </a:lnTo>
                <a:lnTo>
                  <a:pt x="3321" y="583"/>
                </a:lnTo>
                <a:lnTo>
                  <a:pt x="3309" y="583"/>
                </a:lnTo>
                <a:lnTo>
                  <a:pt x="3303" y="583"/>
                </a:lnTo>
                <a:lnTo>
                  <a:pt x="3302" y="582"/>
                </a:lnTo>
                <a:lnTo>
                  <a:pt x="3302" y="579"/>
                </a:lnTo>
                <a:lnTo>
                  <a:pt x="3302" y="575"/>
                </a:lnTo>
                <a:lnTo>
                  <a:pt x="3304" y="569"/>
                </a:lnTo>
                <a:lnTo>
                  <a:pt x="3307" y="556"/>
                </a:lnTo>
                <a:lnTo>
                  <a:pt x="3311" y="547"/>
                </a:lnTo>
                <a:lnTo>
                  <a:pt x="3315" y="539"/>
                </a:lnTo>
                <a:lnTo>
                  <a:pt x="3323" y="530"/>
                </a:lnTo>
                <a:lnTo>
                  <a:pt x="3325" y="529"/>
                </a:lnTo>
                <a:lnTo>
                  <a:pt x="3328" y="528"/>
                </a:lnTo>
                <a:lnTo>
                  <a:pt x="3330" y="529"/>
                </a:lnTo>
                <a:lnTo>
                  <a:pt x="3332" y="530"/>
                </a:lnTo>
                <a:lnTo>
                  <a:pt x="3339" y="535"/>
                </a:lnTo>
                <a:lnTo>
                  <a:pt x="3345" y="542"/>
                </a:lnTo>
                <a:lnTo>
                  <a:pt x="3348" y="546"/>
                </a:lnTo>
                <a:lnTo>
                  <a:pt x="3351" y="548"/>
                </a:lnTo>
                <a:lnTo>
                  <a:pt x="3354" y="550"/>
                </a:lnTo>
                <a:lnTo>
                  <a:pt x="3357" y="551"/>
                </a:lnTo>
                <a:lnTo>
                  <a:pt x="3362" y="551"/>
                </a:lnTo>
                <a:lnTo>
                  <a:pt x="3365" y="550"/>
                </a:lnTo>
                <a:lnTo>
                  <a:pt x="3369" y="547"/>
                </a:lnTo>
                <a:lnTo>
                  <a:pt x="3372" y="542"/>
                </a:lnTo>
                <a:lnTo>
                  <a:pt x="3385" y="525"/>
                </a:lnTo>
                <a:lnTo>
                  <a:pt x="3393" y="514"/>
                </a:lnTo>
                <a:lnTo>
                  <a:pt x="3395" y="511"/>
                </a:lnTo>
                <a:lnTo>
                  <a:pt x="3396" y="508"/>
                </a:lnTo>
                <a:lnTo>
                  <a:pt x="3395" y="505"/>
                </a:lnTo>
                <a:lnTo>
                  <a:pt x="3393" y="502"/>
                </a:lnTo>
                <a:lnTo>
                  <a:pt x="3388" y="494"/>
                </a:lnTo>
                <a:lnTo>
                  <a:pt x="3383" y="489"/>
                </a:lnTo>
                <a:lnTo>
                  <a:pt x="3378" y="487"/>
                </a:lnTo>
                <a:lnTo>
                  <a:pt x="3373" y="486"/>
                </a:lnTo>
                <a:lnTo>
                  <a:pt x="3366" y="486"/>
                </a:lnTo>
                <a:lnTo>
                  <a:pt x="3355" y="487"/>
                </a:lnTo>
                <a:lnTo>
                  <a:pt x="3346" y="488"/>
                </a:lnTo>
                <a:lnTo>
                  <a:pt x="3337" y="487"/>
                </a:lnTo>
                <a:lnTo>
                  <a:pt x="3331" y="485"/>
                </a:lnTo>
                <a:lnTo>
                  <a:pt x="3326" y="482"/>
                </a:lnTo>
                <a:lnTo>
                  <a:pt x="3322" y="481"/>
                </a:lnTo>
                <a:lnTo>
                  <a:pt x="3318" y="480"/>
                </a:lnTo>
                <a:lnTo>
                  <a:pt x="3315" y="481"/>
                </a:lnTo>
                <a:lnTo>
                  <a:pt x="3312" y="482"/>
                </a:lnTo>
                <a:lnTo>
                  <a:pt x="3310" y="484"/>
                </a:lnTo>
                <a:lnTo>
                  <a:pt x="3307" y="487"/>
                </a:lnTo>
                <a:lnTo>
                  <a:pt x="3302" y="493"/>
                </a:lnTo>
                <a:lnTo>
                  <a:pt x="3297" y="497"/>
                </a:lnTo>
                <a:lnTo>
                  <a:pt x="3291" y="499"/>
                </a:lnTo>
                <a:lnTo>
                  <a:pt x="3288" y="502"/>
                </a:lnTo>
                <a:lnTo>
                  <a:pt x="3285" y="501"/>
                </a:lnTo>
                <a:lnTo>
                  <a:pt x="3283" y="499"/>
                </a:lnTo>
                <a:lnTo>
                  <a:pt x="3283" y="497"/>
                </a:lnTo>
                <a:lnTo>
                  <a:pt x="3284" y="494"/>
                </a:lnTo>
                <a:lnTo>
                  <a:pt x="3289" y="486"/>
                </a:lnTo>
                <a:lnTo>
                  <a:pt x="3297" y="477"/>
                </a:lnTo>
                <a:lnTo>
                  <a:pt x="3301" y="474"/>
                </a:lnTo>
                <a:lnTo>
                  <a:pt x="3305" y="471"/>
                </a:lnTo>
                <a:lnTo>
                  <a:pt x="3308" y="470"/>
                </a:lnTo>
                <a:lnTo>
                  <a:pt x="3311" y="470"/>
                </a:lnTo>
                <a:lnTo>
                  <a:pt x="3320" y="473"/>
                </a:lnTo>
                <a:lnTo>
                  <a:pt x="3330" y="477"/>
                </a:lnTo>
                <a:lnTo>
                  <a:pt x="3335" y="479"/>
                </a:lnTo>
                <a:lnTo>
                  <a:pt x="3342" y="479"/>
                </a:lnTo>
                <a:lnTo>
                  <a:pt x="3345" y="477"/>
                </a:lnTo>
                <a:lnTo>
                  <a:pt x="3348" y="475"/>
                </a:lnTo>
                <a:lnTo>
                  <a:pt x="3351" y="473"/>
                </a:lnTo>
                <a:lnTo>
                  <a:pt x="3354" y="471"/>
                </a:lnTo>
                <a:lnTo>
                  <a:pt x="3357" y="468"/>
                </a:lnTo>
                <a:lnTo>
                  <a:pt x="3361" y="466"/>
                </a:lnTo>
                <a:lnTo>
                  <a:pt x="3364" y="464"/>
                </a:lnTo>
                <a:lnTo>
                  <a:pt x="3367" y="463"/>
                </a:lnTo>
                <a:lnTo>
                  <a:pt x="3374" y="461"/>
                </a:lnTo>
                <a:lnTo>
                  <a:pt x="3380" y="461"/>
                </a:lnTo>
                <a:lnTo>
                  <a:pt x="3392" y="463"/>
                </a:lnTo>
                <a:lnTo>
                  <a:pt x="3396" y="465"/>
                </a:lnTo>
                <a:lnTo>
                  <a:pt x="3397" y="465"/>
                </a:lnTo>
                <a:lnTo>
                  <a:pt x="3402" y="462"/>
                </a:lnTo>
                <a:lnTo>
                  <a:pt x="3407" y="460"/>
                </a:lnTo>
                <a:lnTo>
                  <a:pt x="3412" y="454"/>
                </a:lnTo>
                <a:lnTo>
                  <a:pt x="3417" y="447"/>
                </a:lnTo>
                <a:lnTo>
                  <a:pt x="3423" y="437"/>
                </a:lnTo>
                <a:lnTo>
                  <a:pt x="3432" y="425"/>
                </a:lnTo>
                <a:lnTo>
                  <a:pt x="3441" y="414"/>
                </a:lnTo>
                <a:lnTo>
                  <a:pt x="3452" y="402"/>
                </a:lnTo>
                <a:lnTo>
                  <a:pt x="3462" y="392"/>
                </a:lnTo>
                <a:lnTo>
                  <a:pt x="3472" y="382"/>
                </a:lnTo>
                <a:lnTo>
                  <a:pt x="3479" y="373"/>
                </a:lnTo>
                <a:lnTo>
                  <a:pt x="3481" y="368"/>
                </a:lnTo>
                <a:lnTo>
                  <a:pt x="3482" y="365"/>
                </a:lnTo>
                <a:lnTo>
                  <a:pt x="3483" y="362"/>
                </a:lnTo>
                <a:lnTo>
                  <a:pt x="3482" y="359"/>
                </a:lnTo>
                <a:lnTo>
                  <a:pt x="3477" y="351"/>
                </a:lnTo>
                <a:lnTo>
                  <a:pt x="3470" y="338"/>
                </a:lnTo>
                <a:lnTo>
                  <a:pt x="3459" y="323"/>
                </a:lnTo>
                <a:lnTo>
                  <a:pt x="3446" y="309"/>
                </a:lnTo>
                <a:lnTo>
                  <a:pt x="3439" y="301"/>
                </a:lnTo>
                <a:lnTo>
                  <a:pt x="3432" y="296"/>
                </a:lnTo>
                <a:lnTo>
                  <a:pt x="3424" y="290"/>
                </a:lnTo>
                <a:lnTo>
                  <a:pt x="3417" y="287"/>
                </a:lnTo>
                <a:lnTo>
                  <a:pt x="3410" y="284"/>
                </a:lnTo>
                <a:lnTo>
                  <a:pt x="3402" y="283"/>
                </a:lnTo>
                <a:lnTo>
                  <a:pt x="3399" y="284"/>
                </a:lnTo>
                <a:lnTo>
                  <a:pt x="3395" y="284"/>
                </a:lnTo>
                <a:lnTo>
                  <a:pt x="3392" y="286"/>
                </a:lnTo>
                <a:lnTo>
                  <a:pt x="3389" y="287"/>
                </a:lnTo>
                <a:lnTo>
                  <a:pt x="3383" y="292"/>
                </a:lnTo>
                <a:lnTo>
                  <a:pt x="3377" y="297"/>
                </a:lnTo>
                <a:lnTo>
                  <a:pt x="3373" y="302"/>
                </a:lnTo>
                <a:lnTo>
                  <a:pt x="3370" y="309"/>
                </a:lnTo>
                <a:lnTo>
                  <a:pt x="3365" y="320"/>
                </a:lnTo>
                <a:lnTo>
                  <a:pt x="3362" y="331"/>
                </a:lnTo>
                <a:lnTo>
                  <a:pt x="3359" y="339"/>
                </a:lnTo>
                <a:lnTo>
                  <a:pt x="3357" y="344"/>
                </a:lnTo>
                <a:lnTo>
                  <a:pt x="3355" y="345"/>
                </a:lnTo>
                <a:lnTo>
                  <a:pt x="3354" y="345"/>
                </a:lnTo>
                <a:lnTo>
                  <a:pt x="3351" y="344"/>
                </a:lnTo>
                <a:lnTo>
                  <a:pt x="3349" y="341"/>
                </a:lnTo>
                <a:lnTo>
                  <a:pt x="3339" y="331"/>
                </a:lnTo>
                <a:lnTo>
                  <a:pt x="3331" y="327"/>
                </a:lnTo>
                <a:lnTo>
                  <a:pt x="3330" y="326"/>
                </a:lnTo>
                <a:lnTo>
                  <a:pt x="3328" y="327"/>
                </a:lnTo>
                <a:lnTo>
                  <a:pt x="3328" y="328"/>
                </a:lnTo>
                <a:lnTo>
                  <a:pt x="3327" y="330"/>
                </a:lnTo>
                <a:lnTo>
                  <a:pt x="3328" y="333"/>
                </a:lnTo>
                <a:lnTo>
                  <a:pt x="3332" y="336"/>
                </a:lnTo>
                <a:lnTo>
                  <a:pt x="3337" y="339"/>
                </a:lnTo>
                <a:lnTo>
                  <a:pt x="3344" y="342"/>
                </a:lnTo>
                <a:lnTo>
                  <a:pt x="3349" y="345"/>
                </a:lnTo>
                <a:lnTo>
                  <a:pt x="3351" y="349"/>
                </a:lnTo>
                <a:lnTo>
                  <a:pt x="3352" y="351"/>
                </a:lnTo>
                <a:lnTo>
                  <a:pt x="3352" y="352"/>
                </a:lnTo>
                <a:lnTo>
                  <a:pt x="3350" y="354"/>
                </a:lnTo>
                <a:lnTo>
                  <a:pt x="3348" y="355"/>
                </a:lnTo>
                <a:lnTo>
                  <a:pt x="3337" y="360"/>
                </a:lnTo>
                <a:lnTo>
                  <a:pt x="3331" y="363"/>
                </a:lnTo>
                <a:lnTo>
                  <a:pt x="3328" y="363"/>
                </a:lnTo>
                <a:lnTo>
                  <a:pt x="3325" y="363"/>
                </a:lnTo>
                <a:lnTo>
                  <a:pt x="3321" y="361"/>
                </a:lnTo>
                <a:lnTo>
                  <a:pt x="3315" y="358"/>
                </a:lnTo>
                <a:lnTo>
                  <a:pt x="3313" y="356"/>
                </a:lnTo>
                <a:lnTo>
                  <a:pt x="3311" y="353"/>
                </a:lnTo>
                <a:lnTo>
                  <a:pt x="3309" y="350"/>
                </a:lnTo>
                <a:lnTo>
                  <a:pt x="3308" y="345"/>
                </a:lnTo>
                <a:lnTo>
                  <a:pt x="3306" y="338"/>
                </a:lnTo>
                <a:lnTo>
                  <a:pt x="3305" y="332"/>
                </a:lnTo>
                <a:lnTo>
                  <a:pt x="3303" y="327"/>
                </a:lnTo>
                <a:lnTo>
                  <a:pt x="3302" y="326"/>
                </a:lnTo>
                <a:lnTo>
                  <a:pt x="3299" y="329"/>
                </a:lnTo>
                <a:lnTo>
                  <a:pt x="3295" y="338"/>
                </a:lnTo>
                <a:lnTo>
                  <a:pt x="3288" y="350"/>
                </a:lnTo>
                <a:lnTo>
                  <a:pt x="3283" y="359"/>
                </a:lnTo>
                <a:lnTo>
                  <a:pt x="3277" y="366"/>
                </a:lnTo>
                <a:lnTo>
                  <a:pt x="3270" y="373"/>
                </a:lnTo>
                <a:lnTo>
                  <a:pt x="3265" y="379"/>
                </a:lnTo>
                <a:lnTo>
                  <a:pt x="3260" y="384"/>
                </a:lnTo>
                <a:lnTo>
                  <a:pt x="3256" y="390"/>
                </a:lnTo>
                <a:lnTo>
                  <a:pt x="3254" y="398"/>
                </a:lnTo>
                <a:lnTo>
                  <a:pt x="3249" y="416"/>
                </a:lnTo>
                <a:lnTo>
                  <a:pt x="3245" y="435"/>
                </a:lnTo>
                <a:lnTo>
                  <a:pt x="3243" y="444"/>
                </a:lnTo>
                <a:lnTo>
                  <a:pt x="3241" y="452"/>
                </a:lnTo>
                <a:lnTo>
                  <a:pt x="3238" y="459"/>
                </a:lnTo>
                <a:lnTo>
                  <a:pt x="3235" y="465"/>
                </a:lnTo>
                <a:lnTo>
                  <a:pt x="3230" y="469"/>
                </a:lnTo>
                <a:lnTo>
                  <a:pt x="3223" y="472"/>
                </a:lnTo>
                <a:lnTo>
                  <a:pt x="3216" y="475"/>
                </a:lnTo>
                <a:lnTo>
                  <a:pt x="3210" y="476"/>
                </a:lnTo>
                <a:lnTo>
                  <a:pt x="3207" y="476"/>
                </a:lnTo>
                <a:lnTo>
                  <a:pt x="3203" y="476"/>
                </a:lnTo>
                <a:lnTo>
                  <a:pt x="3201" y="475"/>
                </a:lnTo>
                <a:lnTo>
                  <a:pt x="3200" y="474"/>
                </a:lnTo>
                <a:lnTo>
                  <a:pt x="3199" y="472"/>
                </a:lnTo>
                <a:lnTo>
                  <a:pt x="3200" y="469"/>
                </a:lnTo>
                <a:lnTo>
                  <a:pt x="3201" y="466"/>
                </a:lnTo>
                <a:lnTo>
                  <a:pt x="3204" y="463"/>
                </a:lnTo>
                <a:lnTo>
                  <a:pt x="3215" y="447"/>
                </a:lnTo>
                <a:lnTo>
                  <a:pt x="3223" y="436"/>
                </a:lnTo>
                <a:lnTo>
                  <a:pt x="3230" y="423"/>
                </a:lnTo>
                <a:lnTo>
                  <a:pt x="3235" y="409"/>
                </a:lnTo>
                <a:lnTo>
                  <a:pt x="3241" y="393"/>
                </a:lnTo>
                <a:lnTo>
                  <a:pt x="3248" y="375"/>
                </a:lnTo>
                <a:lnTo>
                  <a:pt x="3253" y="365"/>
                </a:lnTo>
                <a:lnTo>
                  <a:pt x="3255" y="357"/>
                </a:lnTo>
                <a:lnTo>
                  <a:pt x="3257" y="349"/>
                </a:lnTo>
                <a:lnTo>
                  <a:pt x="3258" y="340"/>
                </a:lnTo>
                <a:lnTo>
                  <a:pt x="3257" y="318"/>
                </a:lnTo>
                <a:lnTo>
                  <a:pt x="3257" y="289"/>
                </a:lnTo>
                <a:lnTo>
                  <a:pt x="3256" y="276"/>
                </a:lnTo>
                <a:lnTo>
                  <a:pt x="3253" y="266"/>
                </a:lnTo>
                <a:lnTo>
                  <a:pt x="3252" y="264"/>
                </a:lnTo>
                <a:lnTo>
                  <a:pt x="3248" y="262"/>
                </a:lnTo>
                <a:lnTo>
                  <a:pt x="3246" y="262"/>
                </a:lnTo>
                <a:lnTo>
                  <a:pt x="3243" y="264"/>
                </a:lnTo>
                <a:lnTo>
                  <a:pt x="3229" y="274"/>
                </a:lnTo>
                <a:lnTo>
                  <a:pt x="3215" y="284"/>
                </a:lnTo>
                <a:lnTo>
                  <a:pt x="3209" y="289"/>
                </a:lnTo>
                <a:lnTo>
                  <a:pt x="3203" y="293"/>
                </a:lnTo>
                <a:lnTo>
                  <a:pt x="3200" y="298"/>
                </a:lnTo>
                <a:lnTo>
                  <a:pt x="3199" y="305"/>
                </a:lnTo>
                <a:lnTo>
                  <a:pt x="3197" y="311"/>
                </a:lnTo>
                <a:lnTo>
                  <a:pt x="3195" y="318"/>
                </a:lnTo>
                <a:lnTo>
                  <a:pt x="3191" y="327"/>
                </a:lnTo>
                <a:lnTo>
                  <a:pt x="3186" y="334"/>
                </a:lnTo>
                <a:lnTo>
                  <a:pt x="3180" y="341"/>
                </a:lnTo>
                <a:lnTo>
                  <a:pt x="3174" y="348"/>
                </a:lnTo>
                <a:lnTo>
                  <a:pt x="3169" y="352"/>
                </a:lnTo>
                <a:lnTo>
                  <a:pt x="3164" y="355"/>
                </a:lnTo>
                <a:lnTo>
                  <a:pt x="3152" y="359"/>
                </a:lnTo>
                <a:lnTo>
                  <a:pt x="3138" y="364"/>
                </a:lnTo>
                <a:lnTo>
                  <a:pt x="3127" y="368"/>
                </a:lnTo>
                <a:lnTo>
                  <a:pt x="3122" y="371"/>
                </a:lnTo>
                <a:lnTo>
                  <a:pt x="3128" y="365"/>
                </a:lnTo>
                <a:lnTo>
                  <a:pt x="3142" y="355"/>
                </a:lnTo>
                <a:lnTo>
                  <a:pt x="3156" y="343"/>
                </a:lnTo>
                <a:lnTo>
                  <a:pt x="3165" y="334"/>
                </a:lnTo>
                <a:lnTo>
                  <a:pt x="3169" y="329"/>
                </a:lnTo>
                <a:lnTo>
                  <a:pt x="3174" y="322"/>
                </a:lnTo>
                <a:lnTo>
                  <a:pt x="3176" y="318"/>
                </a:lnTo>
                <a:lnTo>
                  <a:pt x="3178" y="314"/>
                </a:lnTo>
                <a:lnTo>
                  <a:pt x="3179" y="310"/>
                </a:lnTo>
                <a:lnTo>
                  <a:pt x="3178" y="306"/>
                </a:lnTo>
                <a:lnTo>
                  <a:pt x="3177" y="301"/>
                </a:lnTo>
                <a:lnTo>
                  <a:pt x="3175" y="296"/>
                </a:lnTo>
                <a:lnTo>
                  <a:pt x="3172" y="293"/>
                </a:lnTo>
                <a:lnTo>
                  <a:pt x="3169" y="289"/>
                </a:lnTo>
                <a:lnTo>
                  <a:pt x="3166" y="287"/>
                </a:lnTo>
                <a:lnTo>
                  <a:pt x="3163" y="285"/>
                </a:lnTo>
                <a:lnTo>
                  <a:pt x="3158" y="284"/>
                </a:lnTo>
                <a:lnTo>
                  <a:pt x="3155" y="284"/>
                </a:lnTo>
                <a:lnTo>
                  <a:pt x="3144" y="285"/>
                </a:lnTo>
                <a:lnTo>
                  <a:pt x="3127" y="284"/>
                </a:lnTo>
                <a:lnTo>
                  <a:pt x="3117" y="284"/>
                </a:lnTo>
                <a:lnTo>
                  <a:pt x="3107" y="286"/>
                </a:lnTo>
                <a:lnTo>
                  <a:pt x="3102" y="287"/>
                </a:lnTo>
                <a:lnTo>
                  <a:pt x="3097" y="289"/>
                </a:lnTo>
                <a:lnTo>
                  <a:pt x="3091" y="292"/>
                </a:lnTo>
                <a:lnTo>
                  <a:pt x="3086" y="295"/>
                </a:lnTo>
                <a:lnTo>
                  <a:pt x="3069" y="307"/>
                </a:lnTo>
                <a:lnTo>
                  <a:pt x="3057" y="313"/>
                </a:lnTo>
                <a:lnTo>
                  <a:pt x="3045" y="318"/>
                </a:lnTo>
                <a:lnTo>
                  <a:pt x="3030" y="327"/>
                </a:lnTo>
                <a:lnTo>
                  <a:pt x="3021" y="331"/>
                </a:lnTo>
                <a:lnTo>
                  <a:pt x="3013" y="335"/>
                </a:lnTo>
                <a:lnTo>
                  <a:pt x="3005" y="337"/>
                </a:lnTo>
                <a:lnTo>
                  <a:pt x="2999" y="338"/>
                </a:lnTo>
                <a:lnTo>
                  <a:pt x="2996" y="338"/>
                </a:lnTo>
                <a:lnTo>
                  <a:pt x="2994" y="338"/>
                </a:lnTo>
                <a:lnTo>
                  <a:pt x="2993" y="337"/>
                </a:lnTo>
                <a:lnTo>
                  <a:pt x="2992" y="336"/>
                </a:lnTo>
                <a:lnTo>
                  <a:pt x="2991" y="335"/>
                </a:lnTo>
                <a:lnTo>
                  <a:pt x="2991" y="333"/>
                </a:lnTo>
                <a:lnTo>
                  <a:pt x="2992" y="330"/>
                </a:lnTo>
                <a:lnTo>
                  <a:pt x="2994" y="328"/>
                </a:lnTo>
                <a:lnTo>
                  <a:pt x="2998" y="320"/>
                </a:lnTo>
                <a:lnTo>
                  <a:pt x="3004" y="314"/>
                </a:lnTo>
                <a:lnTo>
                  <a:pt x="3011" y="309"/>
                </a:lnTo>
                <a:lnTo>
                  <a:pt x="3017" y="302"/>
                </a:lnTo>
                <a:lnTo>
                  <a:pt x="3029" y="293"/>
                </a:lnTo>
                <a:lnTo>
                  <a:pt x="3042" y="285"/>
                </a:lnTo>
                <a:lnTo>
                  <a:pt x="3057" y="277"/>
                </a:lnTo>
                <a:lnTo>
                  <a:pt x="3076" y="270"/>
                </a:lnTo>
                <a:lnTo>
                  <a:pt x="3086" y="267"/>
                </a:lnTo>
                <a:lnTo>
                  <a:pt x="3097" y="264"/>
                </a:lnTo>
                <a:lnTo>
                  <a:pt x="3106" y="263"/>
                </a:lnTo>
                <a:lnTo>
                  <a:pt x="3113" y="264"/>
                </a:lnTo>
                <a:lnTo>
                  <a:pt x="3129" y="267"/>
                </a:lnTo>
                <a:lnTo>
                  <a:pt x="3144" y="270"/>
                </a:lnTo>
                <a:lnTo>
                  <a:pt x="3151" y="271"/>
                </a:lnTo>
                <a:lnTo>
                  <a:pt x="3157" y="271"/>
                </a:lnTo>
                <a:lnTo>
                  <a:pt x="3163" y="270"/>
                </a:lnTo>
                <a:lnTo>
                  <a:pt x="3166" y="268"/>
                </a:lnTo>
                <a:lnTo>
                  <a:pt x="3175" y="263"/>
                </a:lnTo>
                <a:lnTo>
                  <a:pt x="3189" y="256"/>
                </a:lnTo>
                <a:lnTo>
                  <a:pt x="3205" y="248"/>
                </a:lnTo>
                <a:lnTo>
                  <a:pt x="3223" y="238"/>
                </a:lnTo>
                <a:lnTo>
                  <a:pt x="3239" y="228"/>
                </a:lnTo>
                <a:lnTo>
                  <a:pt x="3251" y="221"/>
                </a:lnTo>
                <a:lnTo>
                  <a:pt x="3254" y="219"/>
                </a:lnTo>
                <a:lnTo>
                  <a:pt x="3257" y="217"/>
                </a:lnTo>
                <a:lnTo>
                  <a:pt x="3258" y="214"/>
                </a:lnTo>
                <a:lnTo>
                  <a:pt x="3258" y="212"/>
                </a:lnTo>
                <a:lnTo>
                  <a:pt x="3260" y="207"/>
                </a:lnTo>
                <a:lnTo>
                  <a:pt x="3262" y="202"/>
                </a:lnTo>
                <a:lnTo>
                  <a:pt x="3263" y="198"/>
                </a:lnTo>
                <a:lnTo>
                  <a:pt x="3263" y="192"/>
                </a:lnTo>
                <a:lnTo>
                  <a:pt x="3261" y="187"/>
                </a:lnTo>
                <a:lnTo>
                  <a:pt x="3258" y="180"/>
                </a:lnTo>
                <a:lnTo>
                  <a:pt x="3251" y="172"/>
                </a:lnTo>
                <a:lnTo>
                  <a:pt x="3242" y="164"/>
                </a:lnTo>
                <a:lnTo>
                  <a:pt x="3233" y="157"/>
                </a:lnTo>
                <a:lnTo>
                  <a:pt x="3223" y="151"/>
                </a:lnTo>
                <a:lnTo>
                  <a:pt x="3213" y="145"/>
                </a:lnTo>
                <a:lnTo>
                  <a:pt x="3204" y="142"/>
                </a:lnTo>
                <a:lnTo>
                  <a:pt x="3198" y="140"/>
                </a:lnTo>
                <a:lnTo>
                  <a:pt x="3195" y="140"/>
                </a:lnTo>
                <a:lnTo>
                  <a:pt x="3190" y="145"/>
                </a:lnTo>
                <a:lnTo>
                  <a:pt x="3182" y="153"/>
                </a:lnTo>
                <a:lnTo>
                  <a:pt x="3179" y="156"/>
                </a:lnTo>
                <a:lnTo>
                  <a:pt x="3176" y="157"/>
                </a:lnTo>
                <a:lnTo>
                  <a:pt x="3175" y="158"/>
                </a:lnTo>
                <a:lnTo>
                  <a:pt x="3174" y="157"/>
                </a:lnTo>
                <a:lnTo>
                  <a:pt x="3173" y="157"/>
                </a:lnTo>
                <a:lnTo>
                  <a:pt x="3172" y="155"/>
                </a:lnTo>
                <a:lnTo>
                  <a:pt x="3172" y="152"/>
                </a:lnTo>
                <a:lnTo>
                  <a:pt x="3173" y="148"/>
                </a:lnTo>
                <a:lnTo>
                  <a:pt x="3174" y="145"/>
                </a:lnTo>
                <a:lnTo>
                  <a:pt x="3176" y="143"/>
                </a:lnTo>
                <a:lnTo>
                  <a:pt x="3178" y="139"/>
                </a:lnTo>
                <a:lnTo>
                  <a:pt x="3180" y="135"/>
                </a:lnTo>
                <a:lnTo>
                  <a:pt x="3181" y="130"/>
                </a:lnTo>
                <a:lnTo>
                  <a:pt x="3181" y="123"/>
                </a:lnTo>
                <a:lnTo>
                  <a:pt x="3181" y="108"/>
                </a:lnTo>
                <a:lnTo>
                  <a:pt x="3180" y="95"/>
                </a:lnTo>
                <a:lnTo>
                  <a:pt x="3178" y="90"/>
                </a:lnTo>
                <a:lnTo>
                  <a:pt x="3176" y="88"/>
                </a:lnTo>
                <a:lnTo>
                  <a:pt x="3174" y="87"/>
                </a:lnTo>
                <a:lnTo>
                  <a:pt x="3172" y="87"/>
                </a:lnTo>
                <a:lnTo>
                  <a:pt x="3169" y="88"/>
                </a:lnTo>
                <a:lnTo>
                  <a:pt x="3166" y="89"/>
                </a:lnTo>
                <a:lnTo>
                  <a:pt x="3154" y="98"/>
                </a:lnTo>
                <a:lnTo>
                  <a:pt x="3143" y="109"/>
                </a:lnTo>
                <a:lnTo>
                  <a:pt x="3136" y="113"/>
                </a:lnTo>
                <a:lnTo>
                  <a:pt x="3130" y="116"/>
                </a:lnTo>
                <a:lnTo>
                  <a:pt x="3127" y="117"/>
                </a:lnTo>
                <a:lnTo>
                  <a:pt x="3124" y="117"/>
                </a:lnTo>
                <a:lnTo>
                  <a:pt x="3120" y="117"/>
                </a:lnTo>
                <a:lnTo>
                  <a:pt x="3115" y="116"/>
                </a:lnTo>
                <a:lnTo>
                  <a:pt x="3099" y="111"/>
                </a:lnTo>
                <a:lnTo>
                  <a:pt x="3082" y="107"/>
                </a:lnTo>
                <a:lnTo>
                  <a:pt x="3073" y="104"/>
                </a:lnTo>
                <a:lnTo>
                  <a:pt x="3065" y="104"/>
                </a:lnTo>
                <a:lnTo>
                  <a:pt x="3058" y="104"/>
                </a:lnTo>
                <a:lnTo>
                  <a:pt x="3052" y="106"/>
                </a:lnTo>
                <a:lnTo>
                  <a:pt x="3040" y="111"/>
                </a:lnTo>
                <a:lnTo>
                  <a:pt x="3026" y="118"/>
                </a:lnTo>
                <a:lnTo>
                  <a:pt x="3020" y="121"/>
                </a:lnTo>
                <a:lnTo>
                  <a:pt x="3013" y="125"/>
                </a:lnTo>
                <a:lnTo>
                  <a:pt x="3005" y="128"/>
                </a:lnTo>
                <a:lnTo>
                  <a:pt x="2999" y="130"/>
                </a:lnTo>
                <a:lnTo>
                  <a:pt x="2981" y="134"/>
                </a:lnTo>
                <a:lnTo>
                  <a:pt x="2961" y="140"/>
                </a:lnTo>
                <a:lnTo>
                  <a:pt x="2953" y="142"/>
                </a:lnTo>
                <a:lnTo>
                  <a:pt x="2946" y="143"/>
                </a:lnTo>
                <a:lnTo>
                  <a:pt x="2944" y="143"/>
                </a:lnTo>
                <a:lnTo>
                  <a:pt x="2942" y="142"/>
                </a:lnTo>
                <a:lnTo>
                  <a:pt x="2941" y="141"/>
                </a:lnTo>
                <a:lnTo>
                  <a:pt x="2942" y="139"/>
                </a:lnTo>
                <a:lnTo>
                  <a:pt x="2946" y="135"/>
                </a:lnTo>
                <a:lnTo>
                  <a:pt x="2951" y="132"/>
                </a:lnTo>
                <a:lnTo>
                  <a:pt x="2957" y="129"/>
                </a:lnTo>
                <a:lnTo>
                  <a:pt x="2964" y="126"/>
                </a:lnTo>
                <a:lnTo>
                  <a:pt x="2973" y="123"/>
                </a:lnTo>
                <a:lnTo>
                  <a:pt x="2981" y="120"/>
                </a:lnTo>
                <a:lnTo>
                  <a:pt x="2991" y="116"/>
                </a:lnTo>
                <a:lnTo>
                  <a:pt x="3000" y="111"/>
                </a:lnTo>
                <a:lnTo>
                  <a:pt x="3019" y="99"/>
                </a:lnTo>
                <a:lnTo>
                  <a:pt x="3037" y="90"/>
                </a:lnTo>
                <a:lnTo>
                  <a:pt x="3045" y="86"/>
                </a:lnTo>
                <a:lnTo>
                  <a:pt x="3051" y="84"/>
                </a:lnTo>
                <a:lnTo>
                  <a:pt x="3058" y="82"/>
                </a:lnTo>
                <a:lnTo>
                  <a:pt x="3063" y="84"/>
                </a:lnTo>
                <a:lnTo>
                  <a:pt x="3068" y="85"/>
                </a:lnTo>
                <a:lnTo>
                  <a:pt x="3079" y="86"/>
                </a:lnTo>
                <a:lnTo>
                  <a:pt x="3091" y="87"/>
                </a:lnTo>
                <a:lnTo>
                  <a:pt x="3105" y="87"/>
                </a:lnTo>
                <a:lnTo>
                  <a:pt x="3119" y="87"/>
                </a:lnTo>
                <a:lnTo>
                  <a:pt x="3130" y="87"/>
                </a:lnTo>
                <a:lnTo>
                  <a:pt x="3137" y="86"/>
                </a:lnTo>
                <a:lnTo>
                  <a:pt x="3142" y="85"/>
                </a:lnTo>
                <a:lnTo>
                  <a:pt x="3156" y="70"/>
                </a:lnTo>
                <a:lnTo>
                  <a:pt x="3168" y="56"/>
                </a:lnTo>
                <a:lnTo>
                  <a:pt x="3166" y="53"/>
                </a:lnTo>
                <a:lnTo>
                  <a:pt x="3159" y="49"/>
                </a:lnTo>
                <a:lnTo>
                  <a:pt x="3151" y="44"/>
                </a:lnTo>
                <a:lnTo>
                  <a:pt x="3141" y="37"/>
                </a:lnTo>
                <a:lnTo>
                  <a:pt x="3129" y="32"/>
                </a:lnTo>
                <a:lnTo>
                  <a:pt x="3116" y="27"/>
                </a:lnTo>
                <a:lnTo>
                  <a:pt x="3106" y="24"/>
                </a:lnTo>
                <a:lnTo>
                  <a:pt x="3098" y="22"/>
                </a:lnTo>
                <a:lnTo>
                  <a:pt x="3080" y="20"/>
                </a:lnTo>
                <a:lnTo>
                  <a:pt x="3060" y="17"/>
                </a:lnTo>
                <a:lnTo>
                  <a:pt x="3049" y="15"/>
                </a:lnTo>
                <a:lnTo>
                  <a:pt x="3040" y="13"/>
                </a:lnTo>
                <a:lnTo>
                  <a:pt x="3032" y="10"/>
                </a:lnTo>
                <a:lnTo>
                  <a:pt x="3024" y="7"/>
                </a:lnTo>
                <a:lnTo>
                  <a:pt x="3017" y="4"/>
                </a:lnTo>
                <a:lnTo>
                  <a:pt x="3007" y="2"/>
                </a:lnTo>
                <a:lnTo>
                  <a:pt x="2996" y="0"/>
                </a:lnTo>
                <a:lnTo>
                  <a:pt x="2983" y="0"/>
                </a:lnTo>
                <a:lnTo>
                  <a:pt x="2970" y="0"/>
                </a:lnTo>
                <a:lnTo>
                  <a:pt x="2957" y="1"/>
                </a:lnTo>
                <a:lnTo>
                  <a:pt x="2946" y="3"/>
                </a:lnTo>
                <a:lnTo>
                  <a:pt x="2935" y="6"/>
                </a:lnTo>
                <a:lnTo>
                  <a:pt x="2931" y="8"/>
                </a:lnTo>
                <a:lnTo>
                  <a:pt x="2928" y="11"/>
                </a:lnTo>
                <a:lnTo>
                  <a:pt x="2927" y="13"/>
                </a:lnTo>
                <a:lnTo>
                  <a:pt x="2926" y="16"/>
                </a:lnTo>
                <a:lnTo>
                  <a:pt x="2925" y="24"/>
                </a:lnTo>
                <a:lnTo>
                  <a:pt x="2927" y="30"/>
                </a:lnTo>
                <a:lnTo>
                  <a:pt x="2929" y="37"/>
                </a:lnTo>
                <a:lnTo>
                  <a:pt x="2931" y="43"/>
                </a:lnTo>
                <a:lnTo>
                  <a:pt x="2932" y="45"/>
                </a:lnTo>
                <a:lnTo>
                  <a:pt x="2932" y="47"/>
                </a:lnTo>
                <a:lnTo>
                  <a:pt x="2931" y="48"/>
                </a:lnTo>
                <a:lnTo>
                  <a:pt x="2930" y="48"/>
                </a:lnTo>
                <a:lnTo>
                  <a:pt x="2927" y="48"/>
                </a:lnTo>
                <a:lnTo>
                  <a:pt x="2922" y="47"/>
                </a:lnTo>
                <a:lnTo>
                  <a:pt x="2917" y="45"/>
                </a:lnTo>
                <a:lnTo>
                  <a:pt x="2912" y="43"/>
                </a:lnTo>
                <a:lnTo>
                  <a:pt x="2904" y="37"/>
                </a:lnTo>
                <a:lnTo>
                  <a:pt x="2901" y="36"/>
                </a:lnTo>
                <a:lnTo>
                  <a:pt x="2902" y="39"/>
                </a:lnTo>
                <a:lnTo>
                  <a:pt x="2903" y="48"/>
                </a:lnTo>
                <a:lnTo>
                  <a:pt x="2903" y="51"/>
                </a:lnTo>
                <a:lnTo>
                  <a:pt x="2902" y="53"/>
                </a:lnTo>
                <a:lnTo>
                  <a:pt x="2901" y="54"/>
                </a:lnTo>
                <a:lnTo>
                  <a:pt x="2898" y="54"/>
                </a:lnTo>
                <a:lnTo>
                  <a:pt x="2896" y="53"/>
                </a:lnTo>
                <a:lnTo>
                  <a:pt x="2894" y="52"/>
                </a:lnTo>
                <a:lnTo>
                  <a:pt x="2886" y="47"/>
                </a:lnTo>
                <a:lnTo>
                  <a:pt x="2881" y="45"/>
                </a:lnTo>
                <a:lnTo>
                  <a:pt x="2880" y="45"/>
                </a:lnTo>
                <a:lnTo>
                  <a:pt x="2879" y="46"/>
                </a:lnTo>
                <a:lnTo>
                  <a:pt x="2878" y="47"/>
                </a:lnTo>
                <a:lnTo>
                  <a:pt x="2876" y="49"/>
                </a:lnTo>
                <a:lnTo>
                  <a:pt x="2875" y="56"/>
                </a:lnTo>
                <a:lnTo>
                  <a:pt x="2874" y="65"/>
                </a:lnTo>
                <a:lnTo>
                  <a:pt x="2874" y="69"/>
                </a:lnTo>
                <a:lnTo>
                  <a:pt x="2875" y="72"/>
                </a:lnTo>
                <a:lnTo>
                  <a:pt x="2878" y="75"/>
                </a:lnTo>
                <a:lnTo>
                  <a:pt x="2881" y="78"/>
                </a:lnTo>
                <a:lnTo>
                  <a:pt x="2890" y="82"/>
                </a:lnTo>
                <a:lnTo>
                  <a:pt x="2901" y="87"/>
                </a:lnTo>
                <a:lnTo>
                  <a:pt x="2904" y="90"/>
                </a:lnTo>
                <a:lnTo>
                  <a:pt x="2905" y="92"/>
                </a:lnTo>
                <a:lnTo>
                  <a:pt x="2905" y="93"/>
                </a:lnTo>
                <a:lnTo>
                  <a:pt x="2904" y="95"/>
                </a:lnTo>
                <a:lnTo>
                  <a:pt x="2902" y="96"/>
                </a:lnTo>
                <a:lnTo>
                  <a:pt x="2900" y="97"/>
                </a:lnTo>
                <a:lnTo>
                  <a:pt x="2893" y="99"/>
                </a:lnTo>
                <a:lnTo>
                  <a:pt x="2886" y="100"/>
                </a:lnTo>
                <a:lnTo>
                  <a:pt x="2879" y="100"/>
                </a:lnTo>
                <a:lnTo>
                  <a:pt x="2872" y="99"/>
                </a:lnTo>
                <a:lnTo>
                  <a:pt x="2867" y="99"/>
                </a:lnTo>
                <a:lnTo>
                  <a:pt x="2863" y="100"/>
                </a:lnTo>
                <a:lnTo>
                  <a:pt x="2863" y="101"/>
                </a:lnTo>
                <a:lnTo>
                  <a:pt x="2863" y="102"/>
                </a:lnTo>
                <a:lnTo>
                  <a:pt x="2863" y="103"/>
                </a:lnTo>
                <a:lnTo>
                  <a:pt x="2865" y="106"/>
                </a:lnTo>
                <a:lnTo>
                  <a:pt x="2872" y="114"/>
                </a:lnTo>
                <a:lnTo>
                  <a:pt x="2878" y="119"/>
                </a:lnTo>
                <a:lnTo>
                  <a:pt x="2879" y="121"/>
                </a:lnTo>
                <a:lnTo>
                  <a:pt x="2880" y="123"/>
                </a:lnTo>
                <a:lnTo>
                  <a:pt x="2879" y="124"/>
                </a:lnTo>
                <a:lnTo>
                  <a:pt x="2876" y="125"/>
                </a:lnTo>
                <a:lnTo>
                  <a:pt x="2871" y="126"/>
                </a:lnTo>
                <a:lnTo>
                  <a:pt x="2867" y="128"/>
                </a:lnTo>
                <a:lnTo>
                  <a:pt x="2866" y="129"/>
                </a:lnTo>
                <a:lnTo>
                  <a:pt x="2865" y="130"/>
                </a:lnTo>
                <a:lnTo>
                  <a:pt x="2865" y="132"/>
                </a:lnTo>
                <a:lnTo>
                  <a:pt x="2866" y="134"/>
                </a:lnTo>
                <a:lnTo>
                  <a:pt x="2871" y="140"/>
                </a:lnTo>
                <a:lnTo>
                  <a:pt x="2879" y="148"/>
                </a:lnTo>
                <a:lnTo>
                  <a:pt x="2882" y="152"/>
                </a:lnTo>
                <a:lnTo>
                  <a:pt x="2883" y="155"/>
                </a:lnTo>
                <a:lnTo>
                  <a:pt x="2882" y="156"/>
                </a:lnTo>
                <a:lnTo>
                  <a:pt x="2881" y="156"/>
                </a:lnTo>
                <a:lnTo>
                  <a:pt x="2879" y="156"/>
                </a:lnTo>
                <a:lnTo>
                  <a:pt x="2875" y="156"/>
                </a:lnTo>
                <a:lnTo>
                  <a:pt x="2868" y="154"/>
                </a:lnTo>
                <a:lnTo>
                  <a:pt x="2860" y="150"/>
                </a:lnTo>
                <a:lnTo>
                  <a:pt x="2851" y="144"/>
                </a:lnTo>
                <a:lnTo>
                  <a:pt x="2842" y="137"/>
                </a:lnTo>
                <a:lnTo>
                  <a:pt x="2832" y="130"/>
                </a:lnTo>
                <a:lnTo>
                  <a:pt x="2824" y="121"/>
                </a:lnTo>
                <a:lnTo>
                  <a:pt x="2817" y="114"/>
                </a:lnTo>
                <a:lnTo>
                  <a:pt x="2810" y="107"/>
                </a:lnTo>
                <a:lnTo>
                  <a:pt x="2800" y="93"/>
                </a:lnTo>
                <a:lnTo>
                  <a:pt x="2791" y="82"/>
                </a:lnTo>
                <a:lnTo>
                  <a:pt x="2787" y="78"/>
                </a:lnTo>
                <a:lnTo>
                  <a:pt x="2784" y="77"/>
                </a:lnTo>
                <a:lnTo>
                  <a:pt x="2783" y="76"/>
                </a:lnTo>
                <a:lnTo>
                  <a:pt x="2781" y="77"/>
                </a:lnTo>
                <a:lnTo>
                  <a:pt x="2780" y="78"/>
                </a:lnTo>
                <a:lnTo>
                  <a:pt x="2779" y="80"/>
                </a:lnTo>
                <a:lnTo>
                  <a:pt x="2779" y="85"/>
                </a:lnTo>
                <a:lnTo>
                  <a:pt x="2780" y="89"/>
                </a:lnTo>
                <a:lnTo>
                  <a:pt x="2783" y="93"/>
                </a:lnTo>
                <a:lnTo>
                  <a:pt x="2786" y="96"/>
                </a:lnTo>
                <a:lnTo>
                  <a:pt x="2788" y="100"/>
                </a:lnTo>
                <a:lnTo>
                  <a:pt x="2791" y="102"/>
                </a:lnTo>
                <a:lnTo>
                  <a:pt x="2791" y="104"/>
                </a:lnTo>
                <a:lnTo>
                  <a:pt x="2790" y="106"/>
                </a:lnTo>
                <a:lnTo>
                  <a:pt x="2788" y="106"/>
                </a:lnTo>
                <a:lnTo>
                  <a:pt x="2786" y="107"/>
                </a:lnTo>
                <a:lnTo>
                  <a:pt x="2776" y="107"/>
                </a:lnTo>
                <a:lnTo>
                  <a:pt x="2764" y="104"/>
                </a:lnTo>
                <a:lnTo>
                  <a:pt x="2759" y="104"/>
                </a:lnTo>
                <a:lnTo>
                  <a:pt x="2755" y="104"/>
                </a:lnTo>
                <a:lnTo>
                  <a:pt x="2754" y="104"/>
                </a:lnTo>
                <a:lnTo>
                  <a:pt x="2753" y="106"/>
                </a:lnTo>
                <a:lnTo>
                  <a:pt x="2752" y="107"/>
                </a:lnTo>
                <a:lnTo>
                  <a:pt x="2752" y="108"/>
                </a:lnTo>
                <a:lnTo>
                  <a:pt x="2751" y="117"/>
                </a:lnTo>
                <a:lnTo>
                  <a:pt x="2749" y="128"/>
                </a:lnTo>
                <a:lnTo>
                  <a:pt x="2750" y="133"/>
                </a:lnTo>
                <a:lnTo>
                  <a:pt x="2751" y="138"/>
                </a:lnTo>
                <a:lnTo>
                  <a:pt x="2752" y="139"/>
                </a:lnTo>
                <a:lnTo>
                  <a:pt x="2754" y="140"/>
                </a:lnTo>
                <a:lnTo>
                  <a:pt x="2757" y="141"/>
                </a:lnTo>
                <a:lnTo>
                  <a:pt x="2760" y="141"/>
                </a:lnTo>
                <a:lnTo>
                  <a:pt x="2775" y="142"/>
                </a:lnTo>
                <a:lnTo>
                  <a:pt x="2792" y="144"/>
                </a:lnTo>
                <a:lnTo>
                  <a:pt x="2799" y="146"/>
                </a:lnTo>
                <a:lnTo>
                  <a:pt x="2807" y="151"/>
                </a:lnTo>
                <a:lnTo>
                  <a:pt x="2816" y="156"/>
                </a:lnTo>
                <a:lnTo>
                  <a:pt x="2822" y="163"/>
                </a:lnTo>
                <a:lnTo>
                  <a:pt x="2829" y="172"/>
                </a:lnTo>
                <a:lnTo>
                  <a:pt x="2835" y="180"/>
                </a:lnTo>
                <a:lnTo>
                  <a:pt x="2839" y="187"/>
                </a:lnTo>
                <a:lnTo>
                  <a:pt x="2843" y="195"/>
                </a:lnTo>
                <a:lnTo>
                  <a:pt x="2847" y="206"/>
                </a:lnTo>
                <a:lnTo>
                  <a:pt x="2849" y="210"/>
                </a:lnTo>
                <a:lnTo>
                  <a:pt x="2849" y="213"/>
                </a:lnTo>
                <a:lnTo>
                  <a:pt x="2847" y="219"/>
                </a:lnTo>
                <a:lnTo>
                  <a:pt x="2846" y="221"/>
                </a:lnTo>
                <a:lnTo>
                  <a:pt x="2843" y="220"/>
                </a:lnTo>
                <a:lnTo>
                  <a:pt x="2840" y="217"/>
                </a:lnTo>
                <a:lnTo>
                  <a:pt x="2835" y="210"/>
                </a:lnTo>
                <a:lnTo>
                  <a:pt x="2825" y="194"/>
                </a:lnTo>
                <a:lnTo>
                  <a:pt x="2818" y="181"/>
                </a:lnTo>
                <a:lnTo>
                  <a:pt x="2813" y="176"/>
                </a:lnTo>
                <a:lnTo>
                  <a:pt x="2807" y="170"/>
                </a:lnTo>
                <a:lnTo>
                  <a:pt x="2801" y="166"/>
                </a:lnTo>
                <a:lnTo>
                  <a:pt x="2793" y="163"/>
                </a:lnTo>
                <a:lnTo>
                  <a:pt x="2781" y="159"/>
                </a:lnTo>
                <a:lnTo>
                  <a:pt x="2766" y="156"/>
                </a:lnTo>
                <a:lnTo>
                  <a:pt x="2751" y="152"/>
                </a:lnTo>
                <a:lnTo>
                  <a:pt x="2735" y="148"/>
                </a:lnTo>
                <a:lnTo>
                  <a:pt x="2729" y="148"/>
                </a:lnTo>
                <a:lnTo>
                  <a:pt x="2722" y="148"/>
                </a:lnTo>
                <a:lnTo>
                  <a:pt x="2717" y="148"/>
                </a:lnTo>
                <a:lnTo>
                  <a:pt x="2713" y="150"/>
                </a:lnTo>
                <a:lnTo>
                  <a:pt x="2711" y="152"/>
                </a:lnTo>
                <a:lnTo>
                  <a:pt x="2711" y="155"/>
                </a:lnTo>
                <a:lnTo>
                  <a:pt x="2713" y="159"/>
                </a:lnTo>
                <a:lnTo>
                  <a:pt x="2717" y="164"/>
                </a:lnTo>
                <a:lnTo>
                  <a:pt x="2735" y="184"/>
                </a:lnTo>
                <a:lnTo>
                  <a:pt x="2750" y="199"/>
                </a:lnTo>
                <a:lnTo>
                  <a:pt x="2755" y="204"/>
                </a:lnTo>
                <a:lnTo>
                  <a:pt x="2759" y="210"/>
                </a:lnTo>
                <a:lnTo>
                  <a:pt x="2762" y="216"/>
                </a:lnTo>
                <a:lnTo>
                  <a:pt x="2765" y="221"/>
                </a:lnTo>
                <a:lnTo>
                  <a:pt x="2766" y="223"/>
                </a:lnTo>
                <a:lnTo>
                  <a:pt x="2770" y="226"/>
                </a:lnTo>
                <a:lnTo>
                  <a:pt x="2773" y="229"/>
                </a:lnTo>
                <a:lnTo>
                  <a:pt x="2777" y="232"/>
                </a:lnTo>
                <a:lnTo>
                  <a:pt x="2786" y="239"/>
                </a:lnTo>
                <a:lnTo>
                  <a:pt x="2796" y="244"/>
                </a:lnTo>
                <a:lnTo>
                  <a:pt x="2803" y="249"/>
                </a:lnTo>
                <a:lnTo>
                  <a:pt x="2807" y="253"/>
                </a:lnTo>
                <a:lnTo>
                  <a:pt x="2806" y="254"/>
                </a:lnTo>
                <a:lnTo>
                  <a:pt x="2805" y="255"/>
                </a:lnTo>
                <a:lnTo>
                  <a:pt x="2801" y="256"/>
                </a:lnTo>
                <a:lnTo>
                  <a:pt x="2796" y="256"/>
                </a:lnTo>
                <a:lnTo>
                  <a:pt x="2790" y="255"/>
                </a:lnTo>
                <a:lnTo>
                  <a:pt x="2783" y="254"/>
                </a:lnTo>
                <a:lnTo>
                  <a:pt x="2778" y="253"/>
                </a:lnTo>
                <a:lnTo>
                  <a:pt x="2774" y="251"/>
                </a:lnTo>
                <a:lnTo>
                  <a:pt x="2765" y="246"/>
                </a:lnTo>
                <a:lnTo>
                  <a:pt x="2759" y="242"/>
                </a:lnTo>
                <a:lnTo>
                  <a:pt x="2755" y="238"/>
                </a:lnTo>
                <a:lnTo>
                  <a:pt x="2752" y="236"/>
                </a:lnTo>
                <a:lnTo>
                  <a:pt x="2750" y="236"/>
                </a:lnTo>
                <a:lnTo>
                  <a:pt x="2749" y="238"/>
                </a:lnTo>
                <a:lnTo>
                  <a:pt x="2749" y="240"/>
                </a:lnTo>
                <a:lnTo>
                  <a:pt x="2748" y="243"/>
                </a:lnTo>
                <a:lnTo>
                  <a:pt x="2744" y="257"/>
                </a:lnTo>
                <a:lnTo>
                  <a:pt x="2741" y="269"/>
                </a:lnTo>
                <a:lnTo>
                  <a:pt x="2739" y="279"/>
                </a:lnTo>
                <a:lnTo>
                  <a:pt x="2739" y="288"/>
                </a:lnTo>
                <a:lnTo>
                  <a:pt x="2741" y="292"/>
                </a:lnTo>
                <a:lnTo>
                  <a:pt x="2746" y="295"/>
                </a:lnTo>
                <a:lnTo>
                  <a:pt x="2751" y="297"/>
                </a:lnTo>
                <a:lnTo>
                  <a:pt x="2756" y="299"/>
                </a:lnTo>
                <a:lnTo>
                  <a:pt x="2760" y="301"/>
                </a:lnTo>
                <a:lnTo>
                  <a:pt x="2762" y="304"/>
                </a:lnTo>
                <a:lnTo>
                  <a:pt x="2762" y="305"/>
                </a:lnTo>
                <a:lnTo>
                  <a:pt x="2757" y="307"/>
                </a:lnTo>
                <a:lnTo>
                  <a:pt x="2751" y="309"/>
                </a:lnTo>
                <a:lnTo>
                  <a:pt x="2747" y="312"/>
                </a:lnTo>
                <a:lnTo>
                  <a:pt x="2744" y="316"/>
                </a:lnTo>
                <a:lnTo>
                  <a:pt x="2743" y="319"/>
                </a:lnTo>
                <a:lnTo>
                  <a:pt x="2742" y="321"/>
                </a:lnTo>
                <a:lnTo>
                  <a:pt x="2741" y="323"/>
                </a:lnTo>
                <a:lnTo>
                  <a:pt x="2739" y="322"/>
                </a:lnTo>
                <a:lnTo>
                  <a:pt x="2736" y="320"/>
                </a:lnTo>
                <a:lnTo>
                  <a:pt x="2729" y="310"/>
                </a:lnTo>
                <a:lnTo>
                  <a:pt x="2721" y="299"/>
                </a:lnTo>
                <a:lnTo>
                  <a:pt x="2714" y="288"/>
                </a:lnTo>
                <a:lnTo>
                  <a:pt x="2708" y="278"/>
                </a:lnTo>
                <a:lnTo>
                  <a:pt x="2696" y="268"/>
                </a:lnTo>
                <a:lnTo>
                  <a:pt x="2679" y="256"/>
                </a:lnTo>
                <a:lnTo>
                  <a:pt x="2673" y="250"/>
                </a:lnTo>
                <a:lnTo>
                  <a:pt x="2669" y="244"/>
                </a:lnTo>
                <a:lnTo>
                  <a:pt x="2668" y="241"/>
                </a:lnTo>
                <a:lnTo>
                  <a:pt x="2668" y="239"/>
                </a:lnTo>
                <a:lnTo>
                  <a:pt x="2670" y="235"/>
                </a:lnTo>
                <a:lnTo>
                  <a:pt x="2673" y="232"/>
                </a:lnTo>
                <a:lnTo>
                  <a:pt x="2691" y="221"/>
                </a:lnTo>
                <a:lnTo>
                  <a:pt x="2694" y="220"/>
                </a:lnTo>
                <a:lnTo>
                  <a:pt x="2693" y="220"/>
                </a:lnTo>
                <a:lnTo>
                  <a:pt x="2690" y="220"/>
                </a:lnTo>
                <a:lnTo>
                  <a:pt x="2685" y="218"/>
                </a:lnTo>
                <a:lnTo>
                  <a:pt x="2677" y="211"/>
                </a:lnTo>
                <a:lnTo>
                  <a:pt x="2674" y="207"/>
                </a:lnTo>
                <a:lnTo>
                  <a:pt x="2672" y="202"/>
                </a:lnTo>
                <a:lnTo>
                  <a:pt x="2670" y="197"/>
                </a:lnTo>
                <a:lnTo>
                  <a:pt x="2669" y="192"/>
                </a:lnTo>
                <a:lnTo>
                  <a:pt x="2667" y="189"/>
                </a:lnTo>
                <a:lnTo>
                  <a:pt x="2666" y="188"/>
                </a:lnTo>
                <a:lnTo>
                  <a:pt x="2663" y="188"/>
                </a:lnTo>
                <a:lnTo>
                  <a:pt x="2660" y="191"/>
                </a:lnTo>
                <a:lnTo>
                  <a:pt x="2653" y="200"/>
                </a:lnTo>
                <a:lnTo>
                  <a:pt x="2651" y="205"/>
                </a:lnTo>
                <a:lnTo>
                  <a:pt x="2651" y="207"/>
                </a:lnTo>
                <a:lnTo>
                  <a:pt x="2651" y="207"/>
                </a:lnTo>
                <a:lnTo>
                  <a:pt x="2650" y="207"/>
                </a:lnTo>
                <a:lnTo>
                  <a:pt x="2649" y="206"/>
                </a:lnTo>
                <a:lnTo>
                  <a:pt x="2646" y="201"/>
                </a:lnTo>
                <a:lnTo>
                  <a:pt x="2644" y="197"/>
                </a:lnTo>
                <a:lnTo>
                  <a:pt x="2643" y="195"/>
                </a:lnTo>
                <a:lnTo>
                  <a:pt x="2642" y="194"/>
                </a:lnTo>
                <a:lnTo>
                  <a:pt x="2641" y="192"/>
                </a:lnTo>
                <a:lnTo>
                  <a:pt x="2639" y="194"/>
                </a:lnTo>
                <a:lnTo>
                  <a:pt x="2633" y="196"/>
                </a:lnTo>
                <a:lnTo>
                  <a:pt x="2625" y="199"/>
                </a:lnTo>
                <a:lnTo>
                  <a:pt x="2620" y="201"/>
                </a:lnTo>
                <a:lnTo>
                  <a:pt x="2617" y="203"/>
                </a:lnTo>
                <a:lnTo>
                  <a:pt x="2613" y="206"/>
                </a:lnTo>
                <a:lnTo>
                  <a:pt x="2612" y="209"/>
                </a:lnTo>
                <a:lnTo>
                  <a:pt x="2612" y="214"/>
                </a:lnTo>
                <a:lnTo>
                  <a:pt x="2613" y="221"/>
                </a:lnTo>
                <a:lnTo>
                  <a:pt x="2613" y="226"/>
                </a:lnTo>
                <a:lnTo>
                  <a:pt x="2616" y="233"/>
                </a:lnTo>
                <a:lnTo>
                  <a:pt x="2617" y="240"/>
                </a:lnTo>
                <a:lnTo>
                  <a:pt x="2617" y="247"/>
                </a:lnTo>
                <a:lnTo>
                  <a:pt x="2617" y="250"/>
                </a:lnTo>
                <a:lnTo>
                  <a:pt x="2618" y="254"/>
                </a:lnTo>
                <a:lnTo>
                  <a:pt x="2620" y="260"/>
                </a:lnTo>
                <a:lnTo>
                  <a:pt x="2624" y="266"/>
                </a:lnTo>
                <a:lnTo>
                  <a:pt x="2632" y="279"/>
                </a:lnTo>
                <a:lnTo>
                  <a:pt x="2640" y="289"/>
                </a:lnTo>
                <a:lnTo>
                  <a:pt x="2642" y="292"/>
                </a:lnTo>
                <a:lnTo>
                  <a:pt x="2643" y="295"/>
                </a:lnTo>
                <a:lnTo>
                  <a:pt x="2644" y="297"/>
                </a:lnTo>
                <a:lnTo>
                  <a:pt x="2643" y="299"/>
                </a:lnTo>
                <a:lnTo>
                  <a:pt x="2642" y="304"/>
                </a:lnTo>
                <a:lnTo>
                  <a:pt x="2640" y="311"/>
                </a:lnTo>
                <a:lnTo>
                  <a:pt x="2639" y="314"/>
                </a:lnTo>
                <a:lnTo>
                  <a:pt x="2638" y="316"/>
                </a:lnTo>
                <a:lnTo>
                  <a:pt x="2635" y="316"/>
                </a:lnTo>
                <a:lnTo>
                  <a:pt x="2632" y="313"/>
                </a:lnTo>
                <a:lnTo>
                  <a:pt x="2623" y="304"/>
                </a:lnTo>
                <a:lnTo>
                  <a:pt x="2612" y="294"/>
                </a:lnTo>
                <a:lnTo>
                  <a:pt x="2607" y="289"/>
                </a:lnTo>
                <a:lnTo>
                  <a:pt x="2604" y="284"/>
                </a:lnTo>
                <a:lnTo>
                  <a:pt x="2603" y="282"/>
                </a:lnTo>
                <a:lnTo>
                  <a:pt x="2602" y="279"/>
                </a:lnTo>
                <a:lnTo>
                  <a:pt x="2602" y="277"/>
                </a:lnTo>
                <a:lnTo>
                  <a:pt x="2602" y="275"/>
                </a:lnTo>
                <a:lnTo>
                  <a:pt x="2604" y="271"/>
                </a:lnTo>
                <a:lnTo>
                  <a:pt x="2605" y="267"/>
                </a:lnTo>
                <a:lnTo>
                  <a:pt x="2605" y="263"/>
                </a:lnTo>
                <a:lnTo>
                  <a:pt x="2604" y="258"/>
                </a:lnTo>
                <a:lnTo>
                  <a:pt x="2603" y="253"/>
                </a:lnTo>
                <a:lnTo>
                  <a:pt x="2601" y="249"/>
                </a:lnTo>
                <a:lnTo>
                  <a:pt x="2599" y="245"/>
                </a:lnTo>
                <a:lnTo>
                  <a:pt x="2596" y="240"/>
                </a:lnTo>
                <a:lnTo>
                  <a:pt x="2591" y="235"/>
                </a:lnTo>
                <a:lnTo>
                  <a:pt x="2588" y="234"/>
                </a:lnTo>
                <a:lnTo>
                  <a:pt x="2584" y="233"/>
                </a:lnTo>
                <a:lnTo>
                  <a:pt x="2581" y="233"/>
                </a:lnTo>
                <a:lnTo>
                  <a:pt x="2576" y="235"/>
                </a:lnTo>
                <a:lnTo>
                  <a:pt x="2574" y="238"/>
                </a:lnTo>
                <a:lnTo>
                  <a:pt x="2575" y="242"/>
                </a:lnTo>
                <a:lnTo>
                  <a:pt x="2576" y="250"/>
                </a:lnTo>
                <a:lnTo>
                  <a:pt x="2577" y="254"/>
                </a:lnTo>
                <a:lnTo>
                  <a:pt x="2576" y="256"/>
                </a:lnTo>
                <a:lnTo>
                  <a:pt x="2575" y="257"/>
                </a:lnTo>
                <a:lnTo>
                  <a:pt x="2574" y="257"/>
                </a:lnTo>
                <a:lnTo>
                  <a:pt x="2573" y="257"/>
                </a:lnTo>
                <a:lnTo>
                  <a:pt x="2571" y="256"/>
                </a:lnTo>
                <a:lnTo>
                  <a:pt x="2559" y="245"/>
                </a:lnTo>
                <a:lnTo>
                  <a:pt x="2551" y="234"/>
                </a:lnTo>
                <a:lnTo>
                  <a:pt x="2549" y="228"/>
                </a:lnTo>
                <a:lnTo>
                  <a:pt x="2546" y="223"/>
                </a:lnTo>
                <a:lnTo>
                  <a:pt x="2545" y="221"/>
                </a:lnTo>
                <a:lnTo>
                  <a:pt x="2542" y="222"/>
                </a:lnTo>
                <a:lnTo>
                  <a:pt x="2537" y="224"/>
                </a:lnTo>
                <a:lnTo>
                  <a:pt x="2530" y="228"/>
                </a:lnTo>
                <a:lnTo>
                  <a:pt x="2515" y="240"/>
                </a:lnTo>
                <a:lnTo>
                  <a:pt x="2506" y="248"/>
                </a:lnTo>
                <a:lnTo>
                  <a:pt x="2498" y="254"/>
                </a:lnTo>
                <a:lnTo>
                  <a:pt x="2491" y="258"/>
                </a:lnTo>
                <a:lnTo>
                  <a:pt x="2477" y="263"/>
                </a:lnTo>
                <a:lnTo>
                  <a:pt x="2458" y="269"/>
                </a:lnTo>
                <a:lnTo>
                  <a:pt x="2450" y="272"/>
                </a:lnTo>
                <a:lnTo>
                  <a:pt x="2442" y="275"/>
                </a:lnTo>
                <a:lnTo>
                  <a:pt x="2436" y="278"/>
                </a:lnTo>
                <a:lnTo>
                  <a:pt x="2433" y="282"/>
                </a:lnTo>
                <a:lnTo>
                  <a:pt x="2435" y="288"/>
                </a:lnTo>
                <a:lnTo>
                  <a:pt x="2442" y="299"/>
                </a:lnTo>
                <a:lnTo>
                  <a:pt x="2451" y="314"/>
                </a:lnTo>
                <a:lnTo>
                  <a:pt x="2462" y="331"/>
                </a:lnTo>
                <a:lnTo>
                  <a:pt x="2471" y="346"/>
                </a:lnTo>
                <a:lnTo>
                  <a:pt x="2479" y="359"/>
                </a:lnTo>
                <a:lnTo>
                  <a:pt x="2485" y="367"/>
                </a:lnTo>
                <a:lnTo>
                  <a:pt x="2484" y="370"/>
                </a:lnTo>
                <a:lnTo>
                  <a:pt x="2472" y="355"/>
                </a:lnTo>
                <a:lnTo>
                  <a:pt x="2453" y="331"/>
                </a:lnTo>
                <a:lnTo>
                  <a:pt x="2443" y="318"/>
                </a:lnTo>
                <a:lnTo>
                  <a:pt x="2433" y="309"/>
                </a:lnTo>
                <a:lnTo>
                  <a:pt x="2428" y="305"/>
                </a:lnTo>
                <a:lnTo>
                  <a:pt x="2424" y="302"/>
                </a:lnTo>
                <a:lnTo>
                  <a:pt x="2420" y="300"/>
                </a:lnTo>
                <a:lnTo>
                  <a:pt x="2417" y="300"/>
                </a:lnTo>
                <a:lnTo>
                  <a:pt x="2405" y="302"/>
                </a:lnTo>
                <a:lnTo>
                  <a:pt x="2398" y="305"/>
                </a:lnTo>
                <a:lnTo>
                  <a:pt x="2396" y="307"/>
                </a:lnTo>
                <a:lnTo>
                  <a:pt x="2395" y="308"/>
                </a:lnTo>
                <a:lnTo>
                  <a:pt x="2393" y="310"/>
                </a:lnTo>
                <a:lnTo>
                  <a:pt x="2393" y="313"/>
                </a:lnTo>
                <a:lnTo>
                  <a:pt x="2393" y="315"/>
                </a:lnTo>
                <a:lnTo>
                  <a:pt x="2392" y="316"/>
                </a:lnTo>
                <a:lnTo>
                  <a:pt x="2391" y="316"/>
                </a:lnTo>
                <a:lnTo>
                  <a:pt x="2390" y="317"/>
                </a:lnTo>
                <a:lnTo>
                  <a:pt x="2386" y="317"/>
                </a:lnTo>
                <a:lnTo>
                  <a:pt x="2382" y="317"/>
                </a:lnTo>
                <a:lnTo>
                  <a:pt x="2379" y="318"/>
                </a:lnTo>
                <a:lnTo>
                  <a:pt x="2376" y="319"/>
                </a:lnTo>
                <a:lnTo>
                  <a:pt x="2375" y="321"/>
                </a:lnTo>
                <a:lnTo>
                  <a:pt x="2375" y="322"/>
                </a:lnTo>
                <a:lnTo>
                  <a:pt x="2375" y="324"/>
                </a:lnTo>
                <a:lnTo>
                  <a:pt x="2376" y="328"/>
                </a:lnTo>
                <a:lnTo>
                  <a:pt x="2378" y="334"/>
                </a:lnTo>
                <a:lnTo>
                  <a:pt x="2381" y="338"/>
                </a:lnTo>
                <a:lnTo>
                  <a:pt x="2385" y="342"/>
                </a:lnTo>
                <a:lnTo>
                  <a:pt x="2388" y="346"/>
                </a:lnTo>
                <a:lnTo>
                  <a:pt x="2396" y="352"/>
                </a:lnTo>
                <a:lnTo>
                  <a:pt x="2401" y="357"/>
                </a:lnTo>
                <a:lnTo>
                  <a:pt x="2402" y="360"/>
                </a:lnTo>
                <a:lnTo>
                  <a:pt x="2402" y="363"/>
                </a:lnTo>
                <a:lnTo>
                  <a:pt x="2402" y="366"/>
                </a:lnTo>
                <a:lnTo>
                  <a:pt x="2400" y="371"/>
                </a:lnTo>
                <a:lnTo>
                  <a:pt x="2397" y="376"/>
                </a:lnTo>
                <a:lnTo>
                  <a:pt x="2395" y="380"/>
                </a:lnTo>
                <a:lnTo>
                  <a:pt x="2397" y="386"/>
                </a:lnTo>
                <a:lnTo>
                  <a:pt x="2403" y="399"/>
                </a:lnTo>
                <a:lnTo>
                  <a:pt x="2406" y="405"/>
                </a:lnTo>
                <a:lnTo>
                  <a:pt x="2407" y="411"/>
                </a:lnTo>
                <a:lnTo>
                  <a:pt x="2407" y="414"/>
                </a:lnTo>
                <a:lnTo>
                  <a:pt x="2406" y="416"/>
                </a:lnTo>
                <a:lnTo>
                  <a:pt x="2404" y="417"/>
                </a:lnTo>
                <a:lnTo>
                  <a:pt x="2402" y="418"/>
                </a:lnTo>
                <a:lnTo>
                  <a:pt x="2396" y="417"/>
                </a:lnTo>
                <a:lnTo>
                  <a:pt x="2389" y="415"/>
                </a:lnTo>
                <a:lnTo>
                  <a:pt x="2383" y="412"/>
                </a:lnTo>
                <a:lnTo>
                  <a:pt x="2376" y="408"/>
                </a:lnTo>
                <a:lnTo>
                  <a:pt x="2370" y="406"/>
                </a:lnTo>
                <a:lnTo>
                  <a:pt x="2365" y="404"/>
                </a:lnTo>
                <a:lnTo>
                  <a:pt x="2364" y="403"/>
                </a:lnTo>
                <a:lnTo>
                  <a:pt x="2362" y="404"/>
                </a:lnTo>
                <a:lnTo>
                  <a:pt x="2361" y="404"/>
                </a:lnTo>
                <a:lnTo>
                  <a:pt x="2361" y="406"/>
                </a:lnTo>
                <a:lnTo>
                  <a:pt x="2360" y="409"/>
                </a:lnTo>
                <a:lnTo>
                  <a:pt x="2358" y="411"/>
                </a:lnTo>
                <a:lnTo>
                  <a:pt x="2356" y="415"/>
                </a:lnTo>
                <a:lnTo>
                  <a:pt x="2352" y="417"/>
                </a:lnTo>
                <a:lnTo>
                  <a:pt x="2347" y="420"/>
                </a:lnTo>
                <a:lnTo>
                  <a:pt x="2342" y="424"/>
                </a:lnTo>
                <a:lnTo>
                  <a:pt x="2336" y="430"/>
                </a:lnTo>
                <a:lnTo>
                  <a:pt x="2330" y="439"/>
                </a:lnTo>
                <a:lnTo>
                  <a:pt x="2314" y="459"/>
                </a:lnTo>
                <a:lnTo>
                  <a:pt x="2299" y="479"/>
                </a:lnTo>
                <a:lnTo>
                  <a:pt x="2287" y="493"/>
                </a:lnTo>
                <a:lnTo>
                  <a:pt x="2279" y="502"/>
                </a:lnTo>
                <a:lnTo>
                  <a:pt x="2277" y="502"/>
                </a:lnTo>
                <a:lnTo>
                  <a:pt x="2277" y="499"/>
                </a:lnTo>
                <a:lnTo>
                  <a:pt x="2276" y="496"/>
                </a:lnTo>
                <a:lnTo>
                  <a:pt x="2275" y="494"/>
                </a:lnTo>
                <a:lnTo>
                  <a:pt x="2275" y="492"/>
                </a:lnTo>
                <a:lnTo>
                  <a:pt x="2274" y="492"/>
                </a:lnTo>
                <a:lnTo>
                  <a:pt x="2273" y="491"/>
                </a:lnTo>
                <a:lnTo>
                  <a:pt x="2272" y="492"/>
                </a:lnTo>
                <a:lnTo>
                  <a:pt x="2269" y="494"/>
                </a:lnTo>
                <a:lnTo>
                  <a:pt x="2264" y="502"/>
                </a:lnTo>
                <a:lnTo>
                  <a:pt x="2258" y="510"/>
                </a:lnTo>
                <a:lnTo>
                  <a:pt x="2255" y="517"/>
                </a:lnTo>
                <a:lnTo>
                  <a:pt x="2252" y="523"/>
                </a:lnTo>
                <a:lnTo>
                  <a:pt x="2251" y="528"/>
                </a:lnTo>
                <a:lnTo>
                  <a:pt x="2251" y="536"/>
                </a:lnTo>
                <a:lnTo>
                  <a:pt x="2252" y="543"/>
                </a:lnTo>
                <a:lnTo>
                  <a:pt x="2252" y="550"/>
                </a:lnTo>
                <a:lnTo>
                  <a:pt x="2253" y="553"/>
                </a:lnTo>
                <a:lnTo>
                  <a:pt x="2256" y="558"/>
                </a:lnTo>
                <a:lnTo>
                  <a:pt x="2266" y="568"/>
                </a:lnTo>
                <a:lnTo>
                  <a:pt x="2269" y="570"/>
                </a:lnTo>
                <a:lnTo>
                  <a:pt x="2272" y="571"/>
                </a:lnTo>
                <a:lnTo>
                  <a:pt x="2276" y="572"/>
                </a:lnTo>
                <a:lnTo>
                  <a:pt x="2279" y="572"/>
                </a:lnTo>
                <a:lnTo>
                  <a:pt x="2287" y="571"/>
                </a:lnTo>
                <a:lnTo>
                  <a:pt x="2295" y="569"/>
                </a:lnTo>
                <a:lnTo>
                  <a:pt x="2302" y="565"/>
                </a:lnTo>
                <a:lnTo>
                  <a:pt x="2311" y="563"/>
                </a:lnTo>
                <a:lnTo>
                  <a:pt x="2315" y="562"/>
                </a:lnTo>
                <a:lnTo>
                  <a:pt x="2319" y="562"/>
                </a:lnTo>
                <a:lnTo>
                  <a:pt x="2323" y="562"/>
                </a:lnTo>
                <a:lnTo>
                  <a:pt x="2329" y="563"/>
                </a:lnTo>
                <a:lnTo>
                  <a:pt x="2342" y="565"/>
                </a:lnTo>
                <a:lnTo>
                  <a:pt x="2347" y="567"/>
                </a:lnTo>
                <a:lnTo>
                  <a:pt x="2347" y="569"/>
                </a:lnTo>
                <a:lnTo>
                  <a:pt x="2342" y="575"/>
                </a:lnTo>
                <a:lnTo>
                  <a:pt x="2338" y="579"/>
                </a:lnTo>
                <a:lnTo>
                  <a:pt x="2334" y="582"/>
                </a:lnTo>
                <a:lnTo>
                  <a:pt x="2329" y="583"/>
                </a:lnTo>
                <a:lnTo>
                  <a:pt x="2323" y="584"/>
                </a:lnTo>
                <a:lnTo>
                  <a:pt x="2320" y="585"/>
                </a:lnTo>
                <a:lnTo>
                  <a:pt x="2317" y="589"/>
                </a:lnTo>
                <a:lnTo>
                  <a:pt x="2317" y="590"/>
                </a:lnTo>
                <a:lnTo>
                  <a:pt x="2317" y="592"/>
                </a:lnTo>
                <a:lnTo>
                  <a:pt x="2318" y="594"/>
                </a:lnTo>
                <a:lnTo>
                  <a:pt x="2319" y="597"/>
                </a:lnTo>
                <a:lnTo>
                  <a:pt x="2326" y="608"/>
                </a:lnTo>
                <a:lnTo>
                  <a:pt x="2335" y="618"/>
                </a:lnTo>
                <a:lnTo>
                  <a:pt x="2337" y="621"/>
                </a:lnTo>
                <a:lnTo>
                  <a:pt x="2338" y="625"/>
                </a:lnTo>
                <a:lnTo>
                  <a:pt x="2337" y="629"/>
                </a:lnTo>
                <a:lnTo>
                  <a:pt x="2335" y="633"/>
                </a:lnTo>
                <a:lnTo>
                  <a:pt x="2326" y="641"/>
                </a:lnTo>
                <a:lnTo>
                  <a:pt x="2319" y="648"/>
                </a:lnTo>
                <a:lnTo>
                  <a:pt x="2312" y="657"/>
                </a:lnTo>
                <a:lnTo>
                  <a:pt x="2304" y="666"/>
                </a:lnTo>
                <a:lnTo>
                  <a:pt x="2300" y="670"/>
                </a:lnTo>
                <a:lnTo>
                  <a:pt x="2294" y="673"/>
                </a:lnTo>
                <a:lnTo>
                  <a:pt x="2288" y="678"/>
                </a:lnTo>
                <a:lnTo>
                  <a:pt x="2279" y="680"/>
                </a:lnTo>
                <a:lnTo>
                  <a:pt x="2271" y="682"/>
                </a:lnTo>
                <a:lnTo>
                  <a:pt x="2262" y="683"/>
                </a:lnTo>
                <a:lnTo>
                  <a:pt x="2253" y="684"/>
                </a:lnTo>
                <a:lnTo>
                  <a:pt x="2245" y="684"/>
                </a:lnTo>
                <a:lnTo>
                  <a:pt x="2238" y="685"/>
                </a:lnTo>
                <a:lnTo>
                  <a:pt x="2234" y="686"/>
                </a:lnTo>
                <a:lnTo>
                  <a:pt x="2232" y="689"/>
                </a:lnTo>
                <a:lnTo>
                  <a:pt x="2230" y="692"/>
                </a:lnTo>
                <a:lnTo>
                  <a:pt x="2229" y="696"/>
                </a:lnTo>
                <a:lnTo>
                  <a:pt x="2228" y="701"/>
                </a:lnTo>
                <a:lnTo>
                  <a:pt x="2226" y="705"/>
                </a:lnTo>
                <a:lnTo>
                  <a:pt x="2222" y="708"/>
                </a:lnTo>
                <a:lnTo>
                  <a:pt x="2204" y="716"/>
                </a:lnTo>
                <a:lnTo>
                  <a:pt x="2179" y="730"/>
                </a:lnTo>
                <a:lnTo>
                  <a:pt x="2173" y="734"/>
                </a:lnTo>
                <a:lnTo>
                  <a:pt x="2167" y="738"/>
                </a:lnTo>
                <a:lnTo>
                  <a:pt x="2162" y="743"/>
                </a:lnTo>
                <a:lnTo>
                  <a:pt x="2158" y="748"/>
                </a:lnTo>
                <a:lnTo>
                  <a:pt x="2155" y="752"/>
                </a:lnTo>
                <a:lnTo>
                  <a:pt x="2152" y="757"/>
                </a:lnTo>
                <a:lnTo>
                  <a:pt x="2151" y="762"/>
                </a:lnTo>
                <a:lnTo>
                  <a:pt x="2152" y="768"/>
                </a:lnTo>
                <a:lnTo>
                  <a:pt x="2155" y="772"/>
                </a:lnTo>
                <a:lnTo>
                  <a:pt x="2157" y="776"/>
                </a:lnTo>
                <a:lnTo>
                  <a:pt x="2159" y="780"/>
                </a:lnTo>
                <a:lnTo>
                  <a:pt x="2162" y="783"/>
                </a:lnTo>
                <a:lnTo>
                  <a:pt x="2169" y="790"/>
                </a:lnTo>
                <a:lnTo>
                  <a:pt x="2176" y="796"/>
                </a:lnTo>
                <a:lnTo>
                  <a:pt x="2183" y="801"/>
                </a:lnTo>
                <a:lnTo>
                  <a:pt x="2190" y="809"/>
                </a:lnTo>
                <a:lnTo>
                  <a:pt x="2193" y="812"/>
                </a:lnTo>
                <a:lnTo>
                  <a:pt x="2195" y="816"/>
                </a:lnTo>
                <a:lnTo>
                  <a:pt x="2198" y="820"/>
                </a:lnTo>
                <a:lnTo>
                  <a:pt x="2200" y="825"/>
                </a:lnTo>
                <a:lnTo>
                  <a:pt x="2206" y="842"/>
                </a:lnTo>
                <a:lnTo>
                  <a:pt x="2208" y="850"/>
                </a:lnTo>
                <a:lnTo>
                  <a:pt x="2207" y="854"/>
                </a:lnTo>
                <a:lnTo>
                  <a:pt x="2206" y="856"/>
                </a:lnTo>
                <a:lnTo>
                  <a:pt x="2203" y="858"/>
                </a:lnTo>
                <a:lnTo>
                  <a:pt x="2199" y="860"/>
                </a:lnTo>
                <a:lnTo>
                  <a:pt x="2195" y="862"/>
                </a:lnTo>
                <a:lnTo>
                  <a:pt x="2194" y="864"/>
                </a:lnTo>
                <a:lnTo>
                  <a:pt x="2195" y="867"/>
                </a:lnTo>
                <a:lnTo>
                  <a:pt x="2198" y="869"/>
                </a:lnTo>
                <a:lnTo>
                  <a:pt x="2201" y="870"/>
                </a:lnTo>
                <a:lnTo>
                  <a:pt x="2206" y="871"/>
                </a:lnTo>
                <a:lnTo>
                  <a:pt x="2210" y="871"/>
                </a:lnTo>
                <a:lnTo>
                  <a:pt x="2215" y="869"/>
                </a:lnTo>
                <a:lnTo>
                  <a:pt x="2228" y="862"/>
                </a:lnTo>
                <a:lnTo>
                  <a:pt x="2242" y="853"/>
                </a:lnTo>
                <a:lnTo>
                  <a:pt x="2249" y="848"/>
                </a:lnTo>
                <a:lnTo>
                  <a:pt x="2255" y="845"/>
                </a:lnTo>
                <a:lnTo>
                  <a:pt x="2259" y="844"/>
                </a:lnTo>
                <a:lnTo>
                  <a:pt x="2262" y="844"/>
                </a:lnTo>
                <a:lnTo>
                  <a:pt x="2270" y="846"/>
                </a:lnTo>
                <a:lnTo>
                  <a:pt x="2279" y="849"/>
                </a:lnTo>
                <a:lnTo>
                  <a:pt x="2282" y="850"/>
                </a:lnTo>
                <a:lnTo>
                  <a:pt x="2284" y="853"/>
                </a:lnTo>
                <a:lnTo>
                  <a:pt x="2286" y="855"/>
                </a:lnTo>
                <a:lnTo>
                  <a:pt x="2284" y="856"/>
                </a:lnTo>
                <a:lnTo>
                  <a:pt x="2283" y="858"/>
                </a:lnTo>
                <a:lnTo>
                  <a:pt x="2281" y="860"/>
                </a:lnTo>
                <a:lnTo>
                  <a:pt x="2278" y="861"/>
                </a:lnTo>
                <a:lnTo>
                  <a:pt x="2275" y="862"/>
                </a:lnTo>
                <a:lnTo>
                  <a:pt x="2272" y="863"/>
                </a:lnTo>
                <a:lnTo>
                  <a:pt x="2269" y="862"/>
                </a:lnTo>
                <a:lnTo>
                  <a:pt x="2262" y="861"/>
                </a:lnTo>
                <a:lnTo>
                  <a:pt x="2256" y="860"/>
                </a:lnTo>
                <a:lnTo>
                  <a:pt x="2250" y="859"/>
                </a:lnTo>
                <a:lnTo>
                  <a:pt x="2245" y="860"/>
                </a:lnTo>
                <a:lnTo>
                  <a:pt x="2242" y="861"/>
                </a:lnTo>
                <a:lnTo>
                  <a:pt x="2239" y="863"/>
                </a:lnTo>
                <a:lnTo>
                  <a:pt x="2237" y="866"/>
                </a:lnTo>
                <a:lnTo>
                  <a:pt x="2235" y="869"/>
                </a:lnTo>
                <a:lnTo>
                  <a:pt x="2231" y="877"/>
                </a:lnTo>
                <a:lnTo>
                  <a:pt x="2228" y="881"/>
                </a:lnTo>
                <a:lnTo>
                  <a:pt x="2224" y="883"/>
                </a:lnTo>
                <a:lnTo>
                  <a:pt x="2222" y="883"/>
                </a:lnTo>
                <a:lnTo>
                  <a:pt x="2218" y="883"/>
                </a:lnTo>
                <a:lnTo>
                  <a:pt x="2216" y="883"/>
                </a:lnTo>
                <a:lnTo>
                  <a:pt x="2214" y="884"/>
                </a:lnTo>
                <a:lnTo>
                  <a:pt x="2212" y="887"/>
                </a:lnTo>
                <a:lnTo>
                  <a:pt x="2211" y="889"/>
                </a:lnTo>
                <a:lnTo>
                  <a:pt x="2210" y="890"/>
                </a:lnTo>
                <a:lnTo>
                  <a:pt x="2208" y="891"/>
                </a:lnTo>
                <a:lnTo>
                  <a:pt x="2206" y="891"/>
                </a:lnTo>
                <a:lnTo>
                  <a:pt x="2201" y="891"/>
                </a:lnTo>
                <a:lnTo>
                  <a:pt x="2194" y="891"/>
                </a:lnTo>
                <a:lnTo>
                  <a:pt x="2189" y="891"/>
                </a:lnTo>
                <a:lnTo>
                  <a:pt x="2185" y="891"/>
                </a:lnTo>
                <a:lnTo>
                  <a:pt x="2183" y="892"/>
                </a:lnTo>
                <a:lnTo>
                  <a:pt x="2182" y="894"/>
                </a:lnTo>
                <a:lnTo>
                  <a:pt x="2181" y="897"/>
                </a:lnTo>
                <a:lnTo>
                  <a:pt x="2181" y="900"/>
                </a:lnTo>
                <a:lnTo>
                  <a:pt x="2181" y="905"/>
                </a:lnTo>
                <a:lnTo>
                  <a:pt x="2183" y="910"/>
                </a:lnTo>
                <a:lnTo>
                  <a:pt x="2186" y="913"/>
                </a:lnTo>
                <a:lnTo>
                  <a:pt x="2189" y="918"/>
                </a:lnTo>
                <a:lnTo>
                  <a:pt x="2193" y="922"/>
                </a:lnTo>
                <a:lnTo>
                  <a:pt x="2199" y="927"/>
                </a:lnTo>
                <a:lnTo>
                  <a:pt x="2203" y="932"/>
                </a:lnTo>
                <a:lnTo>
                  <a:pt x="2207" y="941"/>
                </a:lnTo>
                <a:lnTo>
                  <a:pt x="2210" y="948"/>
                </a:lnTo>
                <a:lnTo>
                  <a:pt x="2212" y="954"/>
                </a:lnTo>
                <a:lnTo>
                  <a:pt x="2212" y="958"/>
                </a:lnTo>
                <a:lnTo>
                  <a:pt x="2212" y="962"/>
                </a:lnTo>
                <a:lnTo>
                  <a:pt x="2213" y="965"/>
                </a:lnTo>
                <a:lnTo>
                  <a:pt x="2214" y="968"/>
                </a:lnTo>
                <a:lnTo>
                  <a:pt x="2216" y="972"/>
                </a:lnTo>
                <a:lnTo>
                  <a:pt x="2221" y="977"/>
                </a:lnTo>
                <a:lnTo>
                  <a:pt x="2226" y="984"/>
                </a:lnTo>
                <a:lnTo>
                  <a:pt x="2233" y="990"/>
                </a:lnTo>
                <a:lnTo>
                  <a:pt x="2240" y="995"/>
                </a:lnTo>
                <a:lnTo>
                  <a:pt x="2249" y="999"/>
                </a:lnTo>
                <a:lnTo>
                  <a:pt x="2258" y="1002"/>
                </a:lnTo>
                <a:lnTo>
                  <a:pt x="2270" y="1006"/>
                </a:lnTo>
                <a:lnTo>
                  <a:pt x="2282" y="1007"/>
                </a:lnTo>
                <a:lnTo>
                  <a:pt x="2296" y="1007"/>
                </a:lnTo>
                <a:lnTo>
                  <a:pt x="2303" y="1007"/>
                </a:lnTo>
                <a:lnTo>
                  <a:pt x="2311" y="1006"/>
                </a:lnTo>
                <a:lnTo>
                  <a:pt x="2317" y="1003"/>
                </a:lnTo>
                <a:lnTo>
                  <a:pt x="2323" y="1001"/>
                </a:lnTo>
                <a:lnTo>
                  <a:pt x="2336" y="996"/>
                </a:lnTo>
                <a:lnTo>
                  <a:pt x="2346" y="991"/>
                </a:lnTo>
                <a:lnTo>
                  <a:pt x="2356" y="986"/>
                </a:lnTo>
                <a:lnTo>
                  <a:pt x="2363" y="981"/>
                </a:lnTo>
                <a:lnTo>
                  <a:pt x="2367" y="980"/>
                </a:lnTo>
                <a:lnTo>
                  <a:pt x="2370" y="980"/>
                </a:lnTo>
                <a:lnTo>
                  <a:pt x="2374" y="980"/>
                </a:lnTo>
                <a:lnTo>
                  <a:pt x="2377" y="981"/>
                </a:lnTo>
                <a:lnTo>
                  <a:pt x="2390" y="988"/>
                </a:lnTo>
                <a:lnTo>
                  <a:pt x="2409" y="997"/>
                </a:lnTo>
                <a:lnTo>
                  <a:pt x="2419" y="1002"/>
                </a:lnTo>
                <a:lnTo>
                  <a:pt x="2428" y="1008"/>
                </a:lnTo>
                <a:lnTo>
                  <a:pt x="2437" y="1015"/>
                </a:lnTo>
                <a:lnTo>
                  <a:pt x="2446" y="1023"/>
                </a:lnTo>
                <a:lnTo>
                  <a:pt x="2454" y="1032"/>
                </a:lnTo>
                <a:lnTo>
                  <a:pt x="2462" y="1037"/>
                </a:lnTo>
                <a:lnTo>
                  <a:pt x="2468" y="1042"/>
                </a:lnTo>
                <a:lnTo>
                  <a:pt x="2475" y="1046"/>
                </a:lnTo>
                <a:lnTo>
                  <a:pt x="2480" y="1051"/>
                </a:lnTo>
                <a:lnTo>
                  <a:pt x="2484" y="1056"/>
                </a:lnTo>
                <a:lnTo>
                  <a:pt x="2486" y="1059"/>
                </a:lnTo>
                <a:lnTo>
                  <a:pt x="2487" y="1062"/>
                </a:lnTo>
                <a:lnTo>
                  <a:pt x="2487" y="1066"/>
                </a:lnTo>
                <a:lnTo>
                  <a:pt x="2487" y="1070"/>
                </a:lnTo>
                <a:lnTo>
                  <a:pt x="2487" y="1089"/>
                </a:lnTo>
                <a:lnTo>
                  <a:pt x="2489" y="1106"/>
                </a:lnTo>
                <a:lnTo>
                  <a:pt x="2491" y="1120"/>
                </a:lnTo>
                <a:lnTo>
                  <a:pt x="2494" y="1129"/>
                </a:lnTo>
                <a:lnTo>
                  <a:pt x="2498" y="1138"/>
                </a:lnTo>
                <a:lnTo>
                  <a:pt x="2503" y="1148"/>
                </a:lnTo>
                <a:lnTo>
                  <a:pt x="2509" y="1157"/>
                </a:lnTo>
                <a:lnTo>
                  <a:pt x="2511" y="1165"/>
                </a:lnTo>
                <a:lnTo>
                  <a:pt x="2515" y="1173"/>
                </a:lnTo>
                <a:lnTo>
                  <a:pt x="2521" y="1185"/>
                </a:lnTo>
                <a:lnTo>
                  <a:pt x="2524" y="1191"/>
                </a:lnTo>
                <a:lnTo>
                  <a:pt x="2525" y="1198"/>
                </a:lnTo>
                <a:lnTo>
                  <a:pt x="2525" y="1201"/>
                </a:lnTo>
                <a:lnTo>
                  <a:pt x="2525" y="1205"/>
                </a:lnTo>
                <a:lnTo>
                  <a:pt x="2524" y="1208"/>
                </a:lnTo>
                <a:lnTo>
                  <a:pt x="2522" y="1211"/>
                </a:lnTo>
                <a:lnTo>
                  <a:pt x="2519" y="1216"/>
                </a:lnTo>
                <a:lnTo>
                  <a:pt x="2519" y="1218"/>
                </a:lnTo>
                <a:lnTo>
                  <a:pt x="2520" y="1219"/>
                </a:lnTo>
                <a:lnTo>
                  <a:pt x="2523" y="1220"/>
                </a:lnTo>
                <a:lnTo>
                  <a:pt x="2529" y="1221"/>
                </a:lnTo>
                <a:lnTo>
                  <a:pt x="2534" y="1225"/>
                </a:lnTo>
                <a:lnTo>
                  <a:pt x="2537" y="1227"/>
                </a:lnTo>
                <a:lnTo>
                  <a:pt x="2539" y="1230"/>
                </a:lnTo>
                <a:lnTo>
                  <a:pt x="2542" y="1233"/>
                </a:lnTo>
                <a:lnTo>
                  <a:pt x="2545" y="1237"/>
                </a:lnTo>
                <a:lnTo>
                  <a:pt x="2551" y="1245"/>
                </a:lnTo>
                <a:lnTo>
                  <a:pt x="2555" y="1252"/>
                </a:lnTo>
                <a:lnTo>
                  <a:pt x="2559" y="1255"/>
                </a:lnTo>
                <a:lnTo>
                  <a:pt x="2562" y="1257"/>
                </a:lnTo>
                <a:lnTo>
                  <a:pt x="2563" y="1258"/>
                </a:lnTo>
                <a:lnTo>
                  <a:pt x="2564" y="1259"/>
                </a:lnTo>
                <a:lnTo>
                  <a:pt x="2563" y="1262"/>
                </a:lnTo>
                <a:lnTo>
                  <a:pt x="2561" y="1266"/>
                </a:lnTo>
                <a:lnTo>
                  <a:pt x="2555" y="1274"/>
                </a:lnTo>
                <a:lnTo>
                  <a:pt x="2550" y="1278"/>
                </a:lnTo>
                <a:lnTo>
                  <a:pt x="2547" y="1280"/>
                </a:lnTo>
                <a:lnTo>
                  <a:pt x="2547" y="1282"/>
                </a:lnTo>
                <a:lnTo>
                  <a:pt x="2549" y="1286"/>
                </a:lnTo>
                <a:lnTo>
                  <a:pt x="2551" y="1291"/>
                </a:lnTo>
                <a:lnTo>
                  <a:pt x="2554" y="1297"/>
                </a:lnTo>
                <a:lnTo>
                  <a:pt x="2555" y="1300"/>
                </a:lnTo>
                <a:lnTo>
                  <a:pt x="2554" y="1303"/>
                </a:lnTo>
                <a:lnTo>
                  <a:pt x="2551" y="1305"/>
                </a:lnTo>
                <a:lnTo>
                  <a:pt x="2544" y="1309"/>
                </a:lnTo>
                <a:lnTo>
                  <a:pt x="2539" y="1316"/>
                </a:lnTo>
                <a:lnTo>
                  <a:pt x="2535" y="1323"/>
                </a:lnTo>
                <a:lnTo>
                  <a:pt x="2532" y="1328"/>
                </a:lnTo>
                <a:lnTo>
                  <a:pt x="2532" y="1332"/>
                </a:lnTo>
                <a:lnTo>
                  <a:pt x="2532" y="1337"/>
                </a:lnTo>
                <a:lnTo>
                  <a:pt x="2533" y="1341"/>
                </a:lnTo>
                <a:lnTo>
                  <a:pt x="2535" y="1346"/>
                </a:lnTo>
                <a:lnTo>
                  <a:pt x="2536" y="1349"/>
                </a:lnTo>
                <a:lnTo>
                  <a:pt x="2538" y="1351"/>
                </a:lnTo>
                <a:lnTo>
                  <a:pt x="2539" y="1351"/>
                </a:lnTo>
                <a:lnTo>
                  <a:pt x="2542" y="1352"/>
                </a:lnTo>
                <a:lnTo>
                  <a:pt x="2546" y="1351"/>
                </a:lnTo>
                <a:lnTo>
                  <a:pt x="2553" y="1348"/>
                </a:lnTo>
                <a:lnTo>
                  <a:pt x="2565" y="1340"/>
                </a:lnTo>
                <a:lnTo>
                  <a:pt x="2578" y="1335"/>
                </a:lnTo>
                <a:lnTo>
                  <a:pt x="2590" y="1329"/>
                </a:lnTo>
                <a:lnTo>
                  <a:pt x="2603" y="1325"/>
                </a:lnTo>
                <a:lnTo>
                  <a:pt x="2605" y="1325"/>
                </a:lnTo>
                <a:lnTo>
                  <a:pt x="2608" y="1325"/>
                </a:lnTo>
                <a:lnTo>
                  <a:pt x="2610" y="1326"/>
                </a:lnTo>
                <a:lnTo>
                  <a:pt x="2612" y="1327"/>
                </a:lnTo>
                <a:lnTo>
                  <a:pt x="2613" y="1330"/>
                </a:lnTo>
                <a:lnTo>
                  <a:pt x="2616" y="1333"/>
                </a:lnTo>
                <a:lnTo>
                  <a:pt x="2617" y="1338"/>
                </a:lnTo>
                <a:lnTo>
                  <a:pt x="2617" y="1342"/>
                </a:lnTo>
                <a:lnTo>
                  <a:pt x="2618" y="1353"/>
                </a:lnTo>
                <a:lnTo>
                  <a:pt x="2620" y="1363"/>
                </a:lnTo>
                <a:lnTo>
                  <a:pt x="2623" y="1371"/>
                </a:lnTo>
                <a:lnTo>
                  <a:pt x="2626" y="1379"/>
                </a:lnTo>
                <a:lnTo>
                  <a:pt x="2628" y="1386"/>
                </a:lnTo>
                <a:lnTo>
                  <a:pt x="2631" y="1392"/>
                </a:lnTo>
                <a:lnTo>
                  <a:pt x="2632" y="1397"/>
                </a:lnTo>
                <a:lnTo>
                  <a:pt x="2633" y="1404"/>
                </a:lnTo>
                <a:lnTo>
                  <a:pt x="2632" y="1410"/>
                </a:lnTo>
                <a:lnTo>
                  <a:pt x="2631" y="1414"/>
                </a:lnTo>
                <a:lnTo>
                  <a:pt x="2629" y="1417"/>
                </a:lnTo>
                <a:lnTo>
                  <a:pt x="2625" y="1418"/>
                </a:lnTo>
                <a:lnTo>
                  <a:pt x="2620" y="1417"/>
                </a:lnTo>
                <a:lnTo>
                  <a:pt x="2615" y="1415"/>
                </a:lnTo>
                <a:lnTo>
                  <a:pt x="2607" y="1410"/>
                </a:lnTo>
                <a:lnTo>
                  <a:pt x="2599" y="1402"/>
                </a:lnTo>
                <a:lnTo>
                  <a:pt x="2594" y="1397"/>
                </a:lnTo>
                <a:lnTo>
                  <a:pt x="2589" y="1394"/>
                </a:lnTo>
                <a:lnTo>
                  <a:pt x="2585" y="1392"/>
                </a:lnTo>
                <a:lnTo>
                  <a:pt x="2581" y="1391"/>
                </a:lnTo>
                <a:lnTo>
                  <a:pt x="2578" y="1390"/>
                </a:lnTo>
                <a:lnTo>
                  <a:pt x="2575" y="1390"/>
                </a:lnTo>
                <a:lnTo>
                  <a:pt x="2571" y="1390"/>
                </a:lnTo>
                <a:lnTo>
                  <a:pt x="2567" y="1391"/>
                </a:lnTo>
                <a:lnTo>
                  <a:pt x="2562" y="1394"/>
                </a:lnTo>
                <a:lnTo>
                  <a:pt x="2558" y="1397"/>
                </a:lnTo>
                <a:lnTo>
                  <a:pt x="2554" y="1402"/>
                </a:lnTo>
                <a:lnTo>
                  <a:pt x="2551" y="1406"/>
                </a:lnTo>
                <a:lnTo>
                  <a:pt x="2551" y="1408"/>
                </a:lnTo>
                <a:lnTo>
                  <a:pt x="2551" y="1410"/>
                </a:lnTo>
                <a:lnTo>
                  <a:pt x="2552" y="1411"/>
                </a:lnTo>
                <a:lnTo>
                  <a:pt x="2554" y="1412"/>
                </a:lnTo>
                <a:lnTo>
                  <a:pt x="2560" y="1415"/>
                </a:lnTo>
                <a:lnTo>
                  <a:pt x="2566" y="1417"/>
                </a:lnTo>
                <a:lnTo>
                  <a:pt x="2574" y="1420"/>
                </a:lnTo>
                <a:lnTo>
                  <a:pt x="2581" y="1424"/>
                </a:lnTo>
                <a:lnTo>
                  <a:pt x="2583" y="1425"/>
                </a:lnTo>
                <a:lnTo>
                  <a:pt x="2585" y="1427"/>
                </a:lnTo>
                <a:lnTo>
                  <a:pt x="2587" y="1429"/>
                </a:lnTo>
                <a:lnTo>
                  <a:pt x="2588" y="1431"/>
                </a:lnTo>
                <a:lnTo>
                  <a:pt x="2588" y="1433"/>
                </a:lnTo>
                <a:lnTo>
                  <a:pt x="2587" y="1434"/>
                </a:lnTo>
                <a:lnTo>
                  <a:pt x="2585" y="1435"/>
                </a:lnTo>
                <a:lnTo>
                  <a:pt x="2582" y="1436"/>
                </a:lnTo>
                <a:lnTo>
                  <a:pt x="2576" y="1437"/>
                </a:lnTo>
                <a:lnTo>
                  <a:pt x="2567" y="1437"/>
                </a:lnTo>
                <a:lnTo>
                  <a:pt x="2560" y="1437"/>
                </a:lnTo>
                <a:lnTo>
                  <a:pt x="2553" y="1438"/>
                </a:lnTo>
                <a:lnTo>
                  <a:pt x="2551" y="1439"/>
                </a:lnTo>
                <a:lnTo>
                  <a:pt x="2549" y="1440"/>
                </a:lnTo>
                <a:lnTo>
                  <a:pt x="2547" y="1442"/>
                </a:lnTo>
                <a:lnTo>
                  <a:pt x="2547" y="1446"/>
                </a:lnTo>
                <a:lnTo>
                  <a:pt x="2550" y="1452"/>
                </a:lnTo>
                <a:lnTo>
                  <a:pt x="2554" y="1461"/>
                </a:lnTo>
                <a:lnTo>
                  <a:pt x="2560" y="1472"/>
                </a:lnTo>
                <a:lnTo>
                  <a:pt x="2567" y="1482"/>
                </a:lnTo>
                <a:lnTo>
                  <a:pt x="2580" y="1501"/>
                </a:lnTo>
                <a:lnTo>
                  <a:pt x="2586" y="1508"/>
                </a:lnTo>
                <a:lnTo>
                  <a:pt x="2615" y="1465"/>
                </a:lnTo>
                <a:lnTo>
                  <a:pt x="2611" y="1459"/>
                </a:lnTo>
                <a:lnTo>
                  <a:pt x="2606" y="1447"/>
                </a:lnTo>
                <a:lnTo>
                  <a:pt x="2605" y="1441"/>
                </a:lnTo>
                <a:lnTo>
                  <a:pt x="2605" y="1436"/>
                </a:lnTo>
                <a:lnTo>
                  <a:pt x="2606" y="1435"/>
                </a:lnTo>
                <a:lnTo>
                  <a:pt x="2608" y="1434"/>
                </a:lnTo>
                <a:lnTo>
                  <a:pt x="2611" y="1434"/>
                </a:lnTo>
                <a:lnTo>
                  <a:pt x="2615" y="1435"/>
                </a:lnTo>
                <a:lnTo>
                  <a:pt x="2628" y="1439"/>
                </a:lnTo>
                <a:lnTo>
                  <a:pt x="2637" y="1443"/>
                </a:lnTo>
                <a:lnTo>
                  <a:pt x="2639" y="1446"/>
                </a:lnTo>
                <a:lnTo>
                  <a:pt x="2641" y="1448"/>
                </a:lnTo>
                <a:lnTo>
                  <a:pt x="2642" y="1452"/>
                </a:lnTo>
                <a:lnTo>
                  <a:pt x="2642" y="1457"/>
                </a:lnTo>
                <a:lnTo>
                  <a:pt x="2641" y="1463"/>
                </a:lnTo>
                <a:lnTo>
                  <a:pt x="2640" y="1469"/>
                </a:lnTo>
                <a:lnTo>
                  <a:pt x="2637" y="1473"/>
                </a:lnTo>
                <a:lnTo>
                  <a:pt x="2634" y="1478"/>
                </a:lnTo>
                <a:lnTo>
                  <a:pt x="2631" y="1482"/>
                </a:lnTo>
                <a:lnTo>
                  <a:pt x="2629" y="1489"/>
                </a:lnTo>
                <a:lnTo>
                  <a:pt x="2628" y="1495"/>
                </a:lnTo>
                <a:lnTo>
                  <a:pt x="2627" y="1502"/>
                </a:lnTo>
                <a:lnTo>
                  <a:pt x="2626" y="1511"/>
                </a:lnTo>
                <a:lnTo>
                  <a:pt x="2625" y="1518"/>
                </a:lnTo>
                <a:lnTo>
                  <a:pt x="2622" y="1525"/>
                </a:lnTo>
                <a:lnTo>
                  <a:pt x="2618" y="1531"/>
                </a:lnTo>
                <a:lnTo>
                  <a:pt x="2613" y="1537"/>
                </a:lnTo>
                <a:lnTo>
                  <a:pt x="2608" y="1542"/>
                </a:lnTo>
                <a:lnTo>
                  <a:pt x="2602" y="1547"/>
                </a:lnTo>
                <a:lnTo>
                  <a:pt x="2597" y="1551"/>
                </a:lnTo>
                <a:lnTo>
                  <a:pt x="2590" y="1558"/>
                </a:lnTo>
                <a:lnTo>
                  <a:pt x="2586" y="1564"/>
                </a:lnTo>
                <a:lnTo>
                  <a:pt x="2582" y="1571"/>
                </a:lnTo>
                <a:lnTo>
                  <a:pt x="2578" y="1579"/>
                </a:lnTo>
                <a:lnTo>
                  <a:pt x="2574" y="1593"/>
                </a:lnTo>
                <a:lnTo>
                  <a:pt x="2569" y="1605"/>
                </a:lnTo>
                <a:lnTo>
                  <a:pt x="2569" y="1611"/>
                </a:lnTo>
                <a:lnTo>
                  <a:pt x="2572" y="1621"/>
                </a:lnTo>
                <a:lnTo>
                  <a:pt x="2575" y="1631"/>
                </a:lnTo>
                <a:lnTo>
                  <a:pt x="2578" y="1643"/>
                </a:lnTo>
                <a:lnTo>
                  <a:pt x="2586" y="1665"/>
                </a:lnTo>
                <a:lnTo>
                  <a:pt x="2590" y="1679"/>
                </a:lnTo>
                <a:lnTo>
                  <a:pt x="2591" y="1684"/>
                </a:lnTo>
                <a:lnTo>
                  <a:pt x="2595" y="1692"/>
                </a:lnTo>
                <a:lnTo>
                  <a:pt x="2600" y="1699"/>
                </a:lnTo>
                <a:lnTo>
                  <a:pt x="2605" y="1706"/>
                </a:lnTo>
                <a:lnTo>
                  <a:pt x="2618" y="1722"/>
                </a:lnTo>
                <a:lnTo>
                  <a:pt x="2627" y="1733"/>
                </a:lnTo>
                <a:lnTo>
                  <a:pt x="2640" y="1740"/>
                </a:lnTo>
                <a:lnTo>
                  <a:pt x="2657" y="1748"/>
                </a:lnTo>
                <a:lnTo>
                  <a:pt x="2661" y="1749"/>
                </a:lnTo>
                <a:lnTo>
                  <a:pt x="2664" y="1752"/>
                </a:lnTo>
                <a:lnTo>
                  <a:pt x="2666" y="1754"/>
                </a:lnTo>
                <a:lnTo>
                  <a:pt x="2667" y="1756"/>
                </a:lnTo>
                <a:lnTo>
                  <a:pt x="2666" y="1758"/>
                </a:lnTo>
                <a:lnTo>
                  <a:pt x="2664" y="1760"/>
                </a:lnTo>
                <a:lnTo>
                  <a:pt x="2660" y="1762"/>
                </a:lnTo>
                <a:lnTo>
                  <a:pt x="2654" y="1763"/>
                </a:lnTo>
                <a:lnTo>
                  <a:pt x="2642" y="1767"/>
                </a:lnTo>
                <a:lnTo>
                  <a:pt x="2632" y="1770"/>
                </a:lnTo>
                <a:lnTo>
                  <a:pt x="2625" y="1775"/>
                </a:lnTo>
                <a:lnTo>
                  <a:pt x="2621" y="1778"/>
                </a:lnTo>
                <a:lnTo>
                  <a:pt x="2619" y="1782"/>
                </a:lnTo>
                <a:lnTo>
                  <a:pt x="2619" y="1786"/>
                </a:lnTo>
                <a:lnTo>
                  <a:pt x="2620" y="1792"/>
                </a:lnTo>
                <a:lnTo>
                  <a:pt x="2623" y="1799"/>
                </a:lnTo>
                <a:lnTo>
                  <a:pt x="2642" y="1822"/>
                </a:lnTo>
                <a:lnTo>
                  <a:pt x="2671" y="1857"/>
                </a:lnTo>
                <a:lnTo>
                  <a:pt x="2686" y="1876"/>
                </a:lnTo>
                <a:lnTo>
                  <a:pt x="2698" y="1893"/>
                </a:lnTo>
                <a:lnTo>
                  <a:pt x="2703" y="1901"/>
                </a:lnTo>
                <a:lnTo>
                  <a:pt x="2707" y="1908"/>
                </a:lnTo>
                <a:lnTo>
                  <a:pt x="2708" y="1914"/>
                </a:lnTo>
                <a:lnTo>
                  <a:pt x="2708" y="1918"/>
                </a:lnTo>
                <a:lnTo>
                  <a:pt x="2706" y="1924"/>
                </a:lnTo>
                <a:lnTo>
                  <a:pt x="2704" y="1929"/>
                </a:lnTo>
                <a:lnTo>
                  <a:pt x="2699" y="1931"/>
                </a:lnTo>
                <a:lnTo>
                  <a:pt x="2696" y="1932"/>
                </a:lnTo>
                <a:lnTo>
                  <a:pt x="2694" y="1933"/>
                </a:lnTo>
                <a:lnTo>
                  <a:pt x="2692" y="1934"/>
                </a:lnTo>
                <a:lnTo>
                  <a:pt x="2691" y="1936"/>
                </a:lnTo>
                <a:lnTo>
                  <a:pt x="2692" y="1940"/>
                </a:lnTo>
                <a:lnTo>
                  <a:pt x="2693" y="1942"/>
                </a:lnTo>
                <a:lnTo>
                  <a:pt x="2695" y="1944"/>
                </a:lnTo>
                <a:lnTo>
                  <a:pt x="2697" y="1945"/>
                </a:lnTo>
                <a:lnTo>
                  <a:pt x="2700" y="1945"/>
                </a:lnTo>
                <a:lnTo>
                  <a:pt x="2707" y="1944"/>
                </a:lnTo>
                <a:lnTo>
                  <a:pt x="2713" y="1943"/>
                </a:lnTo>
                <a:lnTo>
                  <a:pt x="2720" y="1941"/>
                </a:lnTo>
                <a:lnTo>
                  <a:pt x="2727" y="1940"/>
                </a:lnTo>
                <a:lnTo>
                  <a:pt x="2729" y="1940"/>
                </a:lnTo>
                <a:lnTo>
                  <a:pt x="2732" y="1941"/>
                </a:lnTo>
                <a:lnTo>
                  <a:pt x="2733" y="1942"/>
                </a:lnTo>
                <a:lnTo>
                  <a:pt x="2735" y="1944"/>
                </a:lnTo>
                <a:lnTo>
                  <a:pt x="2737" y="1947"/>
                </a:lnTo>
                <a:lnTo>
                  <a:pt x="2740" y="1948"/>
                </a:lnTo>
                <a:lnTo>
                  <a:pt x="2742" y="1950"/>
                </a:lnTo>
                <a:lnTo>
                  <a:pt x="2746" y="1948"/>
                </a:lnTo>
                <a:lnTo>
                  <a:pt x="2749" y="1948"/>
                </a:lnTo>
                <a:lnTo>
                  <a:pt x="2752" y="1950"/>
                </a:lnTo>
                <a:lnTo>
                  <a:pt x="2754" y="1953"/>
                </a:lnTo>
                <a:lnTo>
                  <a:pt x="2756" y="1957"/>
                </a:lnTo>
                <a:lnTo>
                  <a:pt x="2761" y="1969"/>
                </a:lnTo>
                <a:lnTo>
                  <a:pt x="2768" y="1980"/>
                </a:lnTo>
                <a:lnTo>
                  <a:pt x="2773" y="1987"/>
                </a:lnTo>
                <a:lnTo>
                  <a:pt x="2775" y="1990"/>
                </a:lnTo>
                <a:lnTo>
                  <a:pt x="2780" y="1988"/>
                </a:lnTo>
                <a:lnTo>
                  <a:pt x="2785" y="1985"/>
                </a:lnTo>
                <a:close/>
                <a:moveTo>
                  <a:pt x="4946" y="1406"/>
                </a:moveTo>
                <a:lnTo>
                  <a:pt x="4943" y="1405"/>
                </a:lnTo>
                <a:lnTo>
                  <a:pt x="4941" y="1402"/>
                </a:lnTo>
                <a:lnTo>
                  <a:pt x="4939" y="1399"/>
                </a:lnTo>
                <a:lnTo>
                  <a:pt x="4937" y="1396"/>
                </a:lnTo>
                <a:lnTo>
                  <a:pt x="4935" y="1389"/>
                </a:lnTo>
                <a:lnTo>
                  <a:pt x="4934" y="1381"/>
                </a:lnTo>
                <a:lnTo>
                  <a:pt x="4932" y="1372"/>
                </a:lnTo>
                <a:lnTo>
                  <a:pt x="4930" y="1365"/>
                </a:lnTo>
                <a:lnTo>
                  <a:pt x="4927" y="1358"/>
                </a:lnTo>
                <a:lnTo>
                  <a:pt x="4922" y="1351"/>
                </a:lnTo>
                <a:lnTo>
                  <a:pt x="4907" y="1342"/>
                </a:lnTo>
                <a:lnTo>
                  <a:pt x="4889" y="1331"/>
                </a:lnTo>
                <a:lnTo>
                  <a:pt x="4883" y="1327"/>
                </a:lnTo>
                <a:lnTo>
                  <a:pt x="4878" y="1323"/>
                </a:lnTo>
                <a:lnTo>
                  <a:pt x="4876" y="1321"/>
                </a:lnTo>
                <a:lnTo>
                  <a:pt x="4876" y="1319"/>
                </a:lnTo>
                <a:lnTo>
                  <a:pt x="4876" y="1318"/>
                </a:lnTo>
                <a:lnTo>
                  <a:pt x="4877" y="1316"/>
                </a:lnTo>
                <a:lnTo>
                  <a:pt x="4886" y="1308"/>
                </a:lnTo>
                <a:lnTo>
                  <a:pt x="4899" y="1299"/>
                </a:lnTo>
                <a:lnTo>
                  <a:pt x="4904" y="1294"/>
                </a:lnTo>
                <a:lnTo>
                  <a:pt x="4908" y="1288"/>
                </a:lnTo>
                <a:lnTo>
                  <a:pt x="4912" y="1283"/>
                </a:lnTo>
                <a:lnTo>
                  <a:pt x="4913" y="1278"/>
                </a:lnTo>
                <a:lnTo>
                  <a:pt x="4915" y="1265"/>
                </a:lnTo>
                <a:lnTo>
                  <a:pt x="4917" y="1251"/>
                </a:lnTo>
                <a:lnTo>
                  <a:pt x="4920" y="1243"/>
                </a:lnTo>
                <a:lnTo>
                  <a:pt x="4922" y="1237"/>
                </a:lnTo>
                <a:lnTo>
                  <a:pt x="4924" y="1232"/>
                </a:lnTo>
                <a:lnTo>
                  <a:pt x="4928" y="1229"/>
                </a:lnTo>
                <a:lnTo>
                  <a:pt x="4937" y="1223"/>
                </a:lnTo>
                <a:lnTo>
                  <a:pt x="4946" y="1217"/>
                </a:lnTo>
                <a:lnTo>
                  <a:pt x="4949" y="1214"/>
                </a:lnTo>
                <a:lnTo>
                  <a:pt x="4951" y="1211"/>
                </a:lnTo>
                <a:lnTo>
                  <a:pt x="4951" y="1208"/>
                </a:lnTo>
                <a:lnTo>
                  <a:pt x="4950" y="1204"/>
                </a:lnTo>
                <a:lnTo>
                  <a:pt x="4943" y="1194"/>
                </a:lnTo>
                <a:lnTo>
                  <a:pt x="4936" y="1180"/>
                </a:lnTo>
                <a:lnTo>
                  <a:pt x="4934" y="1174"/>
                </a:lnTo>
                <a:lnTo>
                  <a:pt x="4933" y="1169"/>
                </a:lnTo>
                <a:lnTo>
                  <a:pt x="4933" y="1167"/>
                </a:lnTo>
                <a:lnTo>
                  <a:pt x="4933" y="1166"/>
                </a:lnTo>
                <a:lnTo>
                  <a:pt x="4934" y="1165"/>
                </a:lnTo>
                <a:lnTo>
                  <a:pt x="4935" y="1164"/>
                </a:lnTo>
                <a:lnTo>
                  <a:pt x="4938" y="1163"/>
                </a:lnTo>
                <a:lnTo>
                  <a:pt x="4944" y="1161"/>
                </a:lnTo>
                <a:lnTo>
                  <a:pt x="4950" y="1156"/>
                </a:lnTo>
                <a:lnTo>
                  <a:pt x="4956" y="1152"/>
                </a:lnTo>
                <a:lnTo>
                  <a:pt x="4963" y="1147"/>
                </a:lnTo>
                <a:lnTo>
                  <a:pt x="4968" y="1142"/>
                </a:lnTo>
                <a:lnTo>
                  <a:pt x="4971" y="1136"/>
                </a:lnTo>
                <a:lnTo>
                  <a:pt x="4973" y="1132"/>
                </a:lnTo>
                <a:lnTo>
                  <a:pt x="4974" y="1119"/>
                </a:lnTo>
                <a:lnTo>
                  <a:pt x="4974" y="1099"/>
                </a:lnTo>
                <a:lnTo>
                  <a:pt x="4974" y="1089"/>
                </a:lnTo>
                <a:lnTo>
                  <a:pt x="4975" y="1081"/>
                </a:lnTo>
                <a:lnTo>
                  <a:pt x="4977" y="1074"/>
                </a:lnTo>
                <a:lnTo>
                  <a:pt x="4979" y="1070"/>
                </a:lnTo>
                <a:lnTo>
                  <a:pt x="5003" y="1055"/>
                </a:lnTo>
                <a:lnTo>
                  <a:pt x="5048" y="1024"/>
                </a:lnTo>
                <a:lnTo>
                  <a:pt x="5091" y="994"/>
                </a:lnTo>
                <a:lnTo>
                  <a:pt x="5110" y="980"/>
                </a:lnTo>
                <a:lnTo>
                  <a:pt x="5119" y="978"/>
                </a:lnTo>
                <a:lnTo>
                  <a:pt x="5136" y="972"/>
                </a:lnTo>
                <a:lnTo>
                  <a:pt x="5147" y="968"/>
                </a:lnTo>
                <a:lnTo>
                  <a:pt x="5157" y="963"/>
                </a:lnTo>
                <a:lnTo>
                  <a:pt x="5166" y="957"/>
                </a:lnTo>
                <a:lnTo>
                  <a:pt x="5172" y="952"/>
                </a:lnTo>
                <a:lnTo>
                  <a:pt x="5179" y="946"/>
                </a:lnTo>
                <a:lnTo>
                  <a:pt x="5193" y="937"/>
                </a:lnTo>
                <a:lnTo>
                  <a:pt x="5209" y="928"/>
                </a:lnTo>
                <a:lnTo>
                  <a:pt x="5226" y="920"/>
                </a:lnTo>
                <a:lnTo>
                  <a:pt x="5242" y="912"/>
                </a:lnTo>
                <a:lnTo>
                  <a:pt x="5257" y="908"/>
                </a:lnTo>
                <a:lnTo>
                  <a:pt x="5262" y="906"/>
                </a:lnTo>
                <a:lnTo>
                  <a:pt x="5267" y="906"/>
                </a:lnTo>
                <a:lnTo>
                  <a:pt x="5270" y="907"/>
                </a:lnTo>
                <a:lnTo>
                  <a:pt x="5271" y="909"/>
                </a:lnTo>
                <a:lnTo>
                  <a:pt x="5271" y="921"/>
                </a:lnTo>
                <a:lnTo>
                  <a:pt x="5270" y="933"/>
                </a:lnTo>
                <a:lnTo>
                  <a:pt x="5268" y="946"/>
                </a:lnTo>
                <a:lnTo>
                  <a:pt x="5264" y="956"/>
                </a:lnTo>
                <a:lnTo>
                  <a:pt x="5255" y="966"/>
                </a:lnTo>
                <a:lnTo>
                  <a:pt x="5232" y="985"/>
                </a:lnTo>
                <a:lnTo>
                  <a:pt x="5200" y="1010"/>
                </a:lnTo>
                <a:lnTo>
                  <a:pt x="5165" y="1037"/>
                </a:lnTo>
                <a:lnTo>
                  <a:pt x="5128" y="1065"/>
                </a:lnTo>
                <a:lnTo>
                  <a:pt x="5095" y="1090"/>
                </a:lnTo>
                <a:lnTo>
                  <a:pt x="5069" y="1110"/>
                </a:lnTo>
                <a:lnTo>
                  <a:pt x="5055" y="1123"/>
                </a:lnTo>
                <a:lnTo>
                  <a:pt x="5042" y="1136"/>
                </a:lnTo>
                <a:lnTo>
                  <a:pt x="5031" y="1151"/>
                </a:lnTo>
                <a:lnTo>
                  <a:pt x="5025" y="1160"/>
                </a:lnTo>
                <a:lnTo>
                  <a:pt x="5022" y="1167"/>
                </a:lnTo>
                <a:lnTo>
                  <a:pt x="5019" y="1174"/>
                </a:lnTo>
                <a:lnTo>
                  <a:pt x="5018" y="1183"/>
                </a:lnTo>
                <a:lnTo>
                  <a:pt x="5016" y="1190"/>
                </a:lnTo>
                <a:lnTo>
                  <a:pt x="5012" y="1197"/>
                </a:lnTo>
                <a:lnTo>
                  <a:pt x="5008" y="1206"/>
                </a:lnTo>
                <a:lnTo>
                  <a:pt x="5001" y="1213"/>
                </a:lnTo>
                <a:lnTo>
                  <a:pt x="4995" y="1220"/>
                </a:lnTo>
                <a:lnTo>
                  <a:pt x="4990" y="1228"/>
                </a:lnTo>
                <a:lnTo>
                  <a:pt x="4986" y="1234"/>
                </a:lnTo>
                <a:lnTo>
                  <a:pt x="4984" y="1239"/>
                </a:lnTo>
                <a:lnTo>
                  <a:pt x="4978" y="1253"/>
                </a:lnTo>
                <a:lnTo>
                  <a:pt x="4970" y="1270"/>
                </a:lnTo>
                <a:lnTo>
                  <a:pt x="4967" y="1280"/>
                </a:lnTo>
                <a:lnTo>
                  <a:pt x="4964" y="1292"/>
                </a:lnTo>
                <a:lnTo>
                  <a:pt x="4961" y="1304"/>
                </a:lnTo>
                <a:lnTo>
                  <a:pt x="4960" y="1318"/>
                </a:lnTo>
                <a:lnTo>
                  <a:pt x="4961" y="1325"/>
                </a:lnTo>
                <a:lnTo>
                  <a:pt x="4965" y="1331"/>
                </a:lnTo>
                <a:lnTo>
                  <a:pt x="4968" y="1339"/>
                </a:lnTo>
                <a:lnTo>
                  <a:pt x="4973" y="1345"/>
                </a:lnTo>
                <a:lnTo>
                  <a:pt x="4986" y="1357"/>
                </a:lnTo>
                <a:lnTo>
                  <a:pt x="4999" y="1367"/>
                </a:lnTo>
                <a:lnTo>
                  <a:pt x="5006" y="1372"/>
                </a:lnTo>
                <a:lnTo>
                  <a:pt x="5012" y="1377"/>
                </a:lnTo>
                <a:lnTo>
                  <a:pt x="5016" y="1382"/>
                </a:lnTo>
                <a:lnTo>
                  <a:pt x="5019" y="1387"/>
                </a:lnTo>
                <a:lnTo>
                  <a:pt x="5021" y="1391"/>
                </a:lnTo>
                <a:lnTo>
                  <a:pt x="5021" y="1395"/>
                </a:lnTo>
                <a:lnTo>
                  <a:pt x="5019" y="1399"/>
                </a:lnTo>
                <a:lnTo>
                  <a:pt x="5014" y="1404"/>
                </a:lnTo>
                <a:lnTo>
                  <a:pt x="5008" y="1408"/>
                </a:lnTo>
                <a:lnTo>
                  <a:pt x="5001" y="1411"/>
                </a:lnTo>
                <a:lnTo>
                  <a:pt x="4995" y="1412"/>
                </a:lnTo>
                <a:lnTo>
                  <a:pt x="4990" y="1414"/>
                </a:lnTo>
                <a:lnTo>
                  <a:pt x="4978" y="1414"/>
                </a:lnTo>
                <a:lnTo>
                  <a:pt x="4968" y="1413"/>
                </a:lnTo>
                <a:lnTo>
                  <a:pt x="4952" y="1409"/>
                </a:lnTo>
                <a:lnTo>
                  <a:pt x="4946" y="1406"/>
                </a:lnTo>
                <a:close/>
                <a:moveTo>
                  <a:pt x="4805" y="1486"/>
                </a:moveTo>
                <a:lnTo>
                  <a:pt x="4806" y="1495"/>
                </a:lnTo>
                <a:lnTo>
                  <a:pt x="4809" y="1503"/>
                </a:lnTo>
                <a:lnTo>
                  <a:pt x="4812" y="1509"/>
                </a:lnTo>
                <a:lnTo>
                  <a:pt x="4816" y="1515"/>
                </a:lnTo>
                <a:lnTo>
                  <a:pt x="4820" y="1520"/>
                </a:lnTo>
                <a:lnTo>
                  <a:pt x="4824" y="1523"/>
                </a:lnTo>
                <a:lnTo>
                  <a:pt x="4828" y="1525"/>
                </a:lnTo>
                <a:lnTo>
                  <a:pt x="4832" y="1526"/>
                </a:lnTo>
                <a:lnTo>
                  <a:pt x="4836" y="1526"/>
                </a:lnTo>
                <a:lnTo>
                  <a:pt x="4840" y="1524"/>
                </a:lnTo>
                <a:lnTo>
                  <a:pt x="4846" y="1522"/>
                </a:lnTo>
                <a:lnTo>
                  <a:pt x="4853" y="1518"/>
                </a:lnTo>
                <a:lnTo>
                  <a:pt x="4857" y="1514"/>
                </a:lnTo>
                <a:lnTo>
                  <a:pt x="4861" y="1508"/>
                </a:lnTo>
                <a:lnTo>
                  <a:pt x="4862" y="1506"/>
                </a:lnTo>
                <a:lnTo>
                  <a:pt x="4862" y="1503"/>
                </a:lnTo>
                <a:lnTo>
                  <a:pt x="4862" y="1500"/>
                </a:lnTo>
                <a:lnTo>
                  <a:pt x="4860" y="1497"/>
                </a:lnTo>
                <a:lnTo>
                  <a:pt x="4857" y="1492"/>
                </a:lnTo>
                <a:lnTo>
                  <a:pt x="4853" y="1486"/>
                </a:lnTo>
                <a:lnTo>
                  <a:pt x="4847" y="1481"/>
                </a:lnTo>
                <a:lnTo>
                  <a:pt x="4842" y="1477"/>
                </a:lnTo>
                <a:lnTo>
                  <a:pt x="4838" y="1474"/>
                </a:lnTo>
                <a:lnTo>
                  <a:pt x="4833" y="1473"/>
                </a:lnTo>
                <a:lnTo>
                  <a:pt x="4829" y="1472"/>
                </a:lnTo>
                <a:lnTo>
                  <a:pt x="4826" y="1473"/>
                </a:lnTo>
                <a:lnTo>
                  <a:pt x="4814" y="1481"/>
                </a:lnTo>
                <a:lnTo>
                  <a:pt x="4805" y="1486"/>
                </a:lnTo>
                <a:close/>
                <a:moveTo>
                  <a:pt x="3232" y="1752"/>
                </a:moveTo>
                <a:lnTo>
                  <a:pt x="3237" y="1754"/>
                </a:lnTo>
                <a:lnTo>
                  <a:pt x="3244" y="1755"/>
                </a:lnTo>
                <a:lnTo>
                  <a:pt x="3251" y="1756"/>
                </a:lnTo>
                <a:lnTo>
                  <a:pt x="3257" y="1756"/>
                </a:lnTo>
                <a:lnTo>
                  <a:pt x="3262" y="1757"/>
                </a:lnTo>
                <a:lnTo>
                  <a:pt x="3265" y="1759"/>
                </a:lnTo>
                <a:lnTo>
                  <a:pt x="3266" y="1760"/>
                </a:lnTo>
                <a:lnTo>
                  <a:pt x="3267" y="1761"/>
                </a:lnTo>
                <a:lnTo>
                  <a:pt x="3266" y="1763"/>
                </a:lnTo>
                <a:lnTo>
                  <a:pt x="3265" y="1766"/>
                </a:lnTo>
                <a:lnTo>
                  <a:pt x="3260" y="1776"/>
                </a:lnTo>
                <a:lnTo>
                  <a:pt x="3256" y="1782"/>
                </a:lnTo>
                <a:lnTo>
                  <a:pt x="3255" y="1784"/>
                </a:lnTo>
                <a:lnTo>
                  <a:pt x="3255" y="1786"/>
                </a:lnTo>
                <a:lnTo>
                  <a:pt x="3255" y="1789"/>
                </a:lnTo>
                <a:lnTo>
                  <a:pt x="3257" y="1791"/>
                </a:lnTo>
                <a:lnTo>
                  <a:pt x="3259" y="1794"/>
                </a:lnTo>
                <a:lnTo>
                  <a:pt x="3263" y="1796"/>
                </a:lnTo>
                <a:lnTo>
                  <a:pt x="3268" y="1796"/>
                </a:lnTo>
                <a:lnTo>
                  <a:pt x="3275" y="1796"/>
                </a:lnTo>
                <a:lnTo>
                  <a:pt x="3280" y="1796"/>
                </a:lnTo>
                <a:lnTo>
                  <a:pt x="3285" y="1797"/>
                </a:lnTo>
                <a:lnTo>
                  <a:pt x="3287" y="1797"/>
                </a:lnTo>
                <a:lnTo>
                  <a:pt x="3289" y="1798"/>
                </a:lnTo>
                <a:lnTo>
                  <a:pt x="3290" y="1799"/>
                </a:lnTo>
                <a:lnTo>
                  <a:pt x="3291" y="1801"/>
                </a:lnTo>
                <a:lnTo>
                  <a:pt x="3292" y="1803"/>
                </a:lnTo>
                <a:lnTo>
                  <a:pt x="3296" y="1804"/>
                </a:lnTo>
                <a:lnTo>
                  <a:pt x="3300" y="1805"/>
                </a:lnTo>
                <a:lnTo>
                  <a:pt x="3304" y="1806"/>
                </a:lnTo>
                <a:lnTo>
                  <a:pt x="3317" y="1807"/>
                </a:lnTo>
                <a:lnTo>
                  <a:pt x="3330" y="1807"/>
                </a:lnTo>
                <a:lnTo>
                  <a:pt x="3355" y="1807"/>
                </a:lnTo>
                <a:lnTo>
                  <a:pt x="3367" y="1806"/>
                </a:lnTo>
                <a:lnTo>
                  <a:pt x="3377" y="1800"/>
                </a:lnTo>
                <a:lnTo>
                  <a:pt x="3399" y="1784"/>
                </a:lnTo>
                <a:lnTo>
                  <a:pt x="3412" y="1775"/>
                </a:lnTo>
                <a:lnTo>
                  <a:pt x="3423" y="1766"/>
                </a:lnTo>
                <a:lnTo>
                  <a:pt x="3433" y="1758"/>
                </a:lnTo>
                <a:lnTo>
                  <a:pt x="3439" y="1752"/>
                </a:lnTo>
                <a:lnTo>
                  <a:pt x="3447" y="1741"/>
                </a:lnTo>
                <a:lnTo>
                  <a:pt x="3456" y="1730"/>
                </a:lnTo>
                <a:lnTo>
                  <a:pt x="3458" y="1726"/>
                </a:lnTo>
                <a:lnTo>
                  <a:pt x="3458" y="1723"/>
                </a:lnTo>
                <a:lnTo>
                  <a:pt x="3459" y="1720"/>
                </a:lnTo>
                <a:lnTo>
                  <a:pt x="3459" y="1717"/>
                </a:lnTo>
                <a:lnTo>
                  <a:pt x="3458" y="1713"/>
                </a:lnTo>
                <a:lnTo>
                  <a:pt x="3456" y="1709"/>
                </a:lnTo>
                <a:lnTo>
                  <a:pt x="3454" y="1704"/>
                </a:lnTo>
                <a:lnTo>
                  <a:pt x="3451" y="1700"/>
                </a:lnTo>
                <a:lnTo>
                  <a:pt x="3434" y="1682"/>
                </a:lnTo>
                <a:lnTo>
                  <a:pt x="3419" y="1667"/>
                </a:lnTo>
                <a:lnTo>
                  <a:pt x="3411" y="1660"/>
                </a:lnTo>
                <a:lnTo>
                  <a:pt x="3403" y="1656"/>
                </a:lnTo>
                <a:lnTo>
                  <a:pt x="3400" y="1655"/>
                </a:lnTo>
                <a:lnTo>
                  <a:pt x="3396" y="1655"/>
                </a:lnTo>
                <a:lnTo>
                  <a:pt x="3393" y="1656"/>
                </a:lnTo>
                <a:lnTo>
                  <a:pt x="3390" y="1657"/>
                </a:lnTo>
                <a:lnTo>
                  <a:pt x="3374" y="1666"/>
                </a:lnTo>
                <a:lnTo>
                  <a:pt x="3356" y="1674"/>
                </a:lnTo>
                <a:lnTo>
                  <a:pt x="3347" y="1678"/>
                </a:lnTo>
                <a:lnTo>
                  <a:pt x="3339" y="1681"/>
                </a:lnTo>
                <a:lnTo>
                  <a:pt x="3330" y="1683"/>
                </a:lnTo>
                <a:lnTo>
                  <a:pt x="3322" y="1686"/>
                </a:lnTo>
                <a:lnTo>
                  <a:pt x="3314" y="1684"/>
                </a:lnTo>
                <a:lnTo>
                  <a:pt x="3306" y="1683"/>
                </a:lnTo>
                <a:lnTo>
                  <a:pt x="3298" y="1681"/>
                </a:lnTo>
                <a:lnTo>
                  <a:pt x="3290" y="1678"/>
                </a:lnTo>
                <a:lnTo>
                  <a:pt x="3279" y="1673"/>
                </a:lnTo>
                <a:lnTo>
                  <a:pt x="3274" y="1671"/>
                </a:lnTo>
                <a:lnTo>
                  <a:pt x="3275" y="1665"/>
                </a:lnTo>
                <a:lnTo>
                  <a:pt x="3274" y="1654"/>
                </a:lnTo>
                <a:lnTo>
                  <a:pt x="3273" y="1652"/>
                </a:lnTo>
                <a:lnTo>
                  <a:pt x="3271" y="1650"/>
                </a:lnTo>
                <a:lnTo>
                  <a:pt x="3270" y="1648"/>
                </a:lnTo>
                <a:lnTo>
                  <a:pt x="3268" y="1647"/>
                </a:lnTo>
                <a:lnTo>
                  <a:pt x="3266" y="1647"/>
                </a:lnTo>
                <a:lnTo>
                  <a:pt x="3263" y="1648"/>
                </a:lnTo>
                <a:lnTo>
                  <a:pt x="3260" y="1650"/>
                </a:lnTo>
                <a:lnTo>
                  <a:pt x="3256" y="1653"/>
                </a:lnTo>
                <a:lnTo>
                  <a:pt x="3246" y="1661"/>
                </a:lnTo>
                <a:lnTo>
                  <a:pt x="3239" y="1671"/>
                </a:lnTo>
                <a:lnTo>
                  <a:pt x="3232" y="1680"/>
                </a:lnTo>
                <a:lnTo>
                  <a:pt x="3226" y="1690"/>
                </a:lnTo>
                <a:lnTo>
                  <a:pt x="3222" y="1698"/>
                </a:lnTo>
                <a:lnTo>
                  <a:pt x="3220" y="1705"/>
                </a:lnTo>
                <a:lnTo>
                  <a:pt x="3219" y="1711"/>
                </a:lnTo>
                <a:lnTo>
                  <a:pt x="3219" y="1715"/>
                </a:lnTo>
                <a:lnTo>
                  <a:pt x="3222" y="1717"/>
                </a:lnTo>
                <a:lnTo>
                  <a:pt x="3227" y="1719"/>
                </a:lnTo>
                <a:lnTo>
                  <a:pt x="3234" y="1721"/>
                </a:lnTo>
                <a:lnTo>
                  <a:pt x="3240" y="1722"/>
                </a:lnTo>
                <a:lnTo>
                  <a:pt x="3253" y="1725"/>
                </a:lnTo>
                <a:lnTo>
                  <a:pt x="3258" y="1726"/>
                </a:lnTo>
                <a:lnTo>
                  <a:pt x="3251" y="1728"/>
                </a:lnTo>
                <a:lnTo>
                  <a:pt x="3235" y="1734"/>
                </a:lnTo>
                <a:lnTo>
                  <a:pt x="3226" y="1738"/>
                </a:lnTo>
                <a:lnTo>
                  <a:pt x="3219" y="1741"/>
                </a:lnTo>
                <a:lnTo>
                  <a:pt x="3217" y="1743"/>
                </a:lnTo>
                <a:lnTo>
                  <a:pt x="3215" y="1745"/>
                </a:lnTo>
                <a:lnTo>
                  <a:pt x="3214" y="1746"/>
                </a:lnTo>
                <a:lnTo>
                  <a:pt x="3214" y="1748"/>
                </a:lnTo>
                <a:lnTo>
                  <a:pt x="3216" y="1752"/>
                </a:lnTo>
                <a:lnTo>
                  <a:pt x="3219" y="1753"/>
                </a:lnTo>
                <a:lnTo>
                  <a:pt x="3221" y="1754"/>
                </a:lnTo>
                <a:lnTo>
                  <a:pt x="3224" y="1754"/>
                </a:lnTo>
                <a:lnTo>
                  <a:pt x="3230" y="1753"/>
                </a:lnTo>
                <a:lnTo>
                  <a:pt x="3232" y="1752"/>
                </a:lnTo>
                <a:close/>
                <a:moveTo>
                  <a:pt x="3611" y="2283"/>
                </a:moveTo>
                <a:lnTo>
                  <a:pt x="3600" y="2292"/>
                </a:lnTo>
                <a:lnTo>
                  <a:pt x="3582" y="2306"/>
                </a:lnTo>
                <a:lnTo>
                  <a:pt x="3571" y="2312"/>
                </a:lnTo>
                <a:lnTo>
                  <a:pt x="3562" y="2316"/>
                </a:lnTo>
                <a:lnTo>
                  <a:pt x="3558" y="2317"/>
                </a:lnTo>
                <a:lnTo>
                  <a:pt x="3553" y="2318"/>
                </a:lnTo>
                <a:lnTo>
                  <a:pt x="3551" y="2318"/>
                </a:lnTo>
                <a:lnTo>
                  <a:pt x="3548" y="2316"/>
                </a:lnTo>
                <a:lnTo>
                  <a:pt x="3539" y="2309"/>
                </a:lnTo>
                <a:lnTo>
                  <a:pt x="3527" y="2298"/>
                </a:lnTo>
                <a:lnTo>
                  <a:pt x="3522" y="2294"/>
                </a:lnTo>
                <a:lnTo>
                  <a:pt x="3520" y="2290"/>
                </a:lnTo>
                <a:lnTo>
                  <a:pt x="3519" y="2289"/>
                </a:lnTo>
                <a:lnTo>
                  <a:pt x="3520" y="2287"/>
                </a:lnTo>
                <a:lnTo>
                  <a:pt x="3521" y="2286"/>
                </a:lnTo>
                <a:lnTo>
                  <a:pt x="3523" y="2285"/>
                </a:lnTo>
                <a:lnTo>
                  <a:pt x="3534" y="2282"/>
                </a:lnTo>
                <a:lnTo>
                  <a:pt x="3546" y="2276"/>
                </a:lnTo>
                <a:lnTo>
                  <a:pt x="3550" y="2273"/>
                </a:lnTo>
                <a:lnTo>
                  <a:pt x="3552" y="2269"/>
                </a:lnTo>
                <a:lnTo>
                  <a:pt x="3553" y="2267"/>
                </a:lnTo>
                <a:lnTo>
                  <a:pt x="3553" y="2265"/>
                </a:lnTo>
                <a:lnTo>
                  <a:pt x="3553" y="2262"/>
                </a:lnTo>
                <a:lnTo>
                  <a:pt x="3552" y="2260"/>
                </a:lnTo>
                <a:lnTo>
                  <a:pt x="3546" y="2248"/>
                </a:lnTo>
                <a:lnTo>
                  <a:pt x="3538" y="2237"/>
                </a:lnTo>
                <a:lnTo>
                  <a:pt x="3534" y="2232"/>
                </a:lnTo>
                <a:lnTo>
                  <a:pt x="3531" y="2227"/>
                </a:lnTo>
                <a:lnTo>
                  <a:pt x="3530" y="2223"/>
                </a:lnTo>
                <a:lnTo>
                  <a:pt x="3531" y="2219"/>
                </a:lnTo>
                <a:lnTo>
                  <a:pt x="3534" y="2216"/>
                </a:lnTo>
                <a:lnTo>
                  <a:pt x="3541" y="2211"/>
                </a:lnTo>
                <a:lnTo>
                  <a:pt x="3549" y="2206"/>
                </a:lnTo>
                <a:lnTo>
                  <a:pt x="3558" y="2202"/>
                </a:lnTo>
                <a:lnTo>
                  <a:pt x="3572" y="2195"/>
                </a:lnTo>
                <a:lnTo>
                  <a:pt x="3580" y="2192"/>
                </a:lnTo>
                <a:lnTo>
                  <a:pt x="3585" y="2188"/>
                </a:lnTo>
                <a:lnTo>
                  <a:pt x="3595" y="2182"/>
                </a:lnTo>
                <a:lnTo>
                  <a:pt x="3602" y="2179"/>
                </a:lnTo>
                <a:lnTo>
                  <a:pt x="3607" y="2177"/>
                </a:lnTo>
                <a:lnTo>
                  <a:pt x="3609" y="2177"/>
                </a:lnTo>
                <a:lnTo>
                  <a:pt x="3611" y="2177"/>
                </a:lnTo>
                <a:lnTo>
                  <a:pt x="3612" y="2177"/>
                </a:lnTo>
                <a:lnTo>
                  <a:pt x="3612" y="2178"/>
                </a:lnTo>
                <a:lnTo>
                  <a:pt x="3619" y="2187"/>
                </a:lnTo>
                <a:lnTo>
                  <a:pt x="3627" y="2198"/>
                </a:lnTo>
                <a:lnTo>
                  <a:pt x="3626" y="2208"/>
                </a:lnTo>
                <a:lnTo>
                  <a:pt x="3622" y="2220"/>
                </a:lnTo>
                <a:lnTo>
                  <a:pt x="3619" y="2229"/>
                </a:lnTo>
                <a:lnTo>
                  <a:pt x="3618" y="2233"/>
                </a:lnTo>
                <a:lnTo>
                  <a:pt x="3617" y="2244"/>
                </a:lnTo>
                <a:lnTo>
                  <a:pt x="3616" y="2264"/>
                </a:lnTo>
                <a:lnTo>
                  <a:pt x="3616" y="2271"/>
                </a:lnTo>
                <a:lnTo>
                  <a:pt x="3614" y="2277"/>
                </a:lnTo>
                <a:lnTo>
                  <a:pt x="3612" y="2282"/>
                </a:lnTo>
                <a:lnTo>
                  <a:pt x="3611" y="2283"/>
                </a:lnTo>
                <a:close/>
                <a:moveTo>
                  <a:pt x="3660" y="2258"/>
                </a:moveTo>
                <a:lnTo>
                  <a:pt x="3659" y="2272"/>
                </a:lnTo>
                <a:lnTo>
                  <a:pt x="3657" y="2281"/>
                </a:lnTo>
                <a:lnTo>
                  <a:pt x="3656" y="2284"/>
                </a:lnTo>
                <a:lnTo>
                  <a:pt x="3655" y="2286"/>
                </a:lnTo>
                <a:lnTo>
                  <a:pt x="3654" y="2287"/>
                </a:lnTo>
                <a:lnTo>
                  <a:pt x="3651" y="2289"/>
                </a:lnTo>
                <a:lnTo>
                  <a:pt x="3649" y="2291"/>
                </a:lnTo>
                <a:lnTo>
                  <a:pt x="3648" y="2292"/>
                </a:lnTo>
                <a:lnTo>
                  <a:pt x="3648" y="2294"/>
                </a:lnTo>
                <a:lnTo>
                  <a:pt x="3649" y="2295"/>
                </a:lnTo>
                <a:lnTo>
                  <a:pt x="3651" y="2298"/>
                </a:lnTo>
                <a:lnTo>
                  <a:pt x="3653" y="2304"/>
                </a:lnTo>
                <a:lnTo>
                  <a:pt x="3655" y="2306"/>
                </a:lnTo>
                <a:lnTo>
                  <a:pt x="3658" y="2307"/>
                </a:lnTo>
                <a:lnTo>
                  <a:pt x="3661" y="2309"/>
                </a:lnTo>
                <a:lnTo>
                  <a:pt x="3665" y="2310"/>
                </a:lnTo>
                <a:lnTo>
                  <a:pt x="3668" y="2311"/>
                </a:lnTo>
                <a:lnTo>
                  <a:pt x="3670" y="2313"/>
                </a:lnTo>
                <a:lnTo>
                  <a:pt x="3669" y="2315"/>
                </a:lnTo>
                <a:lnTo>
                  <a:pt x="3665" y="2318"/>
                </a:lnTo>
                <a:lnTo>
                  <a:pt x="3652" y="2329"/>
                </a:lnTo>
                <a:lnTo>
                  <a:pt x="3633" y="2340"/>
                </a:lnTo>
                <a:lnTo>
                  <a:pt x="3626" y="2347"/>
                </a:lnTo>
                <a:lnTo>
                  <a:pt x="3621" y="2352"/>
                </a:lnTo>
                <a:lnTo>
                  <a:pt x="3619" y="2354"/>
                </a:lnTo>
                <a:lnTo>
                  <a:pt x="3619" y="2356"/>
                </a:lnTo>
                <a:lnTo>
                  <a:pt x="3621" y="2358"/>
                </a:lnTo>
                <a:lnTo>
                  <a:pt x="3624" y="2360"/>
                </a:lnTo>
                <a:lnTo>
                  <a:pt x="3632" y="2361"/>
                </a:lnTo>
                <a:lnTo>
                  <a:pt x="3644" y="2361"/>
                </a:lnTo>
                <a:lnTo>
                  <a:pt x="3659" y="2359"/>
                </a:lnTo>
                <a:lnTo>
                  <a:pt x="3674" y="2357"/>
                </a:lnTo>
                <a:lnTo>
                  <a:pt x="3700" y="2352"/>
                </a:lnTo>
                <a:lnTo>
                  <a:pt x="3712" y="2350"/>
                </a:lnTo>
                <a:lnTo>
                  <a:pt x="3721" y="2349"/>
                </a:lnTo>
                <a:lnTo>
                  <a:pt x="3742" y="2348"/>
                </a:lnTo>
                <a:lnTo>
                  <a:pt x="3754" y="2346"/>
                </a:lnTo>
                <a:lnTo>
                  <a:pt x="3765" y="2344"/>
                </a:lnTo>
                <a:lnTo>
                  <a:pt x="3769" y="2342"/>
                </a:lnTo>
                <a:lnTo>
                  <a:pt x="3773" y="2341"/>
                </a:lnTo>
                <a:lnTo>
                  <a:pt x="3776" y="2339"/>
                </a:lnTo>
                <a:lnTo>
                  <a:pt x="3779" y="2337"/>
                </a:lnTo>
                <a:lnTo>
                  <a:pt x="3780" y="2333"/>
                </a:lnTo>
                <a:lnTo>
                  <a:pt x="3781" y="2329"/>
                </a:lnTo>
                <a:lnTo>
                  <a:pt x="3780" y="2324"/>
                </a:lnTo>
                <a:lnTo>
                  <a:pt x="3779" y="2319"/>
                </a:lnTo>
                <a:lnTo>
                  <a:pt x="3776" y="2314"/>
                </a:lnTo>
                <a:lnTo>
                  <a:pt x="3776" y="2310"/>
                </a:lnTo>
                <a:lnTo>
                  <a:pt x="3776" y="2306"/>
                </a:lnTo>
                <a:lnTo>
                  <a:pt x="3780" y="2303"/>
                </a:lnTo>
                <a:lnTo>
                  <a:pt x="3785" y="2295"/>
                </a:lnTo>
                <a:lnTo>
                  <a:pt x="3789" y="2290"/>
                </a:lnTo>
                <a:lnTo>
                  <a:pt x="3791" y="2284"/>
                </a:lnTo>
                <a:lnTo>
                  <a:pt x="3791" y="2276"/>
                </a:lnTo>
                <a:lnTo>
                  <a:pt x="3790" y="2265"/>
                </a:lnTo>
                <a:lnTo>
                  <a:pt x="3785" y="2247"/>
                </a:lnTo>
                <a:lnTo>
                  <a:pt x="3782" y="2238"/>
                </a:lnTo>
                <a:lnTo>
                  <a:pt x="3776" y="2229"/>
                </a:lnTo>
                <a:lnTo>
                  <a:pt x="3774" y="2226"/>
                </a:lnTo>
                <a:lnTo>
                  <a:pt x="3771" y="2222"/>
                </a:lnTo>
                <a:lnTo>
                  <a:pt x="3768" y="2220"/>
                </a:lnTo>
                <a:lnTo>
                  <a:pt x="3765" y="2218"/>
                </a:lnTo>
                <a:lnTo>
                  <a:pt x="3757" y="2210"/>
                </a:lnTo>
                <a:lnTo>
                  <a:pt x="3744" y="2199"/>
                </a:lnTo>
                <a:lnTo>
                  <a:pt x="3730" y="2185"/>
                </a:lnTo>
                <a:lnTo>
                  <a:pt x="3717" y="2170"/>
                </a:lnTo>
                <a:lnTo>
                  <a:pt x="3704" y="2154"/>
                </a:lnTo>
                <a:lnTo>
                  <a:pt x="3694" y="2141"/>
                </a:lnTo>
                <a:lnTo>
                  <a:pt x="3691" y="2136"/>
                </a:lnTo>
                <a:lnTo>
                  <a:pt x="3687" y="2132"/>
                </a:lnTo>
                <a:lnTo>
                  <a:pt x="3686" y="2129"/>
                </a:lnTo>
                <a:lnTo>
                  <a:pt x="3687" y="2127"/>
                </a:lnTo>
                <a:lnTo>
                  <a:pt x="3697" y="2121"/>
                </a:lnTo>
                <a:lnTo>
                  <a:pt x="3713" y="2112"/>
                </a:lnTo>
                <a:lnTo>
                  <a:pt x="3719" y="2106"/>
                </a:lnTo>
                <a:lnTo>
                  <a:pt x="3723" y="2099"/>
                </a:lnTo>
                <a:lnTo>
                  <a:pt x="3724" y="2096"/>
                </a:lnTo>
                <a:lnTo>
                  <a:pt x="3724" y="2094"/>
                </a:lnTo>
                <a:lnTo>
                  <a:pt x="3723" y="2091"/>
                </a:lnTo>
                <a:lnTo>
                  <a:pt x="3720" y="2088"/>
                </a:lnTo>
                <a:lnTo>
                  <a:pt x="3713" y="2084"/>
                </a:lnTo>
                <a:lnTo>
                  <a:pt x="3704" y="2079"/>
                </a:lnTo>
                <a:lnTo>
                  <a:pt x="3696" y="2076"/>
                </a:lnTo>
                <a:lnTo>
                  <a:pt x="3688" y="2074"/>
                </a:lnTo>
                <a:lnTo>
                  <a:pt x="3681" y="2072"/>
                </a:lnTo>
                <a:lnTo>
                  <a:pt x="3676" y="2070"/>
                </a:lnTo>
                <a:lnTo>
                  <a:pt x="3674" y="2069"/>
                </a:lnTo>
                <a:lnTo>
                  <a:pt x="3673" y="2068"/>
                </a:lnTo>
                <a:lnTo>
                  <a:pt x="3673" y="2066"/>
                </a:lnTo>
                <a:lnTo>
                  <a:pt x="3673" y="2065"/>
                </a:lnTo>
                <a:lnTo>
                  <a:pt x="3682" y="2049"/>
                </a:lnTo>
                <a:lnTo>
                  <a:pt x="3690" y="2041"/>
                </a:lnTo>
                <a:lnTo>
                  <a:pt x="3668" y="2030"/>
                </a:lnTo>
                <a:lnTo>
                  <a:pt x="3656" y="2035"/>
                </a:lnTo>
                <a:lnTo>
                  <a:pt x="3639" y="2044"/>
                </a:lnTo>
                <a:lnTo>
                  <a:pt x="3634" y="2048"/>
                </a:lnTo>
                <a:lnTo>
                  <a:pt x="3629" y="2050"/>
                </a:lnTo>
                <a:lnTo>
                  <a:pt x="3622" y="2052"/>
                </a:lnTo>
                <a:lnTo>
                  <a:pt x="3616" y="2051"/>
                </a:lnTo>
                <a:lnTo>
                  <a:pt x="3612" y="2051"/>
                </a:lnTo>
                <a:lnTo>
                  <a:pt x="3608" y="2051"/>
                </a:lnTo>
                <a:lnTo>
                  <a:pt x="3604" y="2052"/>
                </a:lnTo>
                <a:lnTo>
                  <a:pt x="3599" y="2054"/>
                </a:lnTo>
                <a:lnTo>
                  <a:pt x="3592" y="2056"/>
                </a:lnTo>
                <a:lnTo>
                  <a:pt x="3590" y="2059"/>
                </a:lnTo>
                <a:lnTo>
                  <a:pt x="3593" y="2062"/>
                </a:lnTo>
                <a:lnTo>
                  <a:pt x="3603" y="2069"/>
                </a:lnTo>
                <a:lnTo>
                  <a:pt x="3607" y="2073"/>
                </a:lnTo>
                <a:lnTo>
                  <a:pt x="3610" y="2077"/>
                </a:lnTo>
                <a:lnTo>
                  <a:pt x="3612" y="2081"/>
                </a:lnTo>
                <a:lnTo>
                  <a:pt x="3612" y="2083"/>
                </a:lnTo>
                <a:lnTo>
                  <a:pt x="3598" y="2097"/>
                </a:lnTo>
                <a:lnTo>
                  <a:pt x="3588" y="2108"/>
                </a:lnTo>
                <a:lnTo>
                  <a:pt x="3607" y="2117"/>
                </a:lnTo>
                <a:lnTo>
                  <a:pt x="3603" y="2128"/>
                </a:lnTo>
                <a:lnTo>
                  <a:pt x="3608" y="2127"/>
                </a:lnTo>
                <a:lnTo>
                  <a:pt x="3616" y="2123"/>
                </a:lnTo>
                <a:lnTo>
                  <a:pt x="3620" y="2123"/>
                </a:lnTo>
                <a:lnTo>
                  <a:pt x="3625" y="2123"/>
                </a:lnTo>
                <a:lnTo>
                  <a:pt x="3626" y="2125"/>
                </a:lnTo>
                <a:lnTo>
                  <a:pt x="3626" y="2126"/>
                </a:lnTo>
                <a:lnTo>
                  <a:pt x="3626" y="2127"/>
                </a:lnTo>
                <a:lnTo>
                  <a:pt x="3625" y="2129"/>
                </a:lnTo>
                <a:lnTo>
                  <a:pt x="3621" y="2133"/>
                </a:lnTo>
                <a:lnTo>
                  <a:pt x="3619" y="2135"/>
                </a:lnTo>
                <a:lnTo>
                  <a:pt x="3616" y="2136"/>
                </a:lnTo>
                <a:lnTo>
                  <a:pt x="3614" y="2137"/>
                </a:lnTo>
                <a:lnTo>
                  <a:pt x="3612" y="2137"/>
                </a:lnTo>
                <a:lnTo>
                  <a:pt x="3610" y="2138"/>
                </a:lnTo>
                <a:lnTo>
                  <a:pt x="3609" y="2140"/>
                </a:lnTo>
                <a:lnTo>
                  <a:pt x="3609" y="2143"/>
                </a:lnTo>
                <a:lnTo>
                  <a:pt x="3615" y="2153"/>
                </a:lnTo>
                <a:lnTo>
                  <a:pt x="3617" y="2160"/>
                </a:lnTo>
                <a:lnTo>
                  <a:pt x="3617" y="2161"/>
                </a:lnTo>
                <a:lnTo>
                  <a:pt x="3617" y="2161"/>
                </a:lnTo>
                <a:lnTo>
                  <a:pt x="3618" y="2162"/>
                </a:lnTo>
                <a:lnTo>
                  <a:pt x="3620" y="2162"/>
                </a:lnTo>
                <a:lnTo>
                  <a:pt x="3625" y="2163"/>
                </a:lnTo>
                <a:lnTo>
                  <a:pt x="3629" y="2163"/>
                </a:lnTo>
                <a:lnTo>
                  <a:pt x="3634" y="2163"/>
                </a:lnTo>
                <a:lnTo>
                  <a:pt x="3638" y="2164"/>
                </a:lnTo>
                <a:lnTo>
                  <a:pt x="3640" y="2165"/>
                </a:lnTo>
                <a:lnTo>
                  <a:pt x="3641" y="2166"/>
                </a:lnTo>
                <a:lnTo>
                  <a:pt x="3642" y="2167"/>
                </a:lnTo>
                <a:lnTo>
                  <a:pt x="3643" y="2170"/>
                </a:lnTo>
                <a:lnTo>
                  <a:pt x="3643" y="2172"/>
                </a:lnTo>
                <a:lnTo>
                  <a:pt x="3646" y="2173"/>
                </a:lnTo>
                <a:lnTo>
                  <a:pt x="3648" y="2173"/>
                </a:lnTo>
                <a:lnTo>
                  <a:pt x="3651" y="2172"/>
                </a:lnTo>
                <a:lnTo>
                  <a:pt x="3653" y="2172"/>
                </a:lnTo>
                <a:lnTo>
                  <a:pt x="3655" y="2173"/>
                </a:lnTo>
                <a:lnTo>
                  <a:pt x="3656" y="2176"/>
                </a:lnTo>
                <a:lnTo>
                  <a:pt x="3655" y="2180"/>
                </a:lnTo>
                <a:lnTo>
                  <a:pt x="3652" y="2192"/>
                </a:lnTo>
                <a:lnTo>
                  <a:pt x="3650" y="2200"/>
                </a:lnTo>
                <a:lnTo>
                  <a:pt x="3649" y="2203"/>
                </a:lnTo>
                <a:lnTo>
                  <a:pt x="3649" y="2205"/>
                </a:lnTo>
                <a:lnTo>
                  <a:pt x="3650" y="2207"/>
                </a:lnTo>
                <a:lnTo>
                  <a:pt x="3651" y="2209"/>
                </a:lnTo>
                <a:lnTo>
                  <a:pt x="3659" y="2209"/>
                </a:lnTo>
                <a:lnTo>
                  <a:pt x="3672" y="2208"/>
                </a:lnTo>
                <a:lnTo>
                  <a:pt x="3678" y="2208"/>
                </a:lnTo>
                <a:lnTo>
                  <a:pt x="3683" y="2208"/>
                </a:lnTo>
                <a:lnTo>
                  <a:pt x="3685" y="2208"/>
                </a:lnTo>
                <a:lnTo>
                  <a:pt x="3687" y="2209"/>
                </a:lnTo>
                <a:lnTo>
                  <a:pt x="3688" y="2210"/>
                </a:lnTo>
                <a:lnTo>
                  <a:pt x="3690" y="2213"/>
                </a:lnTo>
                <a:lnTo>
                  <a:pt x="3688" y="2216"/>
                </a:lnTo>
                <a:lnTo>
                  <a:pt x="3685" y="2221"/>
                </a:lnTo>
                <a:lnTo>
                  <a:pt x="3682" y="2226"/>
                </a:lnTo>
                <a:lnTo>
                  <a:pt x="3677" y="2232"/>
                </a:lnTo>
                <a:lnTo>
                  <a:pt x="3669" y="2241"/>
                </a:lnTo>
                <a:lnTo>
                  <a:pt x="3664" y="2245"/>
                </a:lnTo>
                <a:lnTo>
                  <a:pt x="3660" y="2258"/>
                </a:lnTo>
                <a:close/>
                <a:moveTo>
                  <a:pt x="7619" y="4639"/>
                </a:moveTo>
                <a:lnTo>
                  <a:pt x="7627" y="4628"/>
                </a:lnTo>
                <a:lnTo>
                  <a:pt x="7643" y="4608"/>
                </a:lnTo>
                <a:lnTo>
                  <a:pt x="7656" y="4589"/>
                </a:lnTo>
                <a:lnTo>
                  <a:pt x="7663" y="4578"/>
                </a:lnTo>
                <a:lnTo>
                  <a:pt x="7672" y="4574"/>
                </a:lnTo>
                <a:lnTo>
                  <a:pt x="7680" y="4569"/>
                </a:lnTo>
                <a:lnTo>
                  <a:pt x="7685" y="4554"/>
                </a:lnTo>
                <a:lnTo>
                  <a:pt x="7690" y="4542"/>
                </a:lnTo>
                <a:lnTo>
                  <a:pt x="7692" y="4541"/>
                </a:lnTo>
                <a:lnTo>
                  <a:pt x="7694" y="4539"/>
                </a:lnTo>
                <a:lnTo>
                  <a:pt x="7695" y="4537"/>
                </a:lnTo>
                <a:lnTo>
                  <a:pt x="7696" y="4536"/>
                </a:lnTo>
                <a:lnTo>
                  <a:pt x="7696" y="4535"/>
                </a:lnTo>
                <a:lnTo>
                  <a:pt x="7695" y="4534"/>
                </a:lnTo>
                <a:lnTo>
                  <a:pt x="7691" y="4531"/>
                </a:lnTo>
                <a:lnTo>
                  <a:pt x="7687" y="4527"/>
                </a:lnTo>
                <a:lnTo>
                  <a:pt x="7684" y="4525"/>
                </a:lnTo>
                <a:lnTo>
                  <a:pt x="7680" y="4523"/>
                </a:lnTo>
                <a:lnTo>
                  <a:pt x="7677" y="4522"/>
                </a:lnTo>
                <a:lnTo>
                  <a:pt x="7674" y="4523"/>
                </a:lnTo>
                <a:lnTo>
                  <a:pt x="7668" y="4526"/>
                </a:lnTo>
                <a:lnTo>
                  <a:pt x="7662" y="4531"/>
                </a:lnTo>
                <a:lnTo>
                  <a:pt x="7658" y="4533"/>
                </a:lnTo>
                <a:lnTo>
                  <a:pt x="7655" y="4534"/>
                </a:lnTo>
                <a:lnTo>
                  <a:pt x="7652" y="4534"/>
                </a:lnTo>
                <a:lnTo>
                  <a:pt x="7650" y="4532"/>
                </a:lnTo>
                <a:lnTo>
                  <a:pt x="7641" y="4520"/>
                </a:lnTo>
                <a:lnTo>
                  <a:pt x="7627" y="4504"/>
                </a:lnTo>
                <a:lnTo>
                  <a:pt x="7622" y="4500"/>
                </a:lnTo>
                <a:lnTo>
                  <a:pt x="7618" y="4499"/>
                </a:lnTo>
                <a:lnTo>
                  <a:pt x="7614" y="4499"/>
                </a:lnTo>
                <a:lnTo>
                  <a:pt x="7611" y="4499"/>
                </a:lnTo>
                <a:lnTo>
                  <a:pt x="7609" y="4500"/>
                </a:lnTo>
                <a:lnTo>
                  <a:pt x="7607" y="4500"/>
                </a:lnTo>
                <a:lnTo>
                  <a:pt x="7606" y="4499"/>
                </a:lnTo>
                <a:lnTo>
                  <a:pt x="7605" y="4497"/>
                </a:lnTo>
                <a:lnTo>
                  <a:pt x="7605" y="4493"/>
                </a:lnTo>
                <a:lnTo>
                  <a:pt x="7606" y="4491"/>
                </a:lnTo>
                <a:lnTo>
                  <a:pt x="7609" y="4488"/>
                </a:lnTo>
                <a:lnTo>
                  <a:pt x="7611" y="4486"/>
                </a:lnTo>
                <a:lnTo>
                  <a:pt x="7612" y="4484"/>
                </a:lnTo>
                <a:lnTo>
                  <a:pt x="7611" y="4481"/>
                </a:lnTo>
                <a:lnTo>
                  <a:pt x="7609" y="4478"/>
                </a:lnTo>
                <a:lnTo>
                  <a:pt x="7603" y="4474"/>
                </a:lnTo>
                <a:lnTo>
                  <a:pt x="7594" y="4468"/>
                </a:lnTo>
                <a:lnTo>
                  <a:pt x="7587" y="4462"/>
                </a:lnTo>
                <a:lnTo>
                  <a:pt x="7580" y="4455"/>
                </a:lnTo>
                <a:lnTo>
                  <a:pt x="7574" y="4447"/>
                </a:lnTo>
                <a:lnTo>
                  <a:pt x="7568" y="4441"/>
                </a:lnTo>
                <a:lnTo>
                  <a:pt x="7563" y="4437"/>
                </a:lnTo>
                <a:lnTo>
                  <a:pt x="7561" y="4435"/>
                </a:lnTo>
                <a:lnTo>
                  <a:pt x="7559" y="4435"/>
                </a:lnTo>
                <a:lnTo>
                  <a:pt x="7558" y="4435"/>
                </a:lnTo>
                <a:lnTo>
                  <a:pt x="7556" y="4437"/>
                </a:lnTo>
                <a:lnTo>
                  <a:pt x="7555" y="4440"/>
                </a:lnTo>
                <a:lnTo>
                  <a:pt x="7554" y="4442"/>
                </a:lnTo>
                <a:lnTo>
                  <a:pt x="7555" y="4444"/>
                </a:lnTo>
                <a:lnTo>
                  <a:pt x="7555" y="4446"/>
                </a:lnTo>
                <a:lnTo>
                  <a:pt x="7558" y="4451"/>
                </a:lnTo>
                <a:lnTo>
                  <a:pt x="7561" y="4459"/>
                </a:lnTo>
                <a:lnTo>
                  <a:pt x="7564" y="4469"/>
                </a:lnTo>
                <a:lnTo>
                  <a:pt x="7567" y="4478"/>
                </a:lnTo>
                <a:lnTo>
                  <a:pt x="7570" y="4484"/>
                </a:lnTo>
                <a:lnTo>
                  <a:pt x="7574" y="4487"/>
                </a:lnTo>
                <a:lnTo>
                  <a:pt x="7578" y="4489"/>
                </a:lnTo>
                <a:lnTo>
                  <a:pt x="7585" y="4492"/>
                </a:lnTo>
                <a:lnTo>
                  <a:pt x="7589" y="4496"/>
                </a:lnTo>
                <a:lnTo>
                  <a:pt x="7592" y="4499"/>
                </a:lnTo>
                <a:lnTo>
                  <a:pt x="7596" y="4503"/>
                </a:lnTo>
                <a:lnTo>
                  <a:pt x="7597" y="4509"/>
                </a:lnTo>
                <a:lnTo>
                  <a:pt x="7599" y="4522"/>
                </a:lnTo>
                <a:lnTo>
                  <a:pt x="7601" y="4533"/>
                </a:lnTo>
                <a:lnTo>
                  <a:pt x="7601" y="4537"/>
                </a:lnTo>
                <a:lnTo>
                  <a:pt x="7600" y="4543"/>
                </a:lnTo>
                <a:lnTo>
                  <a:pt x="7598" y="4547"/>
                </a:lnTo>
                <a:lnTo>
                  <a:pt x="7596" y="4551"/>
                </a:lnTo>
                <a:lnTo>
                  <a:pt x="7589" y="4559"/>
                </a:lnTo>
                <a:lnTo>
                  <a:pt x="7584" y="4568"/>
                </a:lnTo>
                <a:lnTo>
                  <a:pt x="7583" y="4572"/>
                </a:lnTo>
                <a:lnTo>
                  <a:pt x="7582" y="4576"/>
                </a:lnTo>
                <a:lnTo>
                  <a:pt x="7582" y="4579"/>
                </a:lnTo>
                <a:lnTo>
                  <a:pt x="7582" y="4583"/>
                </a:lnTo>
                <a:lnTo>
                  <a:pt x="7585" y="4585"/>
                </a:lnTo>
                <a:lnTo>
                  <a:pt x="7590" y="4587"/>
                </a:lnTo>
                <a:lnTo>
                  <a:pt x="7597" y="4588"/>
                </a:lnTo>
                <a:lnTo>
                  <a:pt x="7604" y="4590"/>
                </a:lnTo>
                <a:lnTo>
                  <a:pt x="7610" y="4591"/>
                </a:lnTo>
                <a:lnTo>
                  <a:pt x="7615" y="4593"/>
                </a:lnTo>
                <a:lnTo>
                  <a:pt x="7617" y="4594"/>
                </a:lnTo>
                <a:lnTo>
                  <a:pt x="7618" y="4595"/>
                </a:lnTo>
                <a:lnTo>
                  <a:pt x="7618" y="4597"/>
                </a:lnTo>
                <a:lnTo>
                  <a:pt x="7617" y="4598"/>
                </a:lnTo>
                <a:lnTo>
                  <a:pt x="7611" y="4605"/>
                </a:lnTo>
                <a:lnTo>
                  <a:pt x="7609" y="4611"/>
                </a:lnTo>
                <a:lnTo>
                  <a:pt x="7608" y="4617"/>
                </a:lnTo>
                <a:lnTo>
                  <a:pt x="7608" y="4624"/>
                </a:lnTo>
                <a:lnTo>
                  <a:pt x="7607" y="4633"/>
                </a:lnTo>
                <a:lnTo>
                  <a:pt x="7606" y="4639"/>
                </a:lnTo>
                <a:lnTo>
                  <a:pt x="7606" y="4642"/>
                </a:lnTo>
                <a:lnTo>
                  <a:pt x="7606" y="4644"/>
                </a:lnTo>
                <a:lnTo>
                  <a:pt x="7607" y="4645"/>
                </a:lnTo>
                <a:lnTo>
                  <a:pt x="7608" y="4645"/>
                </a:lnTo>
                <a:lnTo>
                  <a:pt x="7613" y="4644"/>
                </a:lnTo>
                <a:lnTo>
                  <a:pt x="7617" y="4642"/>
                </a:lnTo>
                <a:lnTo>
                  <a:pt x="7618" y="4640"/>
                </a:lnTo>
                <a:lnTo>
                  <a:pt x="7619" y="4639"/>
                </a:lnTo>
                <a:close/>
                <a:moveTo>
                  <a:pt x="7423" y="4766"/>
                </a:moveTo>
                <a:lnTo>
                  <a:pt x="7428" y="4773"/>
                </a:lnTo>
                <a:lnTo>
                  <a:pt x="7437" y="4785"/>
                </a:lnTo>
                <a:lnTo>
                  <a:pt x="7443" y="4791"/>
                </a:lnTo>
                <a:lnTo>
                  <a:pt x="7447" y="4797"/>
                </a:lnTo>
                <a:lnTo>
                  <a:pt x="7449" y="4800"/>
                </a:lnTo>
                <a:lnTo>
                  <a:pt x="7449" y="4804"/>
                </a:lnTo>
                <a:lnTo>
                  <a:pt x="7447" y="4806"/>
                </a:lnTo>
                <a:lnTo>
                  <a:pt x="7443" y="4809"/>
                </a:lnTo>
                <a:lnTo>
                  <a:pt x="7442" y="4811"/>
                </a:lnTo>
                <a:lnTo>
                  <a:pt x="7440" y="4813"/>
                </a:lnTo>
                <a:lnTo>
                  <a:pt x="7442" y="4815"/>
                </a:lnTo>
                <a:lnTo>
                  <a:pt x="7443" y="4818"/>
                </a:lnTo>
                <a:lnTo>
                  <a:pt x="7444" y="4819"/>
                </a:lnTo>
                <a:lnTo>
                  <a:pt x="7446" y="4819"/>
                </a:lnTo>
                <a:lnTo>
                  <a:pt x="7448" y="4819"/>
                </a:lnTo>
                <a:lnTo>
                  <a:pt x="7451" y="4819"/>
                </a:lnTo>
                <a:lnTo>
                  <a:pt x="7456" y="4817"/>
                </a:lnTo>
                <a:lnTo>
                  <a:pt x="7462" y="4815"/>
                </a:lnTo>
                <a:lnTo>
                  <a:pt x="7474" y="4808"/>
                </a:lnTo>
                <a:lnTo>
                  <a:pt x="7482" y="4800"/>
                </a:lnTo>
                <a:lnTo>
                  <a:pt x="7491" y="4792"/>
                </a:lnTo>
                <a:lnTo>
                  <a:pt x="7504" y="4782"/>
                </a:lnTo>
                <a:lnTo>
                  <a:pt x="7511" y="4775"/>
                </a:lnTo>
                <a:lnTo>
                  <a:pt x="7516" y="4770"/>
                </a:lnTo>
                <a:lnTo>
                  <a:pt x="7519" y="4765"/>
                </a:lnTo>
                <a:lnTo>
                  <a:pt x="7521" y="4762"/>
                </a:lnTo>
                <a:lnTo>
                  <a:pt x="7521" y="4751"/>
                </a:lnTo>
                <a:lnTo>
                  <a:pt x="7523" y="4737"/>
                </a:lnTo>
                <a:lnTo>
                  <a:pt x="7524" y="4729"/>
                </a:lnTo>
                <a:lnTo>
                  <a:pt x="7526" y="4724"/>
                </a:lnTo>
                <a:lnTo>
                  <a:pt x="7527" y="4722"/>
                </a:lnTo>
                <a:lnTo>
                  <a:pt x="7528" y="4721"/>
                </a:lnTo>
                <a:lnTo>
                  <a:pt x="7530" y="4721"/>
                </a:lnTo>
                <a:lnTo>
                  <a:pt x="7532" y="4721"/>
                </a:lnTo>
                <a:lnTo>
                  <a:pt x="7536" y="4722"/>
                </a:lnTo>
                <a:lnTo>
                  <a:pt x="7540" y="4723"/>
                </a:lnTo>
                <a:lnTo>
                  <a:pt x="7545" y="4723"/>
                </a:lnTo>
                <a:lnTo>
                  <a:pt x="7550" y="4722"/>
                </a:lnTo>
                <a:lnTo>
                  <a:pt x="7555" y="4721"/>
                </a:lnTo>
                <a:lnTo>
                  <a:pt x="7559" y="4719"/>
                </a:lnTo>
                <a:lnTo>
                  <a:pt x="7562" y="4718"/>
                </a:lnTo>
                <a:lnTo>
                  <a:pt x="7564" y="4716"/>
                </a:lnTo>
                <a:lnTo>
                  <a:pt x="7569" y="4705"/>
                </a:lnTo>
                <a:lnTo>
                  <a:pt x="7577" y="4688"/>
                </a:lnTo>
                <a:lnTo>
                  <a:pt x="7584" y="4672"/>
                </a:lnTo>
                <a:lnTo>
                  <a:pt x="7588" y="4663"/>
                </a:lnTo>
                <a:lnTo>
                  <a:pt x="7591" y="4657"/>
                </a:lnTo>
                <a:lnTo>
                  <a:pt x="7594" y="4646"/>
                </a:lnTo>
                <a:lnTo>
                  <a:pt x="7598" y="4637"/>
                </a:lnTo>
                <a:lnTo>
                  <a:pt x="7600" y="4631"/>
                </a:lnTo>
                <a:lnTo>
                  <a:pt x="7598" y="4626"/>
                </a:lnTo>
                <a:lnTo>
                  <a:pt x="7593" y="4618"/>
                </a:lnTo>
                <a:lnTo>
                  <a:pt x="7591" y="4614"/>
                </a:lnTo>
                <a:lnTo>
                  <a:pt x="7588" y="4611"/>
                </a:lnTo>
                <a:lnTo>
                  <a:pt x="7585" y="4610"/>
                </a:lnTo>
                <a:lnTo>
                  <a:pt x="7582" y="4611"/>
                </a:lnTo>
                <a:lnTo>
                  <a:pt x="7577" y="4614"/>
                </a:lnTo>
                <a:lnTo>
                  <a:pt x="7572" y="4618"/>
                </a:lnTo>
                <a:lnTo>
                  <a:pt x="7571" y="4620"/>
                </a:lnTo>
                <a:lnTo>
                  <a:pt x="7569" y="4620"/>
                </a:lnTo>
                <a:lnTo>
                  <a:pt x="7567" y="4620"/>
                </a:lnTo>
                <a:lnTo>
                  <a:pt x="7565" y="4618"/>
                </a:lnTo>
                <a:lnTo>
                  <a:pt x="7560" y="4613"/>
                </a:lnTo>
                <a:lnTo>
                  <a:pt x="7554" y="4609"/>
                </a:lnTo>
                <a:lnTo>
                  <a:pt x="7549" y="4609"/>
                </a:lnTo>
                <a:lnTo>
                  <a:pt x="7546" y="4609"/>
                </a:lnTo>
                <a:lnTo>
                  <a:pt x="7544" y="4610"/>
                </a:lnTo>
                <a:lnTo>
                  <a:pt x="7541" y="4613"/>
                </a:lnTo>
                <a:lnTo>
                  <a:pt x="7536" y="4629"/>
                </a:lnTo>
                <a:lnTo>
                  <a:pt x="7532" y="4643"/>
                </a:lnTo>
                <a:lnTo>
                  <a:pt x="7530" y="4652"/>
                </a:lnTo>
                <a:lnTo>
                  <a:pt x="7525" y="4661"/>
                </a:lnTo>
                <a:lnTo>
                  <a:pt x="7522" y="4667"/>
                </a:lnTo>
                <a:lnTo>
                  <a:pt x="7517" y="4674"/>
                </a:lnTo>
                <a:lnTo>
                  <a:pt x="7510" y="4681"/>
                </a:lnTo>
                <a:lnTo>
                  <a:pt x="7499" y="4689"/>
                </a:lnTo>
                <a:lnTo>
                  <a:pt x="7475" y="4708"/>
                </a:lnTo>
                <a:lnTo>
                  <a:pt x="7453" y="4727"/>
                </a:lnTo>
                <a:lnTo>
                  <a:pt x="7436" y="4743"/>
                </a:lnTo>
                <a:lnTo>
                  <a:pt x="7426" y="4751"/>
                </a:lnTo>
                <a:lnTo>
                  <a:pt x="7424" y="4754"/>
                </a:lnTo>
                <a:lnTo>
                  <a:pt x="7423" y="4756"/>
                </a:lnTo>
                <a:lnTo>
                  <a:pt x="7422" y="4759"/>
                </a:lnTo>
                <a:lnTo>
                  <a:pt x="7422" y="4761"/>
                </a:lnTo>
                <a:lnTo>
                  <a:pt x="7423" y="4765"/>
                </a:lnTo>
                <a:lnTo>
                  <a:pt x="7423" y="4766"/>
                </a:lnTo>
                <a:close/>
                <a:moveTo>
                  <a:pt x="6941" y="4620"/>
                </a:moveTo>
                <a:lnTo>
                  <a:pt x="6946" y="4637"/>
                </a:lnTo>
                <a:lnTo>
                  <a:pt x="6955" y="4664"/>
                </a:lnTo>
                <a:lnTo>
                  <a:pt x="6962" y="4678"/>
                </a:lnTo>
                <a:lnTo>
                  <a:pt x="6968" y="4689"/>
                </a:lnTo>
                <a:lnTo>
                  <a:pt x="6971" y="4695"/>
                </a:lnTo>
                <a:lnTo>
                  <a:pt x="6974" y="4699"/>
                </a:lnTo>
                <a:lnTo>
                  <a:pt x="6977" y="4701"/>
                </a:lnTo>
                <a:lnTo>
                  <a:pt x="6981" y="4702"/>
                </a:lnTo>
                <a:lnTo>
                  <a:pt x="6984" y="4703"/>
                </a:lnTo>
                <a:lnTo>
                  <a:pt x="6987" y="4702"/>
                </a:lnTo>
                <a:lnTo>
                  <a:pt x="6990" y="4701"/>
                </a:lnTo>
                <a:lnTo>
                  <a:pt x="6993" y="4699"/>
                </a:lnTo>
                <a:lnTo>
                  <a:pt x="6999" y="4694"/>
                </a:lnTo>
                <a:lnTo>
                  <a:pt x="7007" y="4687"/>
                </a:lnTo>
                <a:lnTo>
                  <a:pt x="7017" y="4676"/>
                </a:lnTo>
                <a:lnTo>
                  <a:pt x="7022" y="4668"/>
                </a:lnTo>
                <a:lnTo>
                  <a:pt x="7026" y="4662"/>
                </a:lnTo>
                <a:lnTo>
                  <a:pt x="7030" y="4651"/>
                </a:lnTo>
                <a:lnTo>
                  <a:pt x="7031" y="4644"/>
                </a:lnTo>
                <a:lnTo>
                  <a:pt x="7033" y="4639"/>
                </a:lnTo>
                <a:lnTo>
                  <a:pt x="7033" y="4634"/>
                </a:lnTo>
                <a:lnTo>
                  <a:pt x="7033" y="4631"/>
                </a:lnTo>
                <a:lnTo>
                  <a:pt x="7026" y="4622"/>
                </a:lnTo>
                <a:lnTo>
                  <a:pt x="7021" y="4616"/>
                </a:lnTo>
                <a:lnTo>
                  <a:pt x="7026" y="4613"/>
                </a:lnTo>
                <a:lnTo>
                  <a:pt x="7033" y="4606"/>
                </a:lnTo>
                <a:lnTo>
                  <a:pt x="7035" y="4602"/>
                </a:lnTo>
                <a:lnTo>
                  <a:pt x="7036" y="4598"/>
                </a:lnTo>
                <a:lnTo>
                  <a:pt x="7035" y="4596"/>
                </a:lnTo>
                <a:lnTo>
                  <a:pt x="7033" y="4595"/>
                </a:lnTo>
                <a:lnTo>
                  <a:pt x="7031" y="4593"/>
                </a:lnTo>
                <a:lnTo>
                  <a:pt x="7027" y="4592"/>
                </a:lnTo>
                <a:lnTo>
                  <a:pt x="7012" y="4588"/>
                </a:lnTo>
                <a:lnTo>
                  <a:pt x="7003" y="4585"/>
                </a:lnTo>
                <a:lnTo>
                  <a:pt x="7000" y="4584"/>
                </a:lnTo>
                <a:lnTo>
                  <a:pt x="6999" y="4584"/>
                </a:lnTo>
                <a:lnTo>
                  <a:pt x="6999" y="4586"/>
                </a:lnTo>
                <a:lnTo>
                  <a:pt x="7000" y="4588"/>
                </a:lnTo>
                <a:lnTo>
                  <a:pt x="7008" y="4598"/>
                </a:lnTo>
                <a:lnTo>
                  <a:pt x="7012" y="4603"/>
                </a:lnTo>
                <a:lnTo>
                  <a:pt x="7012" y="4605"/>
                </a:lnTo>
                <a:lnTo>
                  <a:pt x="7011" y="4609"/>
                </a:lnTo>
                <a:lnTo>
                  <a:pt x="7010" y="4612"/>
                </a:lnTo>
                <a:lnTo>
                  <a:pt x="7008" y="4614"/>
                </a:lnTo>
                <a:lnTo>
                  <a:pt x="7006" y="4616"/>
                </a:lnTo>
                <a:lnTo>
                  <a:pt x="7001" y="4617"/>
                </a:lnTo>
                <a:lnTo>
                  <a:pt x="6993" y="4618"/>
                </a:lnTo>
                <a:lnTo>
                  <a:pt x="6984" y="4618"/>
                </a:lnTo>
                <a:lnTo>
                  <a:pt x="6975" y="4617"/>
                </a:lnTo>
                <a:lnTo>
                  <a:pt x="6969" y="4614"/>
                </a:lnTo>
                <a:lnTo>
                  <a:pt x="6967" y="4613"/>
                </a:lnTo>
                <a:lnTo>
                  <a:pt x="6964" y="4612"/>
                </a:lnTo>
                <a:lnTo>
                  <a:pt x="6961" y="4612"/>
                </a:lnTo>
                <a:lnTo>
                  <a:pt x="6957" y="4613"/>
                </a:lnTo>
                <a:lnTo>
                  <a:pt x="6953" y="4615"/>
                </a:lnTo>
                <a:lnTo>
                  <a:pt x="6951" y="4615"/>
                </a:lnTo>
                <a:lnTo>
                  <a:pt x="6951" y="4612"/>
                </a:lnTo>
                <a:lnTo>
                  <a:pt x="6949" y="4606"/>
                </a:lnTo>
                <a:lnTo>
                  <a:pt x="6948" y="4601"/>
                </a:lnTo>
                <a:lnTo>
                  <a:pt x="6947" y="4598"/>
                </a:lnTo>
                <a:lnTo>
                  <a:pt x="6946" y="4596"/>
                </a:lnTo>
                <a:lnTo>
                  <a:pt x="6945" y="4595"/>
                </a:lnTo>
                <a:lnTo>
                  <a:pt x="6939" y="4595"/>
                </a:lnTo>
                <a:lnTo>
                  <a:pt x="6930" y="4594"/>
                </a:lnTo>
                <a:lnTo>
                  <a:pt x="6926" y="4594"/>
                </a:lnTo>
                <a:lnTo>
                  <a:pt x="6923" y="4595"/>
                </a:lnTo>
                <a:lnTo>
                  <a:pt x="6922" y="4596"/>
                </a:lnTo>
                <a:lnTo>
                  <a:pt x="6921" y="4596"/>
                </a:lnTo>
                <a:lnTo>
                  <a:pt x="6921" y="4597"/>
                </a:lnTo>
                <a:lnTo>
                  <a:pt x="6921" y="4599"/>
                </a:lnTo>
                <a:lnTo>
                  <a:pt x="6923" y="4602"/>
                </a:lnTo>
                <a:lnTo>
                  <a:pt x="6926" y="4606"/>
                </a:lnTo>
                <a:lnTo>
                  <a:pt x="6930" y="4608"/>
                </a:lnTo>
                <a:lnTo>
                  <a:pt x="6934" y="4611"/>
                </a:lnTo>
                <a:lnTo>
                  <a:pt x="6942" y="4614"/>
                </a:lnTo>
                <a:lnTo>
                  <a:pt x="6945" y="4615"/>
                </a:lnTo>
                <a:lnTo>
                  <a:pt x="6941" y="4620"/>
                </a:lnTo>
                <a:close/>
                <a:moveTo>
                  <a:pt x="6286" y="4423"/>
                </a:moveTo>
                <a:lnTo>
                  <a:pt x="6290" y="4417"/>
                </a:lnTo>
                <a:lnTo>
                  <a:pt x="6299" y="4400"/>
                </a:lnTo>
                <a:lnTo>
                  <a:pt x="6304" y="4392"/>
                </a:lnTo>
                <a:lnTo>
                  <a:pt x="6308" y="4382"/>
                </a:lnTo>
                <a:lnTo>
                  <a:pt x="6309" y="4378"/>
                </a:lnTo>
                <a:lnTo>
                  <a:pt x="6309" y="4375"/>
                </a:lnTo>
                <a:lnTo>
                  <a:pt x="6309" y="4372"/>
                </a:lnTo>
                <a:lnTo>
                  <a:pt x="6308" y="4369"/>
                </a:lnTo>
                <a:lnTo>
                  <a:pt x="6304" y="4360"/>
                </a:lnTo>
                <a:lnTo>
                  <a:pt x="6298" y="4353"/>
                </a:lnTo>
                <a:lnTo>
                  <a:pt x="6294" y="4346"/>
                </a:lnTo>
                <a:lnTo>
                  <a:pt x="6290" y="4336"/>
                </a:lnTo>
                <a:lnTo>
                  <a:pt x="6289" y="4326"/>
                </a:lnTo>
                <a:lnTo>
                  <a:pt x="6288" y="4316"/>
                </a:lnTo>
                <a:lnTo>
                  <a:pt x="6287" y="4310"/>
                </a:lnTo>
                <a:lnTo>
                  <a:pt x="6286" y="4304"/>
                </a:lnTo>
                <a:lnTo>
                  <a:pt x="6283" y="4298"/>
                </a:lnTo>
                <a:lnTo>
                  <a:pt x="6279" y="4290"/>
                </a:lnTo>
                <a:lnTo>
                  <a:pt x="6268" y="4273"/>
                </a:lnTo>
                <a:lnTo>
                  <a:pt x="6257" y="4256"/>
                </a:lnTo>
                <a:lnTo>
                  <a:pt x="6246" y="4241"/>
                </a:lnTo>
                <a:lnTo>
                  <a:pt x="6239" y="4229"/>
                </a:lnTo>
                <a:lnTo>
                  <a:pt x="6238" y="4226"/>
                </a:lnTo>
                <a:lnTo>
                  <a:pt x="6238" y="4223"/>
                </a:lnTo>
                <a:lnTo>
                  <a:pt x="6239" y="4219"/>
                </a:lnTo>
                <a:lnTo>
                  <a:pt x="6241" y="4214"/>
                </a:lnTo>
                <a:lnTo>
                  <a:pt x="6245" y="4201"/>
                </a:lnTo>
                <a:lnTo>
                  <a:pt x="6251" y="4189"/>
                </a:lnTo>
                <a:lnTo>
                  <a:pt x="6264" y="4163"/>
                </a:lnTo>
                <a:lnTo>
                  <a:pt x="6272" y="4150"/>
                </a:lnTo>
                <a:lnTo>
                  <a:pt x="6282" y="4137"/>
                </a:lnTo>
                <a:lnTo>
                  <a:pt x="6296" y="4116"/>
                </a:lnTo>
                <a:lnTo>
                  <a:pt x="6305" y="4107"/>
                </a:lnTo>
                <a:lnTo>
                  <a:pt x="6312" y="4098"/>
                </a:lnTo>
                <a:lnTo>
                  <a:pt x="6315" y="4095"/>
                </a:lnTo>
                <a:lnTo>
                  <a:pt x="6317" y="4092"/>
                </a:lnTo>
                <a:lnTo>
                  <a:pt x="6320" y="4091"/>
                </a:lnTo>
                <a:lnTo>
                  <a:pt x="6323" y="4091"/>
                </a:lnTo>
                <a:lnTo>
                  <a:pt x="6328" y="4091"/>
                </a:lnTo>
                <a:lnTo>
                  <a:pt x="6337" y="4090"/>
                </a:lnTo>
                <a:lnTo>
                  <a:pt x="6349" y="4088"/>
                </a:lnTo>
                <a:lnTo>
                  <a:pt x="6362" y="4085"/>
                </a:lnTo>
                <a:lnTo>
                  <a:pt x="6386" y="4079"/>
                </a:lnTo>
                <a:lnTo>
                  <a:pt x="6400" y="4075"/>
                </a:lnTo>
                <a:lnTo>
                  <a:pt x="6408" y="4072"/>
                </a:lnTo>
                <a:lnTo>
                  <a:pt x="6422" y="4066"/>
                </a:lnTo>
                <a:lnTo>
                  <a:pt x="6429" y="4063"/>
                </a:lnTo>
                <a:lnTo>
                  <a:pt x="6435" y="4058"/>
                </a:lnTo>
                <a:lnTo>
                  <a:pt x="6438" y="4056"/>
                </a:lnTo>
                <a:lnTo>
                  <a:pt x="6440" y="4053"/>
                </a:lnTo>
                <a:lnTo>
                  <a:pt x="6441" y="4051"/>
                </a:lnTo>
                <a:lnTo>
                  <a:pt x="6441" y="4048"/>
                </a:lnTo>
                <a:lnTo>
                  <a:pt x="6444" y="4036"/>
                </a:lnTo>
                <a:lnTo>
                  <a:pt x="6449" y="4020"/>
                </a:lnTo>
                <a:lnTo>
                  <a:pt x="6452" y="4013"/>
                </a:lnTo>
                <a:lnTo>
                  <a:pt x="6456" y="4006"/>
                </a:lnTo>
                <a:lnTo>
                  <a:pt x="6458" y="4002"/>
                </a:lnTo>
                <a:lnTo>
                  <a:pt x="6460" y="4001"/>
                </a:lnTo>
                <a:lnTo>
                  <a:pt x="6464" y="4002"/>
                </a:lnTo>
                <a:lnTo>
                  <a:pt x="6468" y="4005"/>
                </a:lnTo>
                <a:lnTo>
                  <a:pt x="6470" y="4006"/>
                </a:lnTo>
                <a:lnTo>
                  <a:pt x="6473" y="4007"/>
                </a:lnTo>
                <a:lnTo>
                  <a:pt x="6475" y="4006"/>
                </a:lnTo>
                <a:lnTo>
                  <a:pt x="6479" y="4005"/>
                </a:lnTo>
                <a:lnTo>
                  <a:pt x="6489" y="3990"/>
                </a:lnTo>
                <a:lnTo>
                  <a:pt x="6504" y="3962"/>
                </a:lnTo>
                <a:lnTo>
                  <a:pt x="6511" y="3949"/>
                </a:lnTo>
                <a:lnTo>
                  <a:pt x="6520" y="3937"/>
                </a:lnTo>
                <a:lnTo>
                  <a:pt x="6523" y="3933"/>
                </a:lnTo>
                <a:lnTo>
                  <a:pt x="6527" y="3931"/>
                </a:lnTo>
                <a:lnTo>
                  <a:pt x="6529" y="3930"/>
                </a:lnTo>
                <a:lnTo>
                  <a:pt x="6532" y="3930"/>
                </a:lnTo>
                <a:lnTo>
                  <a:pt x="6546" y="3939"/>
                </a:lnTo>
                <a:lnTo>
                  <a:pt x="6564" y="3950"/>
                </a:lnTo>
                <a:lnTo>
                  <a:pt x="6579" y="3960"/>
                </a:lnTo>
                <a:lnTo>
                  <a:pt x="6586" y="3963"/>
                </a:lnTo>
                <a:lnTo>
                  <a:pt x="6590" y="3960"/>
                </a:lnTo>
                <a:lnTo>
                  <a:pt x="6600" y="3952"/>
                </a:lnTo>
                <a:lnTo>
                  <a:pt x="6606" y="3947"/>
                </a:lnTo>
                <a:lnTo>
                  <a:pt x="6612" y="3940"/>
                </a:lnTo>
                <a:lnTo>
                  <a:pt x="6616" y="3935"/>
                </a:lnTo>
                <a:lnTo>
                  <a:pt x="6618" y="3930"/>
                </a:lnTo>
                <a:lnTo>
                  <a:pt x="6622" y="3921"/>
                </a:lnTo>
                <a:lnTo>
                  <a:pt x="6625" y="3912"/>
                </a:lnTo>
                <a:lnTo>
                  <a:pt x="6627" y="3908"/>
                </a:lnTo>
                <a:lnTo>
                  <a:pt x="6627" y="3904"/>
                </a:lnTo>
                <a:lnTo>
                  <a:pt x="6627" y="3899"/>
                </a:lnTo>
                <a:lnTo>
                  <a:pt x="6625" y="3895"/>
                </a:lnTo>
                <a:lnTo>
                  <a:pt x="6624" y="3893"/>
                </a:lnTo>
                <a:lnTo>
                  <a:pt x="6624" y="3891"/>
                </a:lnTo>
                <a:lnTo>
                  <a:pt x="6625" y="3888"/>
                </a:lnTo>
                <a:lnTo>
                  <a:pt x="6627" y="3886"/>
                </a:lnTo>
                <a:lnTo>
                  <a:pt x="6633" y="3881"/>
                </a:lnTo>
                <a:lnTo>
                  <a:pt x="6639" y="3876"/>
                </a:lnTo>
                <a:lnTo>
                  <a:pt x="6646" y="3872"/>
                </a:lnTo>
                <a:lnTo>
                  <a:pt x="6654" y="3870"/>
                </a:lnTo>
                <a:lnTo>
                  <a:pt x="6657" y="3869"/>
                </a:lnTo>
                <a:lnTo>
                  <a:pt x="6660" y="3869"/>
                </a:lnTo>
                <a:lnTo>
                  <a:pt x="6662" y="3869"/>
                </a:lnTo>
                <a:lnTo>
                  <a:pt x="6663" y="3870"/>
                </a:lnTo>
                <a:lnTo>
                  <a:pt x="6666" y="3873"/>
                </a:lnTo>
                <a:lnTo>
                  <a:pt x="6671" y="3874"/>
                </a:lnTo>
                <a:lnTo>
                  <a:pt x="6678" y="3876"/>
                </a:lnTo>
                <a:lnTo>
                  <a:pt x="6684" y="3877"/>
                </a:lnTo>
                <a:lnTo>
                  <a:pt x="6698" y="3878"/>
                </a:lnTo>
                <a:lnTo>
                  <a:pt x="6706" y="3882"/>
                </a:lnTo>
                <a:lnTo>
                  <a:pt x="6711" y="3883"/>
                </a:lnTo>
                <a:lnTo>
                  <a:pt x="6718" y="3883"/>
                </a:lnTo>
                <a:lnTo>
                  <a:pt x="6725" y="3883"/>
                </a:lnTo>
                <a:lnTo>
                  <a:pt x="6732" y="3882"/>
                </a:lnTo>
                <a:lnTo>
                  <a:pt x="6741" y="3882"/>
                </a:lnTo>
                <a:lnTo>
                  <a:pt x="6748" y="3882"/>
                </a:lnTo>
                <a:lnTo>
                  <a:pt x="6750" y="3883"/>
                </a:lnTo>
                <a:lnTo>
                  <a:pt x="6753" y="3884"/>
                </a:lnTo>
                <a:lnTo>
                  <a:pt x="6754" y="3886"/>
                </a:lnTo>
                <a:lnTo>
                  <a:pt x="6755" y="3888"/>
                </a:lnTo>
                <a:lnTo>
                  <a:pt x="6757" y="3893"/>
                </a:lnTo>
                <a:lnTo>
                  <a:pt x="6757" y="3900"/>
                </a:lnTo>
                <a:lnTo>
                  <a:pt x="6758" y="3908"/>
                </a:lnTo>
                <a:lnTo>
                  <a:pt x="6758" y="3915"/>
                </a:lnTo>
                <a:lnTo>
                  <a:pt x="6757" y="3922"/>
                </a:lnTo>
                <a:lnTo>
                  <a:pt x="6756" y="3929"/>
                </a:lnTo>
                <a:lnTo>
                  <a:pt x="6754" y="3935"/>
                </a:lnTo>
                <a:lnTo>
                  <a:pt x="6752" y="3938"/>
                </a:lnTo>
                <a:lnTo>
                  <a:pt x="6751" y="3941"/>
                </a:lnTo>
                <a:lnTo>
                  <a:pt x="6750" y="3946"/>
                </a:lnTo>
                <a:lnTo>
                  <a:pt x="6750" y="3951"/>
                </a:lnTo>
                <a:lnTo>
                  <a:pt x="6750" y="3956"/>
                </a:lnTo>
                <a:lnTo>
                  <a:pt x="6751" y="3961"/>
                </a:lnTo>
                <a:lnTo>
                  <a:pt x="6753" y="3966"/>
                </a:lnTo>
                <a:lnTo>
                  <a:pt x="6755" y="3971"/>
                </a:lnTo>
                <a:lnTo>
                  <a:pt x="6757" y="3974"/>
                </a:lnTo>
                <a:lnTo>
                  <a:pt x="6769" y="3983"/>
                </a:lnTo>
                <a:lnTo>
                  <a:pt x="6787" y="3994"/>
                </a:lnTo>
                <a:lnTo>
                  <a:pt x="6796" y="3998"/>
                </a:lnTo>
                <a:lnTo>
                  <a:pt x="6804" y="4002"/>
                </a:lnTo>
                <a:lnTo>
                  <a:pt x="6811" y="4004"/>
                </a:lnTo>
                <a:lnTo>
                  <a:pt x="6815" y="4004"/>
                </a:lnTo>
                <a:lnTo>
                  <a:pt x="6820" y="4002"/>
                </a:lnTo>
                <a:lnTo>
                  <a:pt x="6824" y="4002"/>
                </a:lnTo>
                <a:lnTo>
                  <a:pt x="6826" y="4003"/>
                </a:lnTo>
                <a:lnTo>
                  <a:pt x="6828" y="4004"/>
                </a:lnTo>
                <a:lnTo>
                  <a:pt x="6829" y="4006"/>
                </a:lnTo>
                <a:lnTo>
                  <a:pt x="6830" y="4008"/>
                </a:lnTo>
                <a:lnTo>
                  <a:pt x="6832" y="4014"/>
                </a:lnTo>
                <a:lnTo>
                  <a:pt x="6837" y="4019"/>
                </a:lnTo>
                <a:lnTo>
                  <a:pt x="6842" y="4023"/>
                </a:lnTo>
                <a:lnTo>
                  <a:pt x="6844" y="4024"/>
                </a:lnTo>
                <a:lnTo>
                  <a:pt x="6848" y="4021"/>
                </a:lnTo>
                <a:lnTo>
                  <a:pt x="6859" y="4014"/>
                </a:lnTo>
                <a:lnTo>
                  <a:pt x="6864" y="4008"/>
                </a:lnTo>
                <a:lnTo>
                  <a:pt x="6868" y="4003"/>
                </a:lnTo>
                <a:lnTo>
                  <a:pt x="6871" y="4000"/>
                </a:lnTo>
                <a:lnTo>
                  <a:pt x="6871" y="3997"/>
                </a:lnTo>
                <a:lnTo>
                  <a:pt x="6872" y="3995"/>
                </a:lnTo>
                <a:lnTo>
                  <a:pt x="6871" y="3992"/>
                </a:lnTo>
                <a:lnTo>
                  <a:pt x="6869" y="3983"/>
                </a:lnTo>
                <a:lnTo>
                  <a:pt x="6868" y="3972"/>
                </a:lnTo>
                <a:lnTo>
                  <a:pt x="6869" y="3956"/>
                </a:lnTo>
                <a:lnTo>
                  <a:pt x="6871" y="3940"/>
                </a:lnTo>
                <a:lnTo>
                  <a:pt x="6873" y="3912"/>
                </a:lnTo>
                <a:lnTo>
                  <a:pt x="6874" y="3900"/>
                </a:lnTo>
                <a:lnTo>
                  <a:pt x="6876" y="3892"/>
                </a:lnTo>
                <a:lnTo>
                  <a:pt x="6880" y="3876"/>
                </a:lnTo>
                <a:lnTo>
                  <a:pt x="6882" y="3868"/>
                </a:lnTo>
                <a:lnTo>
                  <a:pt x="6886" y="3863"/>
                </a:lnTo>
                <a:lnTo>
                  <a:pt x="6887" y="3862"/>
                </a:lnTo>
                <a:lnTo>
                  <a:pt x="6889" y="3862"/>
                </a:lnTo>
                <a:lnTo>
                  <a:pt x="6891" y="3862"/>
                </a:lnTo>
                <a:lnTo>
                  <a:pt x="6894" y="3865"/>
                </a:lnTo>
                <a:lnTo>
                  <a:pt x="6897" y="3870"/>
                </a:lnTo>
                <a:lnTo>
                  <a:pt x="6902" y="3874"/>
                </a:lnTo>
                <a:lnTo>
                  <a:pt x="6906" y="3878"/>
                </a:lnTo>
                <a:lnTo>
                  <a:pt x="6910" y="3882"/>
                </a:lnTo>
                <a:lnTo>
                  <a:pt x="6915" y="3885"/>
                </a:lnTo>
                <a:lnTo>
                  <a:pt x="6918" y="3888"/>
                </a:lnTo>
                <a:lnTo>
                  <a:pt x="6920" y="3892"/>
                </a:lnTo>
                <a:lnTo>
                  <a:pt x="6922" y="3896"/>
                </a:lnTo>
                <a:lnTo>
                  <a:pt x="6925" y="3908"/>
                </a:lnTo>
                <a:lnTo>
                  <a:pt x="6928" y="3921"/>
                </a:lnTo>
                <a:lnTo>
                  <a:pt x="6932" y="3935"/>
                </a:lnTo>
                <a:lnTo>
                  <a:pt x="6938" y="3947"/>
                </a:lnTo>
                <a:lnTo>
                  <a:pt x="6942" y="3952"/>
                </a:lnTo>
                <a:lnTo>
                  <a:pt x="6947" y="3957"/>
                </a:lnTo>
                <a:lnTo>
                  <a:pt x="6954" y="3962"/>
                </a:lnTo>
                <a:lnTo>
                  <a:pt x="6963" y="3968"/>
                </a:lnTo>
                <a:lnTo>
                  <a:pt x="6970" y="3974"/>
                </a:lnTo>
                <a:lnTo>
                  <a:pt x="6976" y="3980"/>
                </a:lnTo>
                <a:lnTo>
                  <a:pt x="6978" y="3983"/>
                </a:lnTo>
                <a:lnTo>
                  <a:pt x="6979" y="3986"/>
                </a:lnTo>
                <a:lnTo>
                  <a:pt x="6981" y="3990"/>
                </a:lnTo>
                <a:lnTo>
                  <a:pt x="6981" y="3993"/>
                </a:lnTo>
                <a:lnTo>
                  <a:pt x="6978" y="4007"/>
                </a:lnTo>
                <a:lnTo>
                  <a:pt x="6977" y="4023"/>
                </a:lnTo>
                <a:lnTo>
                  <a:pt x="6977" y="4030"/>
                </a:lnTo>
                <a:lnTo>
                  <a:pt x="6978" y="4039"/>
                </a:lnTo>
                <a:lnTo>
                  <a:pt x="6981" y="4045"/>
                </a:lnTo>
                <a:lnTo>
                  <a:pt x="6983" y="4052"/>
                </a:lnTo>
                <a:lnTo>
                  <a:pt x="6985" y="4058"/>
                </a:lnTo>
                <a:lnTo>
                  <a:pt x="6988" y="4062"/>
                </a:lnTo>
                <a:lnTo>
                  <a:pt x="6991" y="4064"/>
                </a:lnTo>
                <a:lnTo>
                  <a:pt x="6993" y="4067"/>
                </a:lnTo>
                <a:lnTo>
                  <a:pt x="6997" y="4070"/>
                </a:lnTo>
                <a:lnTo>
                  <a:pt x="7000" y="4073"/>
                </a:lnTo>
                <a:lnTo>
                  <a:pt x="7014" y="4086"/>
                </a:lnTo>
                <a:lnTo>
                  <a:pt x="7039" y="4107"/>
                </a:lnTo>
                <a:lnTo>
                  <a:pt x="7064" y="4129"/>
                </a:lnTo>
                <a:lnTo>
                  <a:pt x="7078" y="4142"/>
                </a:lnTo>
                <a:lnTo>
                  <a:pt x="7080" y="4150"/>
                </a:lnTo>
                <a:lnTo>
                  <a:pt x="7082" y="4161"/>
                </a:lnTo>
                <a:lnTo>
                  <a:pt x="7084" y="4168"/>
                </a:lnTo>
                <a:lnTo>
                  <a:pt x="7086" y="4175"/>
                </a:lnTo>
                <a:lnTo>
                  <a:pt x="7089" y="4183"/>
                </a:lnTo>
                <a:lnTo>
                  <a:pt x="7093" y="4193"/>
                </a:lnTo>
                <a:lnTo>
                  <a:pt x="7098" y="4201"/>
                </a:lnTo>
                <a:lnTo>
                  <a:pt x="7103" y="4207"/>
                </a:lnTo>
                <a:lnTo>
                  <a:pt x="7109" y="4213"/>
                </a:lnTo>
                <a:lnTo>
                  <a:pt x="7115" y="4217"/>
                </a:lnTo>
                <a:lnTo>
                  <a:pt x="7119" y="4222"/>
                </a:lnTo>
                <a:lnTo>
                  <a:pt x="7123" y="4226"/>
                </a:lnTo>
                <a:lnTo>
                  <a:pt x="7126" y="4233"/>
                </a:lnTo>
                <a:lnTo>
                  <a:pt x="7128" y="4240"/>
                </a:lnTo>
                <a:lnTo>
                  <a:pt x="7130" y="4260"/>
                </a:lnTo>
                <a:lnTo>
                  <a:pt x="7132" y="4284"/>
                </a:lnTo>
                <a:lnTo>
                  <a:pt x="7133" y="4307"/>
                </a:lnTo>
                <a:lnTo>
                  <a:pt x="7132" y="4323"/>
                </a:lnTo>
                <a:lnTo>
                  <a:pt x="7129" y="4335"/>
                </a:lnTo>
                <a:lnTo>
                  <a:pt x="7125" y="4351"/>
                </a:lnTo>
                <a:lnTo>
                  <a:pt x="7122" y="4360"/>
                </a:lnTo>
                <a:lnTo>
                  <a:pt x="7118" y="4369"/>
                </a:lnTo>
                <a:lnTo>
                  <a:pt x="7114" y="4378"/>
                </a:lnTo>
                <a:lnTo>
                  <a:pt x="7107" y="4388"/>
                </a:lnTo>
                <a:lnTo>
                  <a:pt x="7095" y="4408"/>
                </a:lnTo>
                <a:lnTo>
                  <a:pt x="7083" y="4430"/>
                </a:lnTo>
                <a:lnTo>
                  <a:pt x="7078" y="4440"/>
                </a:lnTo>
                <a:lnTo>
                  <a:pt x="7075" y="4449"/>
                </a:lnTo>
                <a:lnTo>
                  <a:pt x="7072" y="4458"/>
                </a:lnTo>
                <a:lnTo>
                  <a:pt x="7071" y="4463"/>
                </a:lnTo>
                <a:lnTo>
                  <a:pt x="7070" y="4477"/>
                </a:lnTo>
                <a:lnTo>
                  <a:pt x="7067" y="4497"/>
                </a:lnTo>
                <a:lnTo>
                  <a:pt x="7066" y="4507"/>
                </a:lnTo>
                <a:lnTo>
                  <a:pt x="7064" y="4515"/>
                </a:lnTo>
                <a:lnTo>
                  <a:pt x="7062" y="4522"/>
                </a:lnTo>
                <a:lnTo>
                  <a:pt x="7059" y="4525"/>
                </a:lnTo>
                <a:lnTo>
                  <a:pt x="7049" y="4525"/>
                </a:lnTo>
                <a:lnTo>
                  <a:pt x="7032" y="4525"/>
                </a:lnTo>
                <a:lnTo>
                  <a:pt x="7023" y="4525"/>
                </a:lnTo>
                <a:lnTo>
                  <a:pt x="7016" y="4527"/>
                </a:lnTo>
                <a:lnTo>
                  <a:pt x="7012" y="4528"/>
                </a:lnTo>
                <a:lnTo>
                  <a:pt x="7009" y="4530"/>
                </a:lnTo>
                <a:lnTo>
                  <a:pt x="7006" y="4533"/>
                </a:lnTo>
                <a:lnTo>
                  <a:pt x="7004" y="4536"/>
                </a:lnTo>
                <a:lnTo>
                  <a:pt x="6999" y="4543"/>
                </a:lnTo>
                <a:lnTo>
                  <a:pt x="6995" y="4548"/>
                </a:lnTo>
                <a:lnTo>
                  <a:pt x="6991" y="4552"/>
                </a:lnTo>
                <a:lnTo>
                  <a:pt x="6986" y="4556"/>
                </a:lnTo>
                <a:lnTo>
                  <a:pt x="6979" y="4562"/>
                </a:lnTo>
                <a:lnTo>
                  <a:pt x="6976" y="4563"/>
                </a:lnTo>
                <a:lnTo>
                  <a:pt x="6974" y="4558"/>
                </a:lnTo>
                <a:lnTo>
                  <a:pt x="6970" y="4548"/>
                </a:lnTo>
                <a:lnTo>
                  <a:pt x="6966" y="4544"/>
                </a:lnTo>
                <a:lnTo>
                  <a:pt x="6961" y="4541"/>
                </a:lnTo>
                <a:lnTo>
                  <a:pt x="6959" y="4541"/>
                </a:lnTo>
                <a:lnTo>
                  <a:pt x="6955" y="4541"/>
                </a:lnTo>
                <a:lnTo>
                  <a:pt x="6951" y="4542"/>
                </a:lnTo>
                <a:lnTo>
                  <a:pt x="6947" y="4544"/>
                </a:lnTo>
                <a:lnTo>
                  <a:pt x="6941" y="4548"/>
                </a:lnTo>
                <a:lnTo>
                  <a:pt x="6937" y="4552"/>
                </a:lnTo>
                <a:lnTo>
                  <a:pt x="6934" y="4555"/>
                </a:lnTo>
                <a:lnTo>
                  <a:pt x="6932" y="4558"/>
                </a:lnTo>
                <a:lnTo>
                  <a:pt x="6930" y="4561"/>
                </a:lnTo>
                <a:lnTo>
                  <a:pt x="6927" y="4561"/>
                </a:lnTo>
                <a:lnTo>
                  <a:pt x="6922" y="4561"/>
                </a:lnTo>
                <a:lnTo>
                  <a:pt x="6915" y="4558"/>
                </a:lnTo>
                <a:lnTo>
                  <a:pt x="6899" y="4554"/>
                </a:lnTo>
                <a:lnTo>
                  <a:pt x="6886" y="4552"/>
                </a:lnTo>
                <a:lnTo>
                  <a:pt x="6876" y="4549"/>
                </a:lnTo>
                <a:lnTo>
                  <a:pt x="6866" y="4546"/>
                </a:lnTo>
                <a:lnTo>
                  <a:pt x="6864" y="4545"/>
                </a:lnTo>
                <a:lnTo>
                  <a:pt x="6862" y="4542"/>
                </a:lnTo>
                <a:lnTo>
                  <a:pt x="6859" y="4539"/>
                </a:lnTo>
                <a:lnTo>
                  <a:pt x="6857" y="4534"/>
                </a:lnTo>
                <a:lnTo>
                  <a:pt x="6853" y="4524"/>
                </a:lnTo>
                <a:lnTo>
                  <a:pt x="6848" y="4511"/>
                </a:lnTo>
                <a:lnTo>
                  <a:pt x="6844" y="4499"/>
                </a:lnTo>
                <a:lnTo>
                  <a:pt x="6839" y="4487"/>
                </a:lnTo>
                <a:lnTo>
                  <a:pt x="6837" y="4481"/>
                </a:lnTo>
                <a:lnTo>
                  <a:pt x="6834" y="4477"/>
                </a:lnTo>
                <a:lnTo>
                  <a:pt x="6831" y="4471"/>
                </a:lnTo>
                <a:lnTo>
                  <a:pt x="6828" y="4468"/>
                </a:lnTo>
                <a:lnTo>
                  <a:pt x="6814" y="4456"/>
                </a:lnTo>
                <a:lnTo>
                  <a:pt x="6803" y="4443"/>
                </a:lnTo>
                <a:lnTo>
                  <a:pt x="6796" y="4433"/>
                </a:lnTo>
                <a:lnTo>
                  <a:pt x="6794" y="4430"/>
                </a:lnTo>
                <a:lnTo>
                  <a:pt x="6795" y="4423"/>
                </a:lnTo>
                <a:lnTo>
                  <a:pt x="6797" y="4410"/>
                </a:lnTo>
                <a:lnTo>
                  <a:pt x="6798" y="4403"/>
                </a:lnTo>
                <a:lnTo>
                  <a:pt x="6798" y="4398"/>
                </a:lnTo>
                <a:lnTo>
                  <a:pt x="6798" y="4396"/>
                </a:lnTo>
                <a:lnTo>
                  <a:pt x="6797" y="4395"/>
                </a:lnTo>
                <a:lnTo>
                  <a:pt x="6796" y="4395"/>
                </a:lnTo>
                <a:lnTo>
                  <a:pt x="6795" y="4396"/>
                </a:lnTo>
                <a:lnTo>
                  <a:pt x="6787" y="4413"/>
                </a:lnTo>
                <a:lnTo>
                  <a:pt x="6775" y="4440"/>
                </a:lnTo>
                <a:lnTo>
                  <a:pt x="6772" y="4447"/>
                </a:lnTo>
                <a:lnTo>
                  <a:pt x="6769" y="4453"/>
                </a:lnTo>
                <a:lnTo>
                  <a:pt x="6766" y="4458"/>
                </a:lnTo>
                <a:lnTo>
                  <a:pt x="6762" y="4462"/>
                </a:lnTo>
                <a:lnTo>
                  <a:pt x="6758" y="4464"/>
                </a:lnTo>
                <a:lnTo>
                  <a:pt x="6754" y="4465"/>
                </a:lnTo>
                <a:lnTo>
                  <a:pt x="6750" y="4463"/>
                </a:lnTo>
                <a:lnTo>
                  <a:pt x="6747" y="4459"/>
                </a:lnTo>
                <a:lnTo>
                  <a:pt x="6729" y="4434"/>
                </a:lnTo>
                <a:lnTo>
                  <a:pt x="6710" y="4404"/>
                </a:lnTo>
                <a:lnTo>
                  <a:pt x="6701" y="4392"/>
                </a:lnTo>
                <a:lnTo>
                  <a:pt x="6692" y="4381"/>
                </a:lnTo>
                <a:lnTo>
                  <a:pt x="6689" y="4377"/>
                </a:lnTo>
                <a:lnTo>
                  <a:pt x="6686" y="4374"/>
                </a:lnTo>
                <a:lnTo>
                  <a:pt x="6683" y="4372"/>
                </a:lnTo>
                <a:lnTo>
                  <a:pt x="6681" y="4371"/>
                </a:lnTo>
                <a:lnTo>
                  <a:pt x="6662" y="4372"/>
                </a:lnTo>
                <a:lnTo>
                  <a:pt x="6628" y="4375"/>
                </a:lnTo>
                <a:lnTo>
                  <a:pt x="6610" y="4376"/>
                </a:lnTo>
                <a:lnTo>
                  <a:pt x="6592" y="4379"/>
                </a:lnTo>
                <a:lnTo>
                  <a:pt x="6577" y="4381"/>
                </a:lnTo>
                <a:lnTo>
                  <a:pt x="6565" y="4385"/>
                </a:lnTo>
                <a:lnTo>
                  <a:pt x="6547" y="4391"/>
                </a:lnTo>
                <a:lnTo>
                  <a:pt x="6532" y="4395"/>
                </a:lnTo>
                <a:lnTo>
                  <a:pt x="6526" y="4397"/>
                </a:lnTo>
                <a:lnTo>
                  <a:pt x="6521" y="4398"/>
                </a:lnTo>
                <a:lnTo>
                  <a:pt x="6515" y="4398"/>
                </a:lnTo>
                <a:lnTo>
                  <a:pt x="6511" y="4398"/>
                </a:lnTo>
                <a:lnTo>
                  <a:pt x="6508" y="4397"/>
                </a:lnTo>
                <a:lnTo>
                  <a:pt x="6504" y="4399"/>
                </a:lnTo>
                <a:lnTo>
                  <a:pt x="6501" y="4402"/>
                </a:lnTo>
                <a:lnTo>
                  <a:pt x="6496" y="4405"/>
                </a:lnTo>
                <a:lnTo>
                  <a:pt x="6491" y="4415"/>
                </a:lnTo>
                <a:lnTo>
                  <a:pt x="6487" y="4423"/>
                </a:lnTo>
                <a:lnTo>
                  <a:pt x="6486" y="4424"/>
                </a:lnTo>
                <a:lnTo>
                  <a:pt x="6482" y="4426"/>
                </a:lnTo>
                <a:lnTo>
                  <a:pt x="6478" y="4426"/>
                </a:lnTo>
                <a:lnTo>
                  <a:pt x="6471" y="4427"/>
                </a:lnTo>
                <a:lnTo>
                  <a:pt x="6457" y="4427"/>
                </a:lnTo>
                <a:lnTo>
                  <a:pt x="6440" y="4429"/>
                </a:lnTo>
                <a:lnTo>
                  <a:pt x="6423" y="4427"/>
                </a:lnTo>
                <a:lnTo>
                  <a:pt x="6407" y="4429"/>
                </a:lnTo>
                <a:lnTo>
                  <a:pt x="6396" y="4429"/>
                </a:lnTo>
                <a:lnTo>
                  <a:pt x="6390" y="4431"/>
                </a:lnTo>
                <a:lnTo>
                  <a:pt x="6383" y="4438"/>
                </a:lnTo>
                <a:lnTo>
                  <a:pt x="6375" y="4447"/>
                </a:lnTo>
                <a:lnTo>
                  <a:pt x="6370" y="4453"/>
                </a:lnTo>
                <a:lnTo>
                  <a:pt x="6363" y="4457"/>
                </a:lnTo>
                <a:lnTo>
                  <a:pt x="6360" y="4458"/>
                </a:lnTo>
                <a:lnTo>
                  <a:pt x="6357" y="4459"/>
                </a:lnTo>
                <a:lnTo>
                  <a:pt x="6354" y="4459"/>
                </a:lnTo>
                <a:lnTo>
                  <a:pt x="6350" y="4459"/>
                </a:lnTo>
                <a:lnTo>
                  <a:pt x="6334" y="4458"/>
                </a:lnTo>
                <a:lnTo>
                  <a:pt x="6320" y="4458"/>
                </a:lnTo>
                <a:lnTo>
                  <a:pt x="6314" y="4457"/>
                </a:lnTo>
                <a:lnTo>
                  <a:pt x="6308" y="4456"/>
                </a:lnTo>
                <a:lnTo>
                  <a:pt x="6303" y="4454"/>
                </a:lnTo>
                <a:lnTo>
                  <a:pt x="6298" y="4449"/>
                </a:lnTo>
                <a:lnTo>
                  <a:pt x="6291" y="4442"/>
                </a:lnTo>
                <a:lnTo>
                  <a:pt x="6287" y="4434"/>
                </a:lnTo>
                <a:lnTo>
                  <a:pt x="6286" y="4431"/>
                </a:lnTo>
                <a:lnTo>
                  <a:pt x="6285" y="4427"/>
                </a:lnTo>
                <a:lnTo>
                  <a:pt x="6285" y="4425"/>
                </a:lnTo>
                <a:lnTo>
                  <a:pt x="6286" y="4423"/>
                </a:lnTo>
                <a:close/>
                <a:moveTo>
                  <a:pt x="4732" y="4085"/>
                </a:moveTo>
                <a:lnTo>
                  <a:pt x="4733" y="4079"/>
                </a:lnTo>
                <a:lnTo>
                  <a:pt x="4733" y="4070"/>
                </a:lnTo>
                <a:lnTo>
                  <a:pt x="4731" y="4060"/>
                </a:lnTo>
                <a:lnTo>
                  <a:pt x="4731" y="4050"/>
                </a:lnTo>
                <a:lnTo>
                  <a:pt x="4730" y="4040"/>
                </a:lnTo>
                <a:lnTo>
                  <a:pt x="4732" y="4029"/>
                </a:lnTo>
                <a:lnTo>
                  <a:pt x="4734" y="4025"/>
                </a:lnTo>
                <a:lnTo>
                  <a:pt x="4736" y="4020"/>
                </a:lnTo>
                <a:lnTo>
                  <a:pt x="4739" y="4016"/>
                </a:lnTo>
                <a:lnTo>
                  <a:pt x="4744" y="4012"/>
                </a:lnTo>
                <a:lnTo>
                  <a:pt x="4754" y="4002"/>
                </a:lnTo>
                <a:lnTo>
                  <a:pt x="4768" y="3990"/>
                </a:lnTo>
                <a:lnTo>
                  <a:pt x="4781" y="3974"/>
                </a:lnTo>
                <a:lnTo>
                  <a:pt x="4796" y="3957"/>
                </a:lnTo>
                <a:lnTo>
                  <a:pt x="4822" y="3928"/>
                </a:lnTo>
                <a:lnTo>
                  <a:pt x="4835" y="3911"/>
                </a:lnTo>
                <a:lnTo>
                  <a:pt x="4840" y="3903"/>
                </a:lnTo>
                <a:lnTo>
                  <a:pt x="4847" y="3894"/>
                </a:lnTo>
                <a:lnTo>
                  <a:pt x="4850" y="3891"/>
                </a:lnTo>
                <a:lnTo>
                  <a:pt x="4855" y="3890"/>
                </a:lnTo>
                <a:lnTo>
                  <a:pt x="4856" y="3890"/>
                </a:lnTo>
                <a:lnTo>
                  <a:pt x="4858" y="3891"/>
                </a:lnTo>
                <a:lnTo>
                  <a:pt x="4859" y="3892"/>
                </a:lnTo>
                <a:lnTo>
                  <a:pt x="4860" y="3894"/>
                </a:lnTo>
                <a:lnTo>
                  <a:pt x="4862" y="3899"/>
                </a:lnTo>
                <a:lnTo>
                  <a:pt x="4864" y="3907"/>
                </a:lnTo>
                <a:lnTo>
                  <a:pt x="4865" y="3915"/>
                </a:lnTo>
                <a:lnTo>
                  <a:pt x="4866" y="3925"/>
                </a:lnTo>
                <a:lnTo>
                  <a:pt x="4866" y="3946"/>
                </a:lnTo>
                <a:lnTo>
                  <a:pt x="4866" y="3965"/>
                </a:lnTo>
                <a:lnTo>
                  <a:pt x="4866" y="3976"/>
                </a:lnTo>
                <a:lnTo>
                  <a:pt x="4864" y="3987"/>
                </a:lnTo>
                <a:lnTo>
                  <a:pt x="4861" y="3998"/>
                </a:lnTo>
                <a:lnTo>
                  <a:pt x="4858" y="4008"/>
                </a:lnTo>
                <a:lnTo>
                  <a:pt x="4850" y="4028"/>
                </a:lnTo>
                <a:lnTo>
                  <a:pt x="4845" y="4042"/>
                </a:lnTo>
                <a:lnTo>
                  <a:pt x="4839" y="4060"/>
                </a:lnTo>
                <a:lnTo>
                  <a:pt x="4832" y="4089"/>
                </a:lnTo>
                <a:lnTo>
                  <a:pt x="4825" y="4118"/>
                </a:lnTo>
                <a:lnTo>
                  <a:pt x="4821" y="4139"/>
                </a:lnTo>
                <a:lnTo>
                  <a:pt x="4820" y="4148"/>
                </a:lnTo>
                <a:lnTo>
                  <a:pt x="4816" y="4158"/>
                </a:lnTo>
                <a:lnTo>
                  <a:pt x="4812" y="4170"/>
                </a:lnTo>
                <a:lnTo>
                  <a:pt x="4806" y="4181"/>
                </a:lnTo>
                <a:lnTo>
                  <a:pt x="4796" y="4202"/>
                </a:lnTo>
                <a:lnTo>
                  <a:pt x="4790" y="4213"/>
                </a:lnTo>
                <a:lnTo>
                  <a:pt x="4782" y="4220"/>
                </a:lnTo>
                <a:lnTo>
                  <a:pt x="4771" y="4228"/>
                </a:lnTo>
                <a:lnTo>
                  <a:pt x="4765" y="4234"/>
                </a:lnTo>
                <a:lnTo>
                  <a:pt x="4758" y="4237"/>
                </a:lnTo>
                <a:lnTo>
                  <a:pt x="4753" y="4240"/>
                </a:lnTo>
                <a:lnTo>
                  <a:pt x="4750" y="4241"/>
                </a:lnTo>
                <a:lnTo>
                  <a:pt x="4740" y="4240"/>
                </a:lnTo>
                <a:lnTo>
                  <a:pt x="4730" y="4238"/>
                </a:lnTo>
                <a:lnTo>
                  <a:pt x="4725" y="4236"/>
                </a:lnTo>
                <a:lnTo>
                  <a:pt x="4722" y="4234"/>
                </a:lnTo>
                <a:lnTo>
                  <a:pt x="4721" y="4233"/>
                </a:lnTo>
                <a:lnTo>
                  <a:pt x="4721" y="4230"/>
                </a:lnTo>
                <a:lnTo>
                  <a:pt x="4721" y="4229"/>
                </a:lnTo>
                <a:lnTo>
                  <a:pt x="4722" y="4227"/>
                </a:lnTo>
                <a:lnTo>
                  <a:pt x="4728" y="4221"/>
                </a:lnTo>
                <a:lnTo>
                  <a:pt x="4731" y="4216"/>
                </a:lnTo>
                <a:lnTo>
                  <a:pt x="4731" y="4214"/>
                </a:lnTo>
                <a:lnTo>
                  <a:pt x="4731" y="4211"/>
                </a:lnTo>
                <a:lnTo>
                  <a:pt x="4730" y="4208"/>
                </a:lnTo>
                <a:lnTo>
                  <a:pt x="4729" y="4205"/>
                </a:lnTo>
                <a:lnTo>
                  <a:pt x="4726" y="4194"/>
                </a:lnTo>
                <a:lnTo>
                  <a:pt x="4722" y="4178"/>
                </a:lnTo>
                <a:lnTo>
                  <a:pt x="4718" y="4162"/>
                </a:lnTo>
                <a:lnTo>
                  <a:pt x="4714" y="4153"/>
                </a:lnTo>
                <a:lnTo>
                  <a:pt x="4713" y="4149"/>
                </a:lnTo>
                <a:lnTo>
                  <a:pt x="4713" y="4142"/>
                </a:lnTo>
                <a:lnTo>
                  <a:pt x="4714" y="4135"/>
                </a:lnTo>
                <a:lnTo>
                  <a:pt x="4715" y="4127"/>
                </a:lnTo>
                <a:lnTo>
                  <a:pt x="4717" y="4118"/>
                </a:lnTo>
                <a:lnTo>
                  <a:pt x="4719" y="4111"/>
                </a:lnTo>
                <a:lnTo>
                  <a:pt x="4722" y="4105"/>
                </a:lnTo>
                <a:lnTo>
                  <a:pt x="4725" y="4101"/>
                </a:lnTo>
                <a:lnTo>
                  <a:pt x="4730" y="4094"/>
                </a:lnTo>
                <a:lnTo>
                  <a:pt x="4732" y="4089"/>
                </a:lnTo>
                <a:lnTo>
                  <a:pt x="4732" y="4086"/>
                </a:lnTo>
                <a:lnTo>
                  <a:pt x="4732" y="4085"/>
                </a:lnTo>
                <a:close/>
                <a:moveTo>
                  <a:pt x="4149" y="4417"/>
                </a:moveTo>
                <a:lnTo>
                  <a:pt x="4149" y="4405"/>
                </a:lnTo>
                <a:lnTo>
                  <a:pt x="4149" y="4392"/>
                </a:lnTo>
                <a:lnTo>
                  <a:pt x="4149" y="4385"/>
                </a:lnTo>
                <a:lnTo>
                  <a:pt x="4148" y="4376"/>
                </a:lnTo>
                <a:lnTo>
                  <a:pt x="4146" y="4369"/>
                </a:lnTo>
                <a:lnTo>
                  <a:pt x="4143" y="4361"/>
                </a:lnTo>
                <a:lnTo>
                  <a:pt x="4133" y="4343"/>
                </a:lnTo>
                <a:lnTo>
                  <a:pt x="4120" y="4316"/>
                </a:lnTo>
                <a:lnTo>
                  <a:pt x="4108" y="4289"/>
                </a:lnTo>
                <a:lnTo>
                  <a:pt x="4096" y="4267"/>
                </a:lnTo>
                <a:lnTo>
                  <a:pt x="4091" y="4258"/>
                </a:lnTo>
                <a:lnTo>
                  <a:pt x="4087" y="4248"/>
                </a:lnTo>
                <a:lnTo>
                  <a:pt x="4082" y="4238"/>
                </a:lnTo>
                <a:lnTo>
                  <a:pt x="4079" y="4227"/>
                </a:lnTo>
                <a:lnTo>
                  <a:pt x="4076" y="4217"/>
                </a:lnTo>
                <a:lnTo>
                  <a:pt x="4075" y="4206"/>
                </a:lnTo>
                <a:lnTo>
                  <a:pt x="4074" y="4196"/>
                </a:lnTo>
                <a:lnTo>
                  <a:pt x="4073" y="4188"/>
                </a:lnTo>
                <a:lnTo>
                  <a:pt x="4074" y="4172"/>
                </a:lnTo>
                <a:lnTo>
                  <a:pt x="4075" y="4159"/>
                </a:lnTo>
                <a:lnTo>
                  <a:pt x="4076" y="4150"/>
                </a:lnTo>
                <a:lnTo>
                  <a:pt x="4075" y="4141"/>
                </a:lnTo>
                <a:lnTo>
                  <a:pt x="4065" y="4127"/>
                </a:lnTo>
                <a:lnTo>
                  <a:pt x="4057" y="4112"/>
                </a:lnTo>
                <a:lnTo>
                  <a:pt x="4056" y="4104"/>
                </a:lnTo>
                <a:lnTo>
                  <a:pt x="4052" y="4092"/>
                </a:lnTo>
                <a:lnTo>
                  <a:pt x="4048" y="4081"/>
                </a:lnTo>
                <a:lnTo>
                  <a:pt x="4043" y="4071"/>
                </a:lnTo>
                <a:lnTo>
                  <a:pt x="4034" y="4063"/>
                </a:lnTo>
                <a:lnTo>
                  <a:pt x="4023" y="4052"/>
                </a:lnTo>
                <a:lnTo>
                  <a:pt x="4017" y="4046"/>
                </a:lnTo>
                <a:lnTo>
                  <a:pt x="4013" y="4041"/>
                </a:lnTo>
                <a:lnTo>
                  <a:pt x="4011" y="4036"/>
                </a:lnTo>
                <a:lnTo>
                  <a:pt x="4011" y="4030"/>
                </a:lnTo>
                <a:lnTo>
                  <a:pt x="4015" y="4010"/>
                </a:lnTo>
                <a:lnTo>
                  <a:pt x="4021" y="3979"/>
                </a:lnTo>
                <a:lnTo>
                  <a:pt x="4026" y="3948"/>
                </a:lnTo>
                <a:lnTo>
                  <a:pt x="4030" y="3933"/>
                </a:lnTo>
                <a:lnTo>
                  <a:pt x="4038" y="3926"/>
                </a:lnTo>
                <a:lnTo>
                  <a:pt x="4051" y="3914"/>
                </a:lnTo>
                <a:lnTo>
                  <a:pt x="4058" y="3907"/>
                </a:lnTo>
                <a:lnTo>
                  <a:pt x="4064" y="3899"/>
                </a:lnTo>
                <a:lnTo>
                  <a:pt x="4066" y="3896"/>
                </a:lnTo>
                <a:lnTo>
                  <a:pt x="4067" y="3893"/>
                </a:lnTo>
                <a:lnTo>
                  <a:pt x="4067" y="3890"/>
                </a:lnTo>
                <a:lnTo>
                  <a:pt x="4067" y="3887"/>
                </a:lnTo>
                <a:lnTo>
                  <a:pt x="4064" y="3875"/>
                </a:lnTo>
                <a:lnTo>
                  <a:pt x="4058" y="3865"/>
                </a:lnTo>
                <a:lnTo>
                  <a:pt x="4053" y="3856"/>
                </a:lnTo>
                <a:lnTo>
                  <a:pt x="4050" y="3850"/>
                </a:lnTo>
                <a:lnTo>
                  <a:pt x="4048" y="3845"/>
                </a:lnTo>
                <a:lnTo>
                  <a:pt x="4045" y="3839"/>
                </a:lnTo>
                <a:lnTo>
                  <a:pt x="4044" y="3831"/>
                </a:lnTo>
                <a:lnTo>
                  <a:pt x="4044" y="3826"/>
                </a:lnTo>
                <a:lnTo>
                  <a:pt x="4046" y="3822"/>
                </a:lnTo>
                <a:lnTo>
                  <a:pt x="4047" y="3818"/>
                </a:lnTo>
                <a:lnTo>
                  <a:pt x="4048" y="3816"/>
                </a:lnTo>
                <a:lnTo>
                  <a:pt x="4048" y="3813"/>
                </a:lnTo>
                <a:lnTo>
                  <a:pt x="4047" y="3811"/>
                </a:lnTo>
                <a:lnTo>
                  <a:pt x="4046" y="3809"/>
                </a:lnTo>
                <a:lnTo>
                  <a:pt x="4036" y="3794"/>
                </a:lnTo>
                <a:lnTo>
                  <a:pt x="4029" y="3778"/>
                </a:lnTo>
                <a:lnTo>
                  <a:pt x="4027" y="3769"/>
                </a:lnTo>
                <a:lnTo>
                  <a:pt x="4023" y="3754"/>
                </a:lnTo>
                <a:lnTo>
                  <a:pt x="4020" y="3744"/>
                </a:lnTo>
                <a:lnTo>
                  <a:pt x="4015" y="3735"/>
                </a:lnTo>
                <a:lnTo>
                  <a:pt x="4010" y="3727"/>
                </a:lnTo>
                <a:lnTo>
                  <a:pt x="4004" y="3719"/>
                </a:lnTo>
                <a:lnTo>
                  <a:pt x="3986" y="3706"/>
                </a:lnTo>
                <a:lnTo>
                  <a:pt x="3965" y="3693"/>
                </a:lnTo>
                <a:lnTo>
                  <a:pt x="3956" y="3686"/>
                </a:lnTo>
                <a:lnTo>
                  <a:pt x="3949" y="3679"/>
                </a:lnTo>
                <a:lnTo>
                  <a:pt x="3947" y="3675"/>
                </a:lnTo>
                <a:lnTo>
                  <a:pt x="3945" y="3671"/>
                </a:lnTo>
                <a:lnTo>
                  <a:pt x="3945" y="3668"/>
                </a:lnTo>
                <a:lnTo>
                  <a:pt x="3946" y="3664"/>
                </a:lnTo>
                <a:lnTo>
                  <a:pt x="3954" y="3645"/>
                </a:lnTo>
                <a:lnTo>
                  <a:pt x="3959" y="3626"/>
                </a:lnTo>
                <a:lnTo>
                  <a:pt x="3963" y="3609"/>
                </a:lnTo>
                <a:lnTo>
                  <a:pt x="3964" y="3599"/>
                </a:lnTo>
                <a:lnTo>
                  <a:pt x="3966" y="3588"/>
                </a:lnTo>
                <a:lnTo>
                  <a:pt x="3971" y="3575"/>
                </a:lnTo>
                <a:lnTo>
                  <a:pt x="3973" y="3567"/>
                </a:lnTo>
                <a:lnTo>
                  <a:pt x="3973" y="3560"/>
                </a:lnTo>
                <a:lnTo>
                  <a:pt x="3973" y="3557"/>
                </a:lnTo>
                <a:lnTo>
                  <a:pt x="3972" y="3555"/>
                </a:lnTo>
                <a:lnTo>
                  <a:pt x="3971" y="3553"/>
                </a:lnTo>
                <a:lnTo>
                  <a:pt x="3969" y="3551"/>
                </a:lnTo>
                <a:lnTo>
                  <a:pt x="3959" y="3544"/>
                </a:lnTo>
                <a:lnTo>
                  <a:pt x="3949" y="3538"/>
                </a:lnTo>
                <a:lnTo>
                  <a:pt x="3945" y="3536"/>
                </a:lnTo>
                <a:lnTo>
                  <a:pt x="3940" y="3534"/>
                </a:lnTo>
                <a:lnTo>
                  <a:pt x="3936" y="3533"/>
                </a:lnTo>
                <a:lnTo>
                  <a:pt x="3932" y="3533"/>
                </a:lnTo>
                <a:lnTo>
                  <a:pt x="3921" y="3535"/>
                </a:lnTo>
                <a:lnTo>
                  <a:pt x="3912" y="3537"/>
                </a:lnTo>
                <a:lnTo>
                  <a:pt x="3907" y="3537"/>
                </a:lnTo>
                <a:lnTo>
                  <a:pt x="3902" y="3537"/>
                </a:lnTo>
                <a:lnTo>
                  <a:pt x="3899" y="3535"/>
                </a:lnTo>
                <a:lnTo>
                  <a:pt x="3895" y="3533"/>
                </a:lnTo>
                <a:lnTo>
                  <a:pt x="3888" y="3524"/>
                </a:lnTo>
                <a:lnTo>
                  <a:pt x="3876" y="3513"/>
                </a:lnTo>
                <a:lnTo>
                  <a:pt x="3871" y="3507"/>
                </a:lnTo>
                <a:lnTo>
                  <a:pt x="3866" y="3502"/>
                </a:lnTo>
                <a:lnTo>
                  <a:pt x="3860" y="3498"/>
                </a:lnTo>
                <a:lnTo>
                  <a:pt x="3856" y="3496"/>
                </a:lnTo>
                <a:lnTo>
                  <a:pt x="3846" y="3494"/>
                </a:lnTo>
                <a:lnTo>
                  <a:pt x="3832" y="3492"/>
                </a:lnTo>
                <a:lnTo>
                  <a:pt x="3822" y="3491"/>
                </a:lnTo>
                <a:lnTo>
                  <a:pt x="3816" y="3490"/>
                </a:lnTo>
                <a:lnTo>
                  <a:pt x="3812" y="3491"/>
                </a:lnTo>
                <a:lnTo>
                  <a:pt x="3804" y="3494"/>
                </a:lnTo>
                <a:lnTo>
                  <a:pt x="3792" y="3498"/>
                </a:lnTo>
                <a:lnTo>
                  <a:pt x="3782" y="3504"/>
                </a:lnTo>
                <a:lnTo>
                  <a:pt x="3770" y="3513"/>
                </a:lnTo>
                <a:lnTo>
                  <a:pt x="3756" y="3521"/>
                </a:lnTo>
                <a:lnTo>
                  <a:pt x="3747" y="3525"/>
                </a:lnTo>
                <a:lnTo>
                  <a:pt x="3739" y="3527"/>
                </a:lnTo>
                <a:lnTo>
                  <a:pt x="3730" y="3529"/>
                </a:lnTo>
                <a:lnTo>
                  <a:pt x="3723" y="3527"/>
                </a:lnTo>
                <a:lnTo>
                  <a:pt x="3706" y="3524"/>
                </a:lnTo>
                <a:lnTo>
                  <a:pt x="3690" y="3523"/>
                </a:lnTo>
                <a:lnTo>
                  <a:pt x="3681" y="3523"/>
                </a:lnTo>
                <a:lnTo>
                  <a:pt x="3674" y="3523"/>
                </a:lnTo>
                <a:lnTo>
                  <a:pt x="3668" y="3524"/>
                </a:lnTo>
                <a:lnTo>
                  <a:pt x="3662" y="3526"/>
                </a:lnTo>
                <a:lnTo>
                  <a:pt x="3649" y="3531"/>
                </a:lnTo>
                <a:lnTo>
                  <a:pt x="3629" y="3536"/>
                </a:lnTo>
                <a:lnTo>
                  <a:pt x="3607" y="3540"/>
                </a:lnTo>
                <a:lnTo>
                  <a:pt x="3590" y="3543"/>
                </a:lnTo>
                <a:lnTo>
                  <a:pt x="3585" y="3543"/>
                </a:lnTo>
                <a:lnTo>
                  <a:pt x="3578" y="3540"/>
                </a:lnTo>
                <a:lnTo>
                  <a:pt x="3571" y="3537"/>
                </a:lnTo>
                <a:lnTo>
                  <a:pt x="3562" y="3532"/>
                </a:lnTo>
                <a:lnTo>
                  <a:pt x="3542" y="3517"/>
                </a:lnTo>
                <a:lnTo>
                  <a:pt x="3519" y="3501"/>
                </a:lnTo>
                <a:lnTo>
                  <a:pt x="3497" y="3483"/>
                </a:lnTo>
                <a:lnTo>
                  <a:pt x="3477" y="3468"/>
                </a:lnTo>
                <a:lnTo>
                  <a:pt x="3462" y="3454"/>
                </a:lnTo>
                <a:lnTo>
                  <a:pt x="3454" y="3445"/>
                </a:lnTo>
                <a:lnTo>
                  <a:pt x="3445" y="3428"/>
                </a:lnTo>
                <a:lnTo>
                  <a:pt x="3434" y="3406"/>
                </a:lnTo>
                <a:lnTo>
                  <a:pt x="3429" y="3395"/>
                </a:lnTo>
                <a:lnTo>
                  <a:pt x="3423" y="3386"/>
                </a:lnTo>
                <a:lnTo>
                  <a:pt x="3418" y="3379"/>
                </a:lnTo>
                <a:lnTo>
                  <a:pt x="3414" y="3374"/>
                </a:lnTo>
                <a:lnTo>
                  <a:pt x="3403" y="3367"/>
                </a:lnTo>
                <a:lnTo>
                  <a:pt x="3389" y="3359"/>
                </a:lnTo>
                <a:lnTo>
                  <a:pt x="3383" y="3354"/>
                </a:lnTo>
                <a:lnTo>
                  <a:pt x="3377" y="3348"/>
                </a:lnTo>
                <a:lnTo>
                  <a:pt x="3375" y="3345"/>
                </a:lnTo>
                <a:lnTo>
                  <a:pt x="3374" y="3342"/>
                </a:lnTo>
                <a:lnTo>
                  <a:pt x="3373" y="3339"/>
                </a:lnTo>
                <a:lnTo>
                  <a:pt x="3373" y="3335"/>
                </a:lnTo>
                <a:lnTo>
                  <a:pt x="3377" y="3317"/>
                </a:lnTo>
                <a:lnTo>
                  <a:pt x="3384" y="3294"/>
                </a:lnTo>
                <a:lnTo>
                  <a:pt x="3390" y="3274"/>
                </a:lnTo>
                <a:lnTo>
                  <a:pt x="3394" y="3262"/>
                </a:lnTo>
                <a:lnTo>
                  <a:pt x="3397" y="3248"/>
                </a:lnTo>
                <a:lnTo>
                  <a:pt x="3401" y="3220"/>
                </a:lnTo>
                <a:lnTo>
                  <a:pt x="3402" y="3206"/>
                </a:lnTo>
                <a:lnTo>
                  <a:pt x="3403" y="3191"/>
                </a:lnTo>
                <a:lnTo>
                  <a:pt x="3403" y="3180"/>
                </a:lnTo>
                <a:lnTo>
                  <a:pt x="3403" y="3171"/>
                </a:lnTo>
                <a:lnTo>
                  <a:pt x="3399" y="3157"/>
                </a:lnTo>
                <a:lnTo>
                  <a:pt x="3396" y="3139"/>
                </a:lnTo>
                <a:lnTo>
                  <a:pt x="3395" y="3130"/>
                </a:lnTo>
                <a:lnTo>
                  <a:pt x="3394" y="3124"/>
                </a:lnTo>
                <a:lnTo>
                  <a:pt x="3394" y="3119"/>
                </a:lnTo>
                <a:lnTo>
                  <a:pt x="3396" y="3116"/>
                </a:lnTo>
                <a:lnTo>
                  <a:pt x="3406" y="3100"/>
                </a:lnTo>
                <a:lnTo>
                  <a:pt x="3425" y="3067"/>
                </a:lnTo>
                <a:lnTo>
                  <a:pt x="3436" y="3050"/>
                </a:lnTo>
                <a:lnTo>
                  <a:pt x="3446" y="3033"/>
                </a:lnTo>
                <a:lnTo>
                  <a:pt x="3457" y="3019"/>
                </a:lnTo>
                <a:lnTo>
                  <a:pt x="3464" y="3010"/>
                </a:lnTo>
                <a:lnTo>
                  <a:pt x="3482" y="2995"/>
                </a:lnTo>
                <a:lnTo>
                  <a:pt x="3504" y="2978"/>
                </a:lnTo>
                <a:lnTo>
                  <a:pt x="3523" y="2965"/>
                </a:lnTo>
                <a:lnTo>
                  <a:pt x="3530" y="2959"/>
                </a:lnTo>
                <a:lnTo>
                  <a:pt x="3529" y="2957"/>
                </a:lnTo>
                <a:lnTo>
                  <a:pt x="3529" y="2951"/>
                </a:lnTo>
                <a:lnTo>
                  <a:pt x="3530" y="2948"/>
                </a:lnTo>
                <a:lnTo>
                  <a:pt x="3531" y="2943"/>
                </a:lnTo>
                <a:lnTo>
                  <a:pt x="3533" y="2937"/>
                </a:lnTo>
                <a:lnTo>
                  <a:pt x="3537" y="2930"/>
                </a:lnTo>
                <a:lnTo>
                  <a:pt x="3543" y="2916"/>
                </a:lnTo>
                <a:lnTo>
                  <a:pt x="3548" y="2901"/>
                </a:lnTo>
                <a:lnTo>
                  <a:pt x="3550" y="2894"/>
                </a:lnTo>
                <a:lnTo>
                  <a:pt x="3553" y="2887"/>
                </a:lnTo>
                <a:lnTo>
                  <a:pt x="3558" y="2881"/>
                </a:lnTo>
                <a:lnTo>
                  <a:pt x="3562" y="2876"/>
                </a:lnTo>
                <a:lnTo>
                  <a:pt x="3573" y="2865"/>
                </a:lnTo>
                <a:lnTo>
                  <a:pt x="3585" y="2855"/>
                </a:lnTo>
                <a:lnTo>
                  <a:pt x="3597" y="2844"/>
                </a:lnTo>
                <a:lnTo>
                  <a:pt x="3608" y="2833"/>
                </a:lnTo>
                <a:lnTo>
                  <a:pt x="3617" y="2821"/>
                </a:lnTo>
                <a:lnTo>
                  <a:pt x="3625" y="2812"/>
                </a:lnTo>
                <a:lnTo>
                  <a:pt x="3630" y="2803"/>
                </a:lnTo>
                <a:lnTo>
                  <a:pt x="3632" y="2798"/>
                </a:lnTo>
                <a:lnTo>
                  <a:pt x="3633" y="2793"/>
                </a:lnTo>
                <a:lnTo>
                  <a:pt x="3636" y="2788"/>
                </a:lnTo>
                <a:lnTo>
                  <a:pt x="3638" y="2787"/>
                </a:lnTo>
                <a:lnTo>
                  <a:pt x="3640" y="2786"/>
                </a:lnTo>
                <a:lnTo>
                  <a:pt x="3642" y="2787"/>
                </a:lnTo>
                <a:lnTo>
                  <a:pt x="3646" y="2790"/>
                </a:lnTo>
                <a:lnTo>
                  <a:pt x="3648" y="2793"/>
                </a:lnTo>
                <a:lnTo>
                  <a:pt x="3652" y="2795"/>
                </a:lnTo>
                <a:lnTo>
                  <a:pt x="3656" y="2797"/>
                </a:lnTo>
                <a:lnTo>
                  <a:pt x="3660" y="2798"/>
                </a:lnTo>
                <a:lnTo>
                  <a:pt x="3669" y="2799"/>
                </a:lnTo>
                <a:lnTo>
                  <a:pt x="3676" y="2799"/>
                </a:lnTo>
                <a:lnTo>
                  <a:pt x="3688" y="2798"/>
                </a:lnTo>
                <a:lnTo>
                  <a:pt x="3708" y="2797"/>
                </a:lnTo>
                <a:lnTo>
                  <a:pt x="3729" y="2796"/>
                </a:lnTo>
                <a:lnTo>
                  <a:pt x="3744" y="2793"/>
                </a:lnTo>
                <a:lnTo>
                  <a:pt x="3757" y="2787"/>
                </a:lnTo>
                <a:lnTo>
                  <a:pt x="3769" y="2777"/>
                </a:lnTo>
                <a:lnTo>
                  <a:pt x="3776" y="2773"/>
                </a:lnTo>
                <a:lnTo>
                  <a:pt x="3783" y="2770"/>
                </a:lnTo>
                <a:lnTo>
                  <a:pt x="3788" y="2767"/>
                </a:lnTo>
                <a:lnTo>
                  <a:pt x="3792" y="2766"/>
                </a:lnTo>
                <a:lnTo>
                  <a:pt x="3806" y="2764"/>
                </a:lnTo>
                <a:lnTo>
                  <a:pt x="3828" y="2761"/>
                </a:lnTo>
                <a:lnTo>
                  <a:pt x="3853" y="2756"/>
                </a:lnTo>
                <a:lnTo>
                  <a:pt x="3879" y="2753"/>
                </a:lnTo>
                <a:lnTo>
                  <a:pt x="3906" y="2750"/>
                </a:lnTo>
                <a:lnTo>
                  <a:pt x="3935" y="2746"/>
                </a:lnTo>
                <a:lnTo>
                  <a:pt x="3948" y="2745"/>
                </a:lnTo>
                <a:lnTo>
                  <a:pt x="3961" y="2744"/>
                </a:lnTo>
                <a:lnTo>
                  <a:pt x="3971" y="2744"/>
                </a:lnTo>
                <a:lnTo>
                  <a:pt x="3979" y="2746"/>
                </a:lnTo>
                <a:lnTo>
                  <a:pt x="3990" y="2751"/>
                </a:lnTo>
                <a:lnTo>
                  <a:pt x="4001" y="2756"/>
                </a:lnTo>
                <a:lnTo>
                  <a:pt x="4004" y="2758"/>
                </a:lnTo>
                <a:lnTo>
                  <a:pt x="4007" y="2761"/>
                </a:lnTo>
                <a:lnTo>
                  <a:pt x="4008" y="2763"/>
                </a:lnTo>
                <a:lnTo>
                  <a:pt x="4007" y="2765"/>
                </a:lnTo>
                <a:lnTo>
                  <a:pt x="4002" y="2770"/>
                </a:lnTo>
                <a:lnTo>
                  <a:pt x="3997" y="2777"/>
                </a:lnTo>
                <a:lnTo>
                  <a:pt x="3995" y="2783"/>
                </a:lnTo>
                <a:lnTo>
                  <a:pt x="3994" y="2788"/>
                </a:lnTo>
                <a:lnTo>
                  <a:pt x="3995" y="2793"/>
                </a:lnTo>
                <a:lnTo>
                  <a:pt x="3999" y="2800"/>
                </a:lnTo>
                <a:lnTo>
                  <a:pt x="4003" y="2807"/>
                </a:lnTo>
                <a:lnTo>
                  <a:pt x="4006" y="2815"/>
                </a:lnTo>
                <a:lnTo>
                  <a:pt x="4008" y="2822"/>
                </a:lnTo>
                <a:lnTo>
                  <a:pt x="4010" y="2830"/>
                </a:lnTo>
                <a:lnTo>
                  <a:pt x="4014" y="2843"/>
                </a:lnTo>
                <a:lnTo>
                  <a:pt x="4019" y="2854"/>
                </a:lnTo>
                <a:lnTo>
                  <a:pt x="4021" y="2858"/>
                </a:lnTo>
                <a:lnTo>
                  <a:pt x="4023" y="2861"/>
                </a:lnTo>
                <a:lnTo>
                  <a:pt x="4026" y="2864"/>
                </a:lnTo>
                <a:lnTo>
                  <a:pt x="4029" y="2866"/>
                </a:lnTo>
                <a:lnTo>
                  <a:pt x="4032" y="2867"/>
                </a:lnTo>
                <a:lnTo>
                  <a:pt x="4036" y="2869"/>
                </a:lnTo>
                <a:lnTo>
                  <a:pt x="4042" y="2871"/>
                </a:lnTo>
                <a:lnTo>
                  <a:pt x="4048" y="2871"/>
                </a:lnTo>
                <a:lnTo>
                  <a:pt x="4061" y="2869"/>
                </a:lnTo>
                <a:lnTo>
                  <a:pt x="4073" y="2869"/>
                </a:lnTo>
                <a:lnTo>
                  <a:pt x="4079" y="2869"/>
                </a:lnTo>
                <a:lnTo>
                  <a:pt x="4085" y="2872"/>
                </a:lnTo>
                <a:lnTo>
                  <a:pt x="4090" y="2875"/>
                </a:lnTo>
                <a:lnTo>
                  <a:pt x="4095" y="2880"/>
                </a:lnTo>
                <a:lnTo>
                  <a:pt x="4102" y="2886"/>
                </a:lnTo>
                <a:lnTo>
                  <a:pt x="4111" y="2893"/>
                </a:lnTo>
                <a:lnTo>
                  <a:pt x="4121" y="2899"/>
                </a:lnTo>
                <a:lnTo>
                  <a:pt x="4133" y="2904"/>
                </a:lnTo>
                <a:lnTo>
                  <a:pt x="4145" y="2909"/>
                </a:lnTo>
                <a:lnTo>
                  <a:pt x="4158" y="2913"/>
                </a:lnTo>
                <a:lnTo>
                  <a:pt x="4170" y="2917"/>
                </a:lnTo>
                <a:lnTo>
                  <a:pt x="4182" y="2920"/>
                </a:lnTo>
                <a:lnTo>
                  <a:pt x="4188" y="2920"/>
                </a:lnTo>
                <a:lnTo>
                  <a:pt x="4193" y="2919"/>
                </a:lnTo>
                <a:lnTo>
                  <a:pt x="4198" y="2916"/>
                </a:lnTo>
                <a:lnTo>
                  <a:pt x="4203" y="2911"/>
                </a:lnTo>
                <a:lnTo>
                  <a:pt x="4211" y="2901"/>
                </a:lnTo>
                <a:lnTo>
                  <a:pt x="4220" y="2888"/>
                </a:lnTo>
                <a:lnTo>
                  <a:pt x="4228" y="2877"/>
                </a:lnTo>
                <a:lnTo>
                  <a:pt x="4236" y="2867"/>
                </a:lnTo>
                <a:lnTo>
                  <a:pt x="4241" y="2864"/>
                </a:lnTo>
                <a:lnTo>
                  <a:pt x="4245" y="2862"/>
                </a:lnTo>
                <a:lnTo>
                  <a:pt x="4250" y="2862"/>
                </a:lnTo>
                <a:lnTo>
                  <a:pt x="4255" y="2864"/>
                </a:lnTo>
                <a:lnTo>
                  <a:pt x="4275" y="2876"/>
                </a:lnTo>
                <a:lnTo>
                  <a:pt x="4294" y="2887"/>
                </a:lnTo>
                <a:lnTo>
                  <a:pt x="4304" y="2893"/>
                </a:lnTo>
                <a:lnTo>
                  <a:pt x="4313" y="2897"/>
                </a:lnTo>
                <a:lnTo>
                  <a:pt x="4323" y="2901"/>
                </a:lnTo>
                <a:lnTo>
                  <a:pt x="4334" y="2903"/>
                </a:lnTo>
                <a:lnTo>
                  <a:pt x="4346" y="2905"/>
                </a:lnTo>
                <a:lnTo>
                  <a:pt x="4359" y="2906"/>
                </a:lnTo>
                <a:lnTo>
                  <a:pt x="4373" y="2907"/>
                </a:lnTo>
                <a:lnTo>
                  <a:pt x="4385" y="2907"/>
                </a:lnTo>
                <a:lnTo>
                  <a:pt x="4406" y="2907"/>
                </a:lnTo>
                <a:lnTo>
                  <a:pt x="4415" y="2906"/>
                </a:lnTo>
                <a:lnTo>
                  <a:pt x="4417" y="2903"/>
                </a:lnTo>
                <a:lnTo>
                  <a:pt x="4423" y="2898"/>
                </a:lnTo>
                <a:lnTo>
                  <a:pt x="4428" y="2896"/>
                </a:lnTo>
                <a:lnTo>
                  <a:pt x="4434" y="2895"/>
                </a:lnTo>
                <a:lnTo>
                  <a:pt x="4438" y="2896"/>
                </a:lnTo>
                <a:lnTo>
                  <a:pt x="4442" y="2897"/>
                </a:lnTo>
                <a:lnTo>
                  <a:pt x="4446" y="2899"/>
                </a:lnTo>
                <a:lnTo>
                  <a:pt x="4450" y="2901"/>
                </a:lnTo>
                <a:lnTo>
                  <a:pt x="4465" y="2912"/>
                </a:lnTo>
                <a:lnTo>
                  <a:pt x="4474" y="2918"/>
                </a:lnTo>
                <a:lnTo>
                  <a:pt x="4478" y="2919"/>
                </a:lnTo>
                <a:lnTo>
                  <a:pt x="4482" y="2919"/>
                </a:lnTo>
                <a:lnTo>
                  <a:pt x="4486" y="2918"/>
                </a:lnTo>
                <a:lnTo>
                  <a:pt x="4491" y="2916"/>
                </a:lnTo>
                <a:lnTo>
                  <a:pt x="4503" y="2909"/>
                </a:lnTo>
                <a:lnTo>
                  <a:pt x="4513" y="2903"/>
                </a:lnTo>
                <a:lnTo>
                  <a:pt x="4520" y="2898"/>
                </a:lnTo>
                <a:lnTo>
                  <a:pt x="4524" y="2897"/>
                </a:lnTo>
                <a:lnTo>
                  <a:pt x="4524" y="2889"/>
                </a:lnTo>
                <a:lnTo>
                  <a:pt x="4524" y="2875"/>
                </a:lnTo>
                <a:lnTo>
                  <a:pt x="4524" y="2865"/>
                </a:lnTo>
                <a:lnTo>
                  <a:pt x="4525" y="2856"/>
                </a:lnTo>
                <a:lnTo>
                  <a:pt x="4527" y="2846"/>
                </a:lnTo>
                <a:lnTo>
                  <a:pt x="4529" y="2839"/>
                </a:lnTo>
                <a:lnTo>
                  <a:pt x="4535" y="2825"/>
                </a:lnTo>
                <a:lnTo>
                  <a:pt x="4541" y="2813"/>
                </a:lnTo>
                <a:lnTo>
                  <a:pt x="4546" y="2802"/>
                </a:lnTo>
                <a:lnTo>
                  <a:pt x="4549" y="2797"/>
                </a:lnTo>
                <a:lnTo>
                  <a:pt x="4551" y="2790"/>
                </a:lnTo>
                <a:lnTo>
                  <a:pt x="4551" y="2779"/>
                </a:lnTo>
                <a:lnTo>
                  <a:pt x="4551" y="2775"/>
                </a:lnTo>
                <a:lnTo>
                  <a:pt x="4549" y="2771"/>
                </a:lnTo>
                <a:lnTo>
                  <a:pt x="4547" y="2770"/>
                </a:lnTo>
                <a:lnTo>
                  <a:pt x="4544" y="2769"/>
                </a:lnTo>
                <a:lnTo>
                  <a:pt x="4542" y="2769"/>
                </a:lnTo>
                <a:lnTo>
                  <a:pt x="4539" y="2769"/>
                </a:lnTo>
                <a:lnTo>
                  <a:pt x="4527" y="2773"/>
                </a:lnTo>
                <a:lnTo>
                  <a:pt x="4514" y="2780"/>
                </a:lnTo>
                <a:lnTo>
                  <a:pt x="4508" y="2784"/>
                </a:lnTo>
                <a:lnTo>
                  <a:pt x="4503" y="2785"/>
                </a:lnTo>
                <a:lnTo>
                  <a:pt x="4498" y="2786"/>
                </a:lnTo>
                <a:lnTo>
                  <a:pt x="4494" y="2785"/>
                </a:lnTo>
                <a:lnTo>
                  <a:pt x="4486" y="2778"/>
                </a:lnTo>
                <a:lnTo>
                  <a:pt x="4475" y="2773"/>
                </a:lnTo>
                <a:lnTo>
                  <a:pt x="4470" y="2771"/>
                </a:lnTo>
                <a:lnTo>
                  <a:pt x="4465" y="2769"/>
                </a:lnTo>
                <a:lnTo>
                  <a:pt x="4460" y="2769"/>
                </a:lnTo>
                <a:lnTo>
                  <a:pt x="4454" y="2771"/>
                </a:lnTo>
                <a:lnTo>
                  <a:pt x="4444" y="2776"/>
                </a:lnTo>
                <a:lnTo>
                  <a:pt x="4432" y="2780"/>
                </a:lnTo>
                <a:lnTo>
                  <a:pt x="4423" y="2784"/>
                </a:lnTo>
                <a:lnTo>
                  <a:pt x="4416" y="2785"/>
                </a:lnTo>
                <a:lnTo>
                  <a:pt x="4403" y="2787"/>
                </a:lnTo>
                <a:lnTo>
                  <a:pt x="4382" y="2791"/>
                </a:lnTo>
                <a:lnTo>
                  <a:pt x="4363" y="2796"/>
                </a:lnTo>
                <a:lnTo>
                  <a:pt x="4355" y="2799"/>
                </a:lnTo>
                <a:lnTo>
                  <a:pt x="4352" y="2795"/>
                </a:lnTo>
                <a:lnTo>
                  <a:pt x="4344" y="2787"/>
                </a:lnTo>
                <a:lnTo>
                  <a:pt x="4341" y="2781"/>
                </a:lnTo>
                <a:lnTo>
                  <a:pt x="4338" y="2775"/>
                </a:lnTo>
                <a:lnTo>
                  <a:pt x="4336" y="2770"/>
                </a:lnTo>
                <a:lnTo>
                  <a:pt x="4336" y="2765"/>
                </a:lnTo>
                <a:lnTo>
                  <a:pt x="4339" y="2756"/>
                </a:lnTo>
                <a:lnTo>
                  <a:pt x="4343" y="2749"/>
                </a:lnTo>
                <a:lnTo>
                  <a:pt x="4344" y="2746"/>
                </a:lnTo>
                <a:lnTo>
                  <a:pt x="4346" y="2742"/>
                </a:lnTo>
                <a:lnTo>
                  <a:pt x="4346" y="2737"/>
                </a:lnTo>
                <a:lnTo>
                  <a:pt x="4346" y="2733"/>
                </a:lnTo>
                <a:lnTo>
                  <a:pt x="4343" y="2724"/>
                </a:lnTo>
                <a:lnTo>
                  <a:pt x="4339" y="2714"/>
                </a:lnTo>
                <a:lnTo>
                  <a:pt x="4338" y="2709"/>
                </a:lnTo>
                <a:lnTo>
                  <a:pt x="4337" y="2705"/>
                </a:lnTo>
                <a:lnTo>
                  <a:pt x="4337" y="2700"/>
                </a:lnTo>
                <a:lnTo>
                  <a:pt x="4339" y="2696"/>
                </a:lnTo>
                <a:lnTo>
                  <a:pt x="4345" y="2684"/>
                </a:lnTo>
                <a:lnTo>
                  <a:pt x="4352" y="2670"/>
                </a:lnTo>
                <a:lnTo>
                  <a:pt x="4355" y="2664"/>
                </a:lnTo>
                <a:lnTo>
                  <a:pt x="4358" y="2659"/>
                </a:lnTo>
                <a:lnTo>
                  <a:pt x="4360" y="2656"/>
                </a:lnTo>
                <a:lnTo>
                  <a:pt x="4363" y="2654"/>
                </a:lnTo>
                <a:lnTo>
                  <a:pt x="4359" y="2654"/>
                </a:lnTo>
                <a:lnTo>
                  <a:pt x="4344" y="2659"/>
                </a:lnTo>
                <a:lnTo>
                  <a:pt x="4327" y="2665"/>
                </a:lnTo>
                <a:lnTo>
                  <a:pt x="4317" y="2668"/>
                </a:lnTo>
                <a:lnTo>
                  <a:pt x="4312" y="2684"/>
                </a:lnTo>
                <a:lnTo>
                  <a:pt x="4308" y="2698"/>
                </a:lnTo>
                <a:lnTo>
                  <a:pt x="4299" y="2692"/>
                </a:lnTo>
                <a:lnTo>
                  <a:pt x="4286" y="2683"/>
                </a:lnTo>
                <a:lnTo>
                  <a:pt x="4279" y="2678"/>
                </a:lnTo>
                <a:lnTo>
                  <a:pt x="4273" y="2675"/>
                </a:lnTo>
                <a:lnTo>
                  <a:pt x="4270" y="2674"/>
                </a:lnTo>
                <a:lnTo>
                  <a:pt x="4268" y="2674"/>
                </a:lnTo>
                <a:lnTo>
                  <a:pt x="4267" y="2674"/>
                </a:lnTo>
                <a:lnTo>
                  <a:pt x="4266" y="2675"/>
                </a:lnTo>
                <a:lnTo>
                  <a:pt x="4264" y="2678"/>
                </a:lnTo>
                <a:lnTo>
                  <a:pt x="4264" y="2682"/>
                </a:lnTo>
                <a:lnTo>
                  <a:pt x="4263" y="2686"/>
                </a:lnTo>
                <a:lnTo>
                  <a:pt x="4264" y="2691"/>
                </a:lnTo>
                <a:lnTo>
                  <a:pt x="4265" y="2702"/>
                </a:lnTo>
                <a:lnTo>
                  <a:pt x="4269" y="2714"/>
                </a:lnTo>
                <a:lnTo>
                  <a:pt x="4269" y="2718"/>
                </a:lnTo>
                <a:lnTo>
                  <a:pt x="4270" y="2722"/>
                </a:lnTo>
                <a:lnTo>
                  <a:pt x="4269" y="2725"/>
                </a:lnTo>
                <a:lnTo>
                  <a:pt x="4269" y="2728"/>
                </a:lnTo>
                <a:lnTo>
                  <a:pt x="4266" y="2733"/>
                </a:lnTo>
                <a:lnTo>
                  <a:pt x="4263" y="2740"/>
                </a:lnTo>
                <a:lnTo>
                  <a:pt x="4254" y="2747"/>
                </a:lnTo>
                <a:lnTo>
                  <a:pt x="4251" y="2751"/>
                </a:lnTo>
                <a:lnTo>
                  <a:pt x="4246" y="2747"/>
                </a:lnTo>
                <a:lnTo>
                  <a:pt x="4235" y="2740"/>
                </a:lnTo>
                <a:lnTo>
                  <a:pt x="4229" y="2734"/>
                </a:lnTo>
                <a:lnTo>
                  <a:pt x="4224" y="2730"/>
                </a:lnTo>
                <a:lnTo>
                  <a:pt x="4221" y="2726"/>
                </a:lnTo>
                <a:lnTo>
                  <a:pt x="4220" y="2723"/>
                </a:lnTo>
                <a:lnTo>
                  <a:pt x="4216" y="2709"/>
                </a:lnTo>
                <a:lnTo>
                  <a:pt x="4206" y="2686"/>
                </a:lnTo>
                <a:lnTo>
                  <a:pt x="4198" y="2663"/>
                </a:lnTo>
                <a:lnTo>
                  <a:pt x="4193" y="2652"/>
                </a:lnTo>
                <a:lnTo>
                  <a:pt x="4192" y="2645"/>
                </a:lnTo>
                <a:lnTo>
                  <a:pt x="4187" y="2637"/>
                </a:lnTo>
                <a:lnTo>
                  <a:pt x="4182" y="2627"/>
                </a:lnTo>
                <a:lnTo>
                  <a:pt x="4177" y="2621"/>
                </a:lnTo>
                <a:lnTo>
                  <a:pt x="4162" y="2612"/>
                </a:lnTo>
                <a:lnTo>
                  <a:pt x="4136" y="2595"/>
                </a:lnTo>
                <a:lnTo>
                  <a:pt x="4108" y="2577"/>
                </a:lnTo>
                <a:lnTo>
                  <a:pt x="4089" y="2564"/>
                </a:lnTo>
                <a:lnTo>
                  <a:pt x="4077" y="2550"/>
                </a:lnTo>
                <a:lnTo>
                  <a:pt x="4065" y="2531"/>
                </a:lnTo>
                <a:lnTo>
                  <a:pt x="4058" y="2523"/>
                </a:lnTo>
                <a:lnTo>
                  <a:pt x="4053" y="2516"/>
                </a:lnTo>
                <a:lnTo>
                  <a:pt x="4051" y="2513"/>
                </a:lnTo>
                <a:lnTo>
                  <a:pt x="4049" y="2512"/>
                </a:lnTo>
                <a:lnTo>
                  <a:pt x="4047" y="2512"/>
                </a:lnTo>
                <a:lnTo>
                  <a:pt x="4046" y="2512"/>
                </a:lnTo>
                <a:lnTo>
                  <a:pt x="4036" y="2526"/>
                </a:lnTo>
                <a:lnTo>
                  <a:pt x="4031" y="2534"/>
                </a:lnTo>
                <a:lnTo>
                  <a:pt x="4032" y="2537"/>
                </a:lnTo>
                <a:lnTo>
                  <a:pt x="4035" y="2544"/>
                </a:lnTo>
                <a:lnTo>
                  <a:pt x="4041" y="2551"/>
                </a:lnTo>
                <a:lnTo>
                  <a:pt x="4046" y="2557"/>
                </a:lnTo>
                <a:lnTo>
                  <a:pt x="4050" y="2562"/>
                </a:lnTo>
                <a:lnTo>
                  <a:pt x="4055" y="2572"/>
                </a:lnTo>
                <a:lnTo>
                  <a:pt x="4059" y="2578"/>
                </a:lnTo>
                <a:lnTo>
                  <a:pt x="4065" y="2584"/>
                </a:lnTo>
                <a:lnTo>
                  <a:pt x="4072" y="2591"/>
                </a:lnTo>
                <a:lnTo>
                  <a:pt x="4082" y="2598"/>
                </a:lnTo>
                <a:lnTo>
                  <a:pt x="4108" y="2615"/>
                </a:lnTo>
                <a:lnTo>
                  <a:pt x="4136" y="2634"/>
                </a:lnTo>
                <a:lnTo>
                  <a:pt x="4159" y="2650"/>
                </a:lnTo>
                <a:lnTo>
                  <a:pt x="4170" y="2659"/>
                </a:lnTo>
                <a:lnTo>
                  <a:pt x="4171" y="2662"/>
                </a:lnTo>
                <a:lnTo>
                  <a:pt x="4171" y="2666"/>
                </a:lnTo>
                <a:lnTo>
                  <a:pt x="4171" y="2670"/>
                </a:lnTo>
                <a:lnTo>
                  <a:pt x="4170" y="2676"/>
                </a:lnTo>
                <a:lnTo>
                  <a:pt x="4169" y="2684"/>
                </a:lnTo>
                <a:lnTo>
                  <a:pt x="4168" y="2688"/>
                </a:lnTo>
                <a:lnTo>
                  <a:pt x="4163" y="2684"/>
                </a:lnTo>
                <a:lnTo>
                  <a:pt x="4152" y="2677"/>
                </a:lnTo>
                <a:lnTo>
                  <a:pt x="4145" y="2674"/>
                </a:lnTo>
                <a:lnTo>
                  <a:pt x="4139" y="2671"/>
                </a:lnTo>
                <a:lnTo>
                  <a:pt x="4137" y="2670"/>
                </a:lnTo>
                <a:lnTo>
                  <a:pt x="4136" y="2670"/>
                </a:lnTo>
                <a:lnTo>
                  <a:pt x="4135" y="2671"/>
                </a:lnTo>
                <a:lnTo>
                  <a:pt x="4134" y="2672"/>
                </a:lnTo>
                <a:lnTo>
                  <a:pt x="4135" y="2677"/>
                </a:lnTo>
                <a:lnTo>
                  <a:pt x="4137" y="2681"/>
                </a:lnTo>
                <a:lnTo>
                  <a:pt x="4140" y="2685"/>
                </a:lnTo>
                <a:lnTo>
                  <a:pt x="4143" y="2690"/>
                </a:lnTo>
                <a:lnTo>
                  <a:pt x="4145" y="2694"/>
                </a:lnTo>
                <a:lnTo>
                  <a:pt x="4147" y="2699"/>
                </a:lnTo>
                <a:lnTo>
                  <a:pt x="4148" y="2702"/>
                </a:lnTo>
                <a:lnTo>
                  <a:pt x="4147" y="2704"/>
                </a:lnTo>
                <a:lnTo>
                  <a:pt x="4139" y="2712"/>
                </a:lnTo>
                <a:lnTo>
                  <a:pt x="4126" y="2725"/>
                </a:lnTo>
                <a:lnTo>
                  <a:pt x="4119" y="2731"/>
                </a:lnTo>
                <a:lnTo>
                  <a:pt x="4113" y="2735"/>
                </a:lnTo>
                <a:lnTo>
                  <a:pt x="4110" y="2737"/>
                </a:lnTo>
                <a:lnTo>
                  <a:pt x="4108" y="2739"/>
                </a:lnTo>
                <a:lnTo>
                  <a:pt x="4105" y="2739"/>
                </a:lnTo>
                <a:lnTo>
                  <a:pt x="4104" y="2739"/>
                </a:lnTo>
                <a:lnTo>
                  <a:pt x="4102" y="2736"/>
                </a:lnTo>
                <a:lnTo>
                  <a:pt x="4100" y="2736"/>
                </a:lnTo>
                <a:lnTo>
                  <a:pt x="4099" y="2736"/>
                </a:lnTo>
                <a:lnTo>
                  <a:pt x="4097" y="2737"/>
                </a:lnTo>
                <a:lnTo>
                  <a:pt x="4095" y="2741"/>
                </a:lnTo>
                <a:lnTo>
                  <a:pt x="4095" y="2744"/>
                </a:lnTo>
                <a:lnTo>
                  <a:pt x="4095" y="2748"/>
                </a:lnTo>
                <a:lnTo>
                  <a:pt x="4094" y="2753"/>
                </a:lnTo>
                <a:lnTo>
                  <a:pt x="4093" y="2756"/>
                </a:lnTo>
                <a:lnTo>
                  <a:pt x="4092" y="2758"/>
                </a:lnTo>
                <a:lnTo>
                  <a:pt x="4090" y="2761"/>
                </a:lnTo>
                <a:lnTo>
                  <a:pt x="4087" y="2762"/>
                </a:lnTo>
                <a:lnTo>
                  <a:pt x="4082" y="2762"/>
                </a:lnTo>
                <a:lnTo>
                  <a:pt x="4074" y="2758"/>
                </a:lnTo>
                <a:lnTo>
                  <a:pt x="4065" y="2754"/>
                </a:lnTo>
                <a:lnTo>
                  <a:pt x="4054" y="2750"/>
                </a:lnTo>
                <a:lnTo>
                  <a:pt x="4044" y="2745"/>
                </a:lnTo>
                <a:lnTo>
                  <a:pt x="4036" y="2740"/>
                </a:lnTo>
                <a:lnTo>
                  <a:pt x="4033" y="2737"/>
                </a:lnTo>
                <a:lnTo>
                  <a:pt x="4031" y="2736"/>
                </a:lnTo>
                <a:lnTo>
                  <a:pt x="4031" y="2734"/>
                </a:lnTo>
                <a:lnTo>
                  <a:pt x="4031" y="2733"/>
                </a:lnTo>
                <a:lnTo>
                  <a:pt x="4039" y="2730"/>
                </a:lnTo>
                <a:lnTo>
                  <a:pt x="4053" y="2727"/>
                </a:lnTo>
                <a:lnTo>
                  <a:pt x="4067" y="2725"/>
                </a:lnTo>
                <a:lnTo>
                  <a:pt x="4077" y="2724"/>
                </a:lnTo>
                <a:lnTo>
                  <a:pt x="4083" y="2725"/>
                </a:lnTo>
                <a:lnTo>
                  <a:pt x="4091" y="2729"/>
                </a:lnTo>
                <a:lnTo>
                  <a:pt x="4093" y="2731"/>
                </a:lnTo>
                <a:lnTo>
                  <a:pt x="4096" y="2732"/>
                </a:lnTo>
                <a:lnTo>
                  <a:pt x="4097" y="2731"/>
                </a:lnTo>
                <a:lnTo>
                  <a:pt x="4098" y="2729"/>
                </a:lnTo>
                <a:lnTo>
                  <a:pt x="4101" y="2715"/>
                </a:lnTo>
                <a:lnTo>
                  <a:pt x="4105" y="2705"/>
                </a:lnTo>
                <a:lnTo>
                  <a:pt x="4108" y="2701"/>
                </a:lnTo>
                <a:lnTo>
                  <a:pt x="4110" y="2697"/>
                </a:lnTo>
                <a:lnTo>
                  <a:pt x="4111" y="2694"/>
                </a:lnTo>
                <a:lnTo>
                  <a:pt x="4110" y="2691"/>
                </a:lnTo>
                <a:lnTo>
                  <a:pt x="4109" y="2688"/>
                </a:lnTo>
                <a:lnTo>
                  <a:pt x="4105" y="2685"/>
                </a:lnTo>
                <a:lnTo>
                  <a:pt x="4088" y="2672"/>
                </a:lnTo>
                <a:lnTo>
                  <a:pt x="4057" y="2652"/>
                </a:lnTo>
                <a:lnTo>
                  <a:pt x="4041" y="2640"/>
                </a:lnTo>
                <a:lnTo>
                  <a:pt x="4027" y="2630"/>
                </a:lnTo>
                <a:lnTo>
                  <a:pt x="4015" y="2620"/>
                </a:lnTo>
                <a:lnTo>
                  <a:pt x="4010" y="2615"/>
                </a:lnTo>
                <a:lnTo>
                  <a:pt x="4000" y="2600"/>
                </a:lnTo>
                <a:lnTo>
                  <a:pt x="3983" y="2578"/>
                </a:lnTo>
                <a:lnTo>
                  <a:pt x="3967" y="2558"/>
                </a:lnTo>
                <a:lnTo>
                  <a:pt x="3960" y="2550"/>
                </a:lnTo>
                <a:lnTo>
                  <a:pt x="3948" y="2555"/>
                </a:lnTo>
                <a:lnTo>
                  <a:pt x="3935" y="2565"/>
                </a:lnTo>
                <a:lnTo>
                  <a:pt x="3927" y="2572"/>
                </a:lnTo>
                <a:lnTo>
                  <a:pt x="3914" y="2583"/>
                </a:lnTo>
                <a:lnTo>
                  <a:pt x="3906" y="2589"/>
                </a:lnTo>
                <a:lnTo>
                  <a:pt x="3899" y="2593"/>
                </a:lnTo>
                <a:lnTo>
                  <a:pt x="3896" y="2595"/>
                </a:lnTo>
                <a:lnTo>
                  <a:pt x="3893" y="2595"/>
                </a:lnTo>
                <a:lnTo>
                  <a:pt x="3890" y="2595"/>
                </a:lnTo>
                <a:lnTo>
                  <a:pt x="3887" y="2595"/>
                </a:lnTo>
                <a:lnTo>
                  <a:pt x="3874" y="2588"/>
                </a:lnTo>
                <a:lnTo>
                  <a:pt x="3859" y="2580"/>
                </a:lnTo>
                <a:lnTo>
                  <a:pt x="3852" y="2578"/>
                </a:lnTo>
                <a:lnTo>
                  <a:pt x="3846" y="2577"/>
                </a:lnTo>
                <a:lnTo>
                  <a:pt x="3843" y="2577"/>
                </a:lnTo>
                <a:lnTo>
                  <a:pt x="3840" y="2578"/>
                </a:lnTo>
                <a:lnTo>
                  <a:pt x="3837" y="2580"/>
                </a:lnTo>
                <a:lnTo>
                  <a:pt x="3836" y="2582"/>
                </a:lnTo>
                <a:lnTo>
                  <a:pt x="3831" y="2591"/>
                </a:lnTo>
                <a:lnTo>
                  <a:pt x="3829" y="2597"/>
                </a:lnTo>
                <a:lnTo>
                  <a:pt x="3829" y="2600"/>
                </a:lnTo>
                <a:lnTo>
                  <a:pt x="3830" y="2602"/>
                </a:lnTo>
                <a:lnTo>
                  <a:pt x="3831" y="2604"/>
                </a:lnTo>
                <a:lnTo>
                  <a:pt x="3833" y="2606"/>
                </a:lnTo>
                <a:lnTo>
                  <a:pt x="3835" y="2609"/>
                </a:lnTo>
                <a:lnTo>
                  <a:pt x="3837" y="2611"/>
                </a:lnTo>
                <a:lnTo>
                  <a:pt x="3837" y="2614"/>
                </a:lnTo>
                <a:lnTo>
                  <a:pt x="3837" y="2616"/>
                </a:lnTo>
                <a:lnTo>
                  <a:pt x="3836" y="2620"/>
                </a:lnTo>
                <a:lnTo>
                  <a:pt x="3834" y="2623"/>
                </a:lnTo>
                <a:lnTo>
                  <a:pt x="3831" y="2625"/>
                </a:lnTo>
                <a:lnTo>
                  <a:pt x="3825" y="2627"/>
                </a:lnTo>
                <a:lnTo>
                  <a:pt x="3822" y="2630"/>
                </a:lnTo>
                <a:lnTo>
                  <a:pt x="3817" y="2632"/>
                </a:lnTo>
                <a:lnTo>
                  <a:pt x="3814" y="2635"/>
                </a:lnTo>
                <a:lnTo>
                  <a:pt x="3811" y="2639"/>
                </a:lnTo>
                <a:lnTo>
                  <a:pt x="3804" y="2647"/>
                </a:lnTo>
                <a:lnTo>
                  <a:pt x="3794" y="2654"/>
                </a:lnTo>
                <a:lnTo>
                  <a:pt x="3787" y="2659"/>
                </a:lnTo>
                <a:lnTo>
                  <a:pt x="3781" y="2662"/>
                </a:lnTo>
                <a:lnTo>
                  <a:pt x="3775" y="2667"/>
                </a:lnTo>
                <a:lnTo>
                  <a:pt x="3770" y="2675"/>
                </a:lnTo>
                <a:lnTo>
                  <a:pt x="3767" y="2679"/>
                </a:lnTo>
                <a:lnTo>
                  <a:pt x="3765" y="2684"/>
                </a:lnTo>
                <a:lnTo>
                  <a:pt x="3763" y="2690"/>
                </a:lnTo>
                <a:lnTo>
                  <a:pt x="3762" y="2697"/>
                </a:lnTo>
                <a:lnTo>
                  <a:pt x="3762" y="2705"/>
                </a:lnTo>
                <a:lnTo>
                  <a:pt x="3763" y="2708"/>
                </a:lnTo>
                <a:lnTo>
                  <a:pt x="3762" y="2711"/>
                </a:lnTo>
                <a:lnTo>
                  <a:pt x="3759" y="2716"/>
                </a:lnTo>
                <a:lnTo>
                  <a:pt x="3752" y="2727"/>
                </a:lnTo>
                <a:lnTo>
                  <a:pt x="3744" y="2740"/>
                </a:lnTo>
                <a:lnTo>
                  <a:pt x="3740" y="2746"/>
                </a:lnTo>
                <a:lnTo>
                  <a:pt x="3734" y="2751"/>
                </a:lnTo>
                <a:lnTo>
                  <a:pt x="3728" y="2755"/>
                </a:lnTo>
                <a:lnTo>
                  <a:pt x="3722" y="2758"/>
                </a:lnTo>
                <a:lnTo>
                  <a:pt x="3715" y="2761"/>
                </a:lnTo>
                <a:lnTo>
                  <a:pt x="3706" y="2763"/>
                </a:lnTo>
                <a:lnTo>
                  <a:pt x="3698" y="2763"/>
                </a:lnTo>
                <a:lnTo>
                  <a:pt x="3688" y="2764"/>
                </a:lnTo>
                <a:lnTo>
                  <a:pt x="3680" y="2764"/>
                </a:lnTo>
                <a:lnTo>
                  <a:pt x="3673" y="2765"/>
                </a:lnTo>
                <a:lnTo>
                  <a:pt x="3668" y="2766"/>
                </a:lnTo>
                <a:lnTo>
                  <a:pt x="3663" y="2767"/>
                </a:lnTo>
                <a:lnTo>
                  <a:pt x="3657" y="2771"/>
                </a:lnTo>
                <a:lnTo>
                  <a:pt x="3650" y="2776"/>
                </a:lnTo>
                <a:lnTo>
                  <a:pt x="3643" y="2779"/>
                </a:lnTo>
                <a:lnTo>
                  <a:pt x="3639" y="2779"/>
                </a:lnTo>
                <a:lnTo>
                  <a:pt x="3629" y="2770"/>
                </a:lnTo>
                <a:lnTo>
                  <a:pt x="3617" y="2759"/>
                </a:lnTo>
                <a:lnTo>
                  <a:pt x="3613" y="2756"/>
                </a:lnTo>
                <a:lnTo>
                  <a:pt x="3607" y="2753"/>
                </a:lnTo>
                <a:lnTo>
                  <a:pt x="3598" y="2751"/>
                </a:lnTo>
                <a:lnTo>
                  <a:pt x="3593" y="2751"/>
                </a:lnTo>
                <a:lnTo>
                  <a:pt x="3590" y="2752"/>
                </a:lnTo>
                <a:lnTo>
                  <a:pt x="3586" y="2750"/>
                </a:lnTo>
                <a:lnTo>
                  <a:pt x="3582" y="2749"/>
                </a:lnTo>
                <a:lnTo>
                  <a:pt x="3576" y="2746"/>
                </a:lnTo>
                <a:lnTo>
                  <a:pt x="3567" y="2741"/>
                </a:lnTo>
                <a:lnTo>
                  <a:pt x="3563" y="2735"/>
                </a:lnTo>
                <a:lnTo>
                  <a:pt x="3560" y="2726"/>
                </a:lnTo>
                <a:lnTo>
                  <a:pt x="3553" y="2707"/>
                </a:lnTo>
                <a:lnTo>
                  <a:pt x="3550" y="2697"/>
                </a:lnTo>
                <a:lnTo>
                  <a:pt x="3548" y="2686"/>
                </a:lnTo>
                <a:lnTo>
                  <a:pt x="3547" y="2678"/>
                </a:lnTo>
                <a:lnTo>
                  <a:pt x="3548" y="2671"/>
                </a:lnTo>
                <a:lnTo>
                  <a:pt x="3553" y="2659"/>
                </a:lnTo>
                <a:lnTo>
                  <a:pt x="3559" y="2645"/>
                </a:lnTo>
                <a:lnTo>
                  <a:pt x="3563" y="2632"/>
                </a:lnTo>
                <a:lnTo>
                  <a:pt x="3564" y="2621"/>
                </a:lnTo>
                <a:lnTo>
                  <a:pt x="3560" y="2605"/>
                </a:lnTo>
                <a:lnTo>
                  <a:pt x="3556" y="2596"/>
                </a:lnTo>
                <a:lnTo>
                  <a:pt x="3555" y="2593"/>
                </a:lnTo>
                <a:lnTo>
                  <a:pt x="3553" y="2588"/>
                </a:lnTo>
                <a:lnTo>
                  <a:pt x="3553" y="2584"/>
                </a:lnTo>
                <a:lnTo>
                  <a:pt x="3553" y="2580"/>
                </a:lnTo>
                <a:lnTo>
                  <a:pt x="3555" y="2577"/>
                </a:lnTo>
                <a:lnTo>
                  <a:pt x="3558" y="2575"/>
                </a:lnTo>
                <a:lnTo>
                  <a:pt x="3565" y="2570"/>
                </a:lnTo>
                <a:lnTo>
                  <a:pt x="3571" y="2566"/>
                </a:lnTo>
                <a:lnTo>
                  <a:pt x="3574" y="2564"/>
                </a:lnTo>
                <a:lnTo>
                  <a:pt x="3577" y="2561"/>
                </a:lnTo>
                <a:lnTo>
                  <a:pt x="3581" y="2561"/>
                </a:lnTo>
                <a:lnTo>
                  <a:pt x="3584" y="2561"/>
                </a:lnTo>
                <a:lnTo>
                  <a:pt x="3590" y="2564"/>
                </a:lnTo>
                <a:lnTo>
                  <a:pt x="3595" y="2565"/>
                </a:lnTo>
                <a:lnTo>
                  <a:pt x="3602" y="2565"/>
                </a:lnTo>
                <a:lnTo>
                  <a:pt x="3608" y="2565"/>
                </a:lnTo>
                <a:lnTo>
                  <a:pt x="3625" y="2562"/>
                </a:lnTo>
                <a:lnTo>
                  <a:pt x="3639" y="2562"/>
                </a:lnTo>
                <a:lnTo>
                  <a:pt x="3644" y="2565"/>
                </a:lnTo>
                <a:lnTo>
                  <a:pt x="3651" y="2567"/>
                </a:lnTo>
                <a:lnTo>
                  <a:pt x="3659" y="2569"/>
                </a:lnTo>
                <a:lnTo>
                  <a:pt x="3670" y="2569"/>
                </a:lnTo>
                <a:lnTo>
                  <a:pt x="3683" y="2569"/>
                </a:lnTo>
                <a:lnTo>
                  <a:pt x="3701" y="2568"/>
                </a:lnTo>
                <a:lnTo>
                  <a:pt x="3717" y="2568"/>
                </a:lnTo>
                <a:lnTo>
                  <a:pt x="3724" y="2566"/>
                </a:lnTo>
                <a:lnTo>
                  <a:pt x="3727" y="2558"/>
                </a:lnTo>
                <a:lnTo>
                  <a:pt x="3734" y="2543"/>
                </a:lnTo>
                <a:lnTo>
                  <a:pt x="3736" y="2534"/>
                </a:lnTo>
                <a:lnTo>
                  <a:pt x="3738" y="2525"/>
                </a:lnTo>
                <a:lnTo>
                  <a:pt x="3738" y="2516"/>
                </a:lnTo>
                <a:lnTo>
                  <a:pt x="3737" y="2510"/>
                </a:lnTo>
                <a:lnTo>
                  <a:pt x="3732" y="2496"/>
                </a:lnTo>
                <a:lnTo>
                  <a:pt x="3729" y="2485"/>
                </a:lnTo>
                <a:lnTo>
                  <a:pt x="3728" y="2479"/>
                </a:lnTo>
                <a:lnTo>
                  <a:pt x="3726" y="2474"/>
                </a:lnTo>
                <a:lnTo>
                  <a:pt x="3723" y="2470"/>
                </a:lnTo>
                <a:lnTo>
                  <a:pt x="3720" y="2468"/>
                </a:lnTo>
                <a:lnTo>
                  <a:pt x="3706" y="2457"/>
                </a:lnTo>
                <a:lnTo>
                  <a:pt x="3684" y="2436"/>
                </a:lnTo>
                <a:lnTo>
                  <a:pt x="3663" y="2417"/>
                </a:lnTo>
                <a:lnTo>
                  <a:pt x="3654" y="2408"/>
                </a:lnTo>
                <a:lnTo>
                  <a:pt x="3660" y="2404"/>
                </a:lnTo>
                <a:lnTo>
                  <a:pt x="3672" y="2400"/>
                </a:lnTo>
                <a:lnTo>
                  <a:pt x="3682" y="2402"/>
                </a:lnTo>
                <a:lnTo>
                  <a:pt x="3700" y="2408"/>
                </a:lnTo>
                <a:lnTo>
                  <a:pt x="3708" y="2411"/>
                </a:lnTo>
                <a:lnTo>
                  <a:pt x="3716" y="2413"/>
                </a:lnTo>
                <a:lnTo>
                  <a:pt x="3718" y="2413"/>
                </a:lnTo>
                <a:lnTo>
                  <a:pt x="3719" y="2413"/>
                </a:lnTo>
                <a:lnTo>
                  <a:pt x="3720" y="2413"/>
                </a:lnTo>
                <a:lnTo>
                  <a:pt x="3719" y="2412"/>
                </a:lnTo>
                <a:lnTo>
                  <a:pt x="3717" y="2408"/>
                </a:lnTo>
                <a:lnTo>
                  <a:pt x="3716" y="2403"/>
                </a:lnTo>
                <a:lnTo>
                  <a:pt x="3714" y="2399"/>
                </a:lnTo>
                <a:lnTo>
                  <a:pt x="3713" y="2394"/>
                </a:lnTo>
                <a:lnTo>
                  <a:pt x="3713" y="2389"/>
                </a:lnTo>
                <a:lnTo>
                  <a:pt x="3713" y="2385"/>
                </a:lnTo>
                <a:lnTo>
                  <a:pt x="3714" y="2382"/>
                </a:lnTo>
                <a:lnTo>
                  <a:pt x="3715" y="2381"/>
                </a:lnTo>
                <a:lnTo>
                  <a:pt x="3730" y="2379"/>
                </a:lnTo>
                <a:lnTo>
                  <a:pt x="3745" y="2379"/>
                </a:lnTo>
                <a:lnTo>
                  <a:pt x="3752" y="2378"/>
                </a:lnTo>
                <a:lnTo>
                  <a:pt x="3765" y="2374"/>
                </a:lnTo>
                <a:lnTo>
                  <a:pt x="3772" y="2372"/>
                </a:lnTo>
                <a:lnTo>
                  <a:pt x="3778" y="2369"/>
                </a:lnTo>
                <a:lnTo>
                  <a:pt x="3783" y="2366"/>
                </a:lnTo>
                <a:lnTo>
                  <a:pt x="3785" y="2363"/>
                </a:lnTo>
                <a:lnTo>
                  <a:pt x="3790" y="2356"/>
                </a:lnTo>
                <a:lnTo>
                  <a:pt x="3797" y="2345"/>
                </a:lnTo>
                <a:lnTo>
                  <a:pt x="3805" y="2334"/>
                </a:lnTo>
                <a:lnTo>
                  <a:pt x="3811" y="2328"/>
                </a:lnTo>
                <a:lnTo>
                  <a:pt x="3814" y="2324"/>
                </a:lnTo>
                <a:lnTo>
                  <a:pt x="3818" y="2317"/>
                </a:lnTo>
                <a:lnTo>
                  <a:pt x="3822" y="2314"/>
                </a:lnTo>
                <a:lnTo>
                  <a:pt x="3825" y="2310"/>
                </a:lnTo>
                <a:lnTo>
                  <a:pt x="3829" y="2307"/>
                </a:lnTo>
                <a:lnTo>
                  <a:pt x="3834" y="2303"/>
                </a:lnTo>
                <a:lnTo>
                  <a:pt x="3839" y="2297"/>
                </a:lnTo>
                <a:lnTo>
                  <a:pt x="3846" y="2288"/>
                </a:lnTo>
                <a:lnTo>
                  <a:pt x="3852" y="2277"/>
                </a:lnTo>
                <a:lnTo>
                  <a:pt x="3858" y="2265"/>
                </a:lnTo>
                <a:lnTo>
                  <a:pt x="3868" y="2244"/>
                </a:lnTo>
                <a:lnTo>
                  <a:pt x="3872" y="2233"/>
                </a:lnTo>
                <a:lnTo>
                  <a:pt x="3875" y="2227"/>
                </a:lnTo>
                <a:lnTo>
                  <a:pt x="3883" y="2215"/>
                </a:lnTo>
                <a:lnTo>
                  <a:pt x="3888" y="2207"/>
                </a:lnTo>
                <a:lnTo>
                  <a:pt x="3892" y="2201"/>
                </a:lnTo>
                <a:lnTo>
                  <a:pt x="3895" y="2198"/>
                </a:lnTo>
                <a:lnTo>
                  <a:pt x="3897" y="2198"/>
                </a:lnTo>
                <a:lnTo>
                  <a:pt x="3897" y="2205"/>
                </a:lnTo>
                <a:lnTo>
                  <a:pt x="3896" y="2219"/>
                </a:lnTo>
                <a:lnTo>
                  <a:pt x="3895" y="2224"/>
                </a:lnTo>
                <a:lnTo>
                  <a:pt x="3895" y="2229"/>
                </a:lnTo>
                <a:lnTo>
                  <a:pt x="3896" y="2231"/>
                </a:lnTo>
                <a:lnTo>
                  <a:pt x="3896" y="2232"/>
                </a:lnTo>
                <a:lnTo>
                  <a:pt x="3897" y="2232"/>
                </a:lnTo>
                <a:lnTo>
                  <a:pt x="3899" y="2232"/>
                </a:lnTo>
                <a:lnTo>
                  <a:pt x="3905" y="2228"/>
                </a:lnTo>
                <a:lnTo>
                  <a:pt x="3911" y="2223"/>
                </a:lnTo>
                <a:lnTo>
                  <a:pt x="3915" y="2218"/>
                </a:lnTo>
                <a:lnTo>
                  <a:pt x="3919" y="2213"/>
                </a:lnTo>
                <a:lnTo>
                  <a:pt x="3923" y="2205"/>
                </a:lnTo>
                <a:lnTo>
                  <a:pt x="3927" y="2191"/>
                </a:lnTo>
                <a:lnTo>
                  <a:pt x="3929" y="2183"/>
                </a:lnTo>
                <a:lnTo>
                  <a:pt x="3932" y="2175"/>
                </a:lnTo>
                <a:lnTo>
                  <a:pt x="3932" y="2166"/>
                </a:lnTo>
                <a:lnTo>
                  <a:pt x="3931" y="2160"/>
                </a:lnTo>
                <a:lnTo>
                  <a:pt x="3929" y="2153"/>
                </a:lnTo>
                <a:lnTo>
                  <a:pt x="3928" y="2144"/>
                </a:lnTo>
                <a:lnTo>
                  <a:pt x="3929" y="2135"/>
                </a:lnTo>
                <a:lnTo>
                  <a:pt x="3931" y="2127"/>
                </a:lnTo>
                <a:lnTo>
                  <a:pt x="3933" y="2118"/>
                </a:lnTo>
                <a:lnTo>
                  <a:pt x="3935" y="2111"/>
                </a:lnTo>
                <a:lnTo>
                  <a:pt x="3937" y="2106"/>
                </a:lnTo>
                <a:lnTo>
                  <a:pt x="3939" y="2103"/>
                </a:lnTo>
                <a:lnTo>
                  <a:pt x="3948" y="2094"/>
                </a:lnTo>
                <a:lnTo>
                  <a:pt x="3962" y="2083"/>
                </a:lnTo>
                <a:lnTo>
                  <a:pt x="3969" y="2076"/>
                </a:lnTo>
                <a:lnTo>
                  <a:pt x="3976" y="2072"/>
                </a:lnTo>
                <a:lnTo>
                  <a:pt x="3978" y="2071"/>
                </a:lnTo>
                <a:lnTo>
                  <a:pt x="3980" y="2071"/>
                </a:lnTo>
                <a:lnTo>
                  <a:pt x="3982" y="2071"/>
                </a:lnTo>
                <a:lnTo>
                  <a:pt x="3983" y="2073"/>
                </a:lnTo>
                <a:lnTo>
                  <a:pt x="3987" y="2086"/>
                </a:lnTo>
                <a:lnTo>
                  <a:pt x="3995" y="2103"/>
                </a:lnTo>
                <a:lnTo>
                  <a:pt x="4001" y="2111"/>
                </a:lnTo>
                <a:lnTo>
                  <a:pt x="4005" y="2117"/>
                </a:lnTo>
                <a:lnTo>
                  <a:pt x="4008" y="2119"/>
                </a:lnTo>
                <a:lnTo>
                  <a:pt x="4010" y="2120"/>
                </a:lnTo>
                <a:lnTo>
                  <a:pt x="4012" y="2120"/>
                </a:lnTo>
                <a:lnTo>
                  <a:pt x="4014" y="2119"/>
                </a:lnTo>
                <a:lnTo>
                  <a:pt x="4020" y="2114"/>
                </a:lnTo>
                <a:lnTo>
                  <a:pt x="4022" y="2111"/>
                </a:lnTo>
                <a:lnTo>
                  <a:pt x="4022" y="2108"/>
                </a:lnTo>
                <a:lnTo>
                  <a:pt x="4021" y="2105"/>
                </a:lnTo>
                <a:lnTo>
                  <a:pt x="4014" y="2091"/>
                </a:lnTo>
                <a:lnTo>
                  <a:pt x="4007" y="2074"/>
                </a:lnTo>
                <a:lnTo>
                  <a:pt x="4005" y="2062"/>
                </a:lnTo>
                <a:lnTo>
                  <a:pt x="4002" y="2044"/>
                </a:lnTo>
                <a:lnTo>
                  <a:pt x="3999" y="2027"/>
                </a:lnTo>
                <a:lnTo>
                  <a:pt x="3998" y="2019"/>
                </a:lnTo>
                <a:lnTo>
                  <a:pt x="3994" y="2018"/>
                </a:lnTo>
                <a:lnTo>
                  <a:pt x="3991" y="2017"/>
                </a:lnTo>
                <a:lnTo>
                  <a:pt x="3988" y="2017"/>
                </a:lnTo>
                <a:lnTo>
                  <a:pt x="3986" y="2018"/>
                </a:lnTo>
                <a:lnTo>
                  <a:pt x="3983" y="2019"/>
                </a:lnTo>
                <a:lnTo>
                  <a:pt x="3981" y="2021"/>
                </a:lnTo>
                <a:lnTo>
                  <a:pt x="3975" y="2027"/>
                </a:lnTo>
                <a:lnTo>
                  <a:pt x="3966" y="2038"/>
                </a:lnTo>
                <a:lnTo>
                  <a:pt x="3956" y="2048"/>
                </a:lnTo>
                <a:lnTo>
                  <a:pt x="3945" y="2056"/>
                </a:lnTo>
                <a:lnTo>
                  <a:pt x="3940" y="2060"/>
                </a:lnTo>
                <a:lnTo>
                  <a:pt x="3934" y="2062"/>
                </a:lnTo>
                <a:lnTo>
                  <a:pt x="3928" y="2063"/>
                </a:lnTo>
                <a:lnTo>
                  <a:pt x="3923" y="2064"/>
                </a:lnTo>
                <a:lnTo>
                  <a:pt x="3915" y="2064"/>
                </a:lnTo>
                <a:lnTo>
                  <a:pt x="3910" y="2064"/>
                </a:lnTo>
                <a:lnTo>
                  <a:pt x="3905" y="2061"/>
                </a:lnTo>
                <a:lnTo>
                  <a:pt x="3899" y="2053"/>
                </a:lnTo>
                <a:lnTo>
                  <a:pt x="3890" y="2042"/>
                </a:lnTo>
                <a:lnTo>
                  <a:pt x="3880" y="2029"/>
                </a:lnTo>
                <a:lnTo>
                  <a:pt x="3871" y="2016"/>
                </a:lnTo>
                <a:lnTo>
                  <a:pt x="3863" y="2003"/>
                </a:lnTo>
                <a:lnTo>
                  <a:pt x="3860" y="1998"/>
                </a:lnTo>
                <a:lnTo>
                  <a:pt x="3857" y="1993"/>
                </a:lnTo>
                <a:lnTo>
                  <a:pt x="3856" y="1988"/>
                </a:lnTo>
                <a:lnTo>
                  <a:pt x="3856" y="1985"/>
                </a:lnTo>
                <a:lnTo>
                  <a:pt x="3859" y="1979"/>
                </a:lnTo>
                <a:lnTo>
                  <a:pt x="3862" y="1975"/>
                </a:lnTo>
                <a:lnTo>
                  <a:pt x="3865" y="1973"/>
                </a:lnTo>
                <a:lnTo>
                  <a:pt x="3865" y="1972"/>
                </a:lnTo>
                <a:lnTo>
                  <a:pt x="3865" y="1969"/>
                </a:lnTo>
                <a:lnTo>
                  <a:pt x="3863" y="1968"/>
                </a:lnTo>
                <a:lnTo>
                  <a:pt x="3859" y="1963"/>
                </a:lnTo>
                <a:lnTo>
                  <a:pt x="3857" y="1957"/>
                </a:lnTo>
                <a:lnTo>
                  <a:pt x="3855" y="1951"/>
                </a:lnTo>
                <a:lnTo>
                  <a:pt x="3854" y="1945"/>
                </a:lnTo>
                <a:lnTo>
                  <a:pt x="3854" y="1939"/>
                </a:lnTo>
                <a:lnTo>
                  <a:pt x="3854" y="1930"/>
                </a:lnTo>
                <a:lnTo>
                  <a:pt x="3855" y="1921"/>
                </a:lnTo>
                <a:lnTo>
                  <a:pt x="3857" y="1917"/>
                </a:lnTo>
                <a:lnTo>
                  <a:pt x="3860" y="1910"/>
                </a:lnTo>
                <a:lnTo>
                  <a:pt x="3866" y="1896"/>
                </a:lnTo>
                <a:lnTo>
                  <a:pt x="3872" y="1882"/>
                </a:lnTo>
                <a:lnTo>
                  <a:pt x="3877" y="1873"/>
                </a:lnTo>
                <a:lnTo>
                  <a:pt x="3884" y="1862"/>
                </a:lnTo>
                <a:lnTo>
                  <a:pt x="3897" y="1844"/>
                </a:lnTo>
                <a:lnTo>
                  <a:pt x="3911" y="1825"/>
                </a:lnTo>
                <a:lnTo>
                  <a:pt x="3922" y="1812"/>
                </a:lnTo>
                <a:lnTo>
                  <a:pt x="3934" y="1802"/>
                </a:lnTo>
                <a:lnTo>
                  <a:pt x="3948" y="1788"/>
                </a:lnTo>
                <a:lnTo>
                  <a:pt x="3955" y="1782"/>
                </a:lnTo>
                <a:lnTo>
                  <a:pt x="3961" y="1777"/>
                </a:lnTo>
                <a:lnTo>
                  <a:pt x="3966" y="1774"/>
                </a:lnTo>
                <a:lnTo>
                  <a:pt x="3970" y="1772"/>
                </a:lnTo>
                <a:lnTo>
                  <a:pt x="3975" y="1771"/>
                </a:lnTo>
                <a:lnTo>
                  <a:pt x="3979" y="1769"/>
                </a:lnTo>
                <a:lnTo>
                  <a:pt x="3983" y="1763"/>
                </a:lnTo>
                <a:lnTo>
                  <a:pt x="3987" y="1753"/>
                </a:lnTo>
                <a:lnTo>
                  <a:pt x="3990" y="1747"/>
                </a:lnTo>
                <a:lnTo>
                  <a:pt x="3994" y="1744"/>
                </a:lnTo>
                <a:lnTo>
                  <a:pt x="3998" y="1742"/>
                </a:lnTo>
                <a:lnTo>
                  <a:pt x="4002" y="1741"/>
                </a:lnTo>
                <a:lnTo>
                  <a:pt x="4005" y="1740"/>
                </a:lnTo>
                <a:lnTo>
                  <a:pt x="4008" y="1738"/>
                </a:lnTo>
                <a:lnTo>
                  <a:pt x="4009" y="1735"/>
                </a:lnTo>
                <a:lnTo>
                  <a:pt x="4010" y="1730"/>
                </a:lnTo>
                <a:lnTo>
                  <a:pt x="4010" y="1714"/>
                </a:lnTo>
                <a:lnTo>
                  <a:pt x="4011" y="1698"/>
                </a:lnTo>
                <a:lnTo>
                  <a:pt x="4011" y="1691"/>
                </a:lnTo>
                <a:lnTo>
                  <a:pt x="4012" y="1686"/>
                </a:lnTo>
                <a:lnTo>
                  <a:pt x="4013" y="1681"/>
                </a:lnTo>
                <a:lnTo>
                  <a:pt x="4015" y="1679"/>
                </a:lnTo>
                <a:lnTo>
                  <a:pt x="4020" y="1672"/>
                </a:lnTo>
                <a:lnTo>
                  <a:pt x="4025" y="1660"/>
                </a:lnTo>
                <a:lnTo>
                  <a:pt x="4028" y="1654"/>
                </a:lnTo>
                <a:lnTo>
                  <a:pt x="4031" y="1648"/>
                </a:lnTo>
                <a:lnTo>
                  <a:pt x="4035" y="1643"/>
                </a:lnTo>
                <a:lnTo>
                  <a:pt x="4038" y="1638"/>
                </a:lnTo>
                <a:lnTo>
                  <a:pt x="4048" y="1631"/>
                </a:lnTo>
                <a:lnTo>
                  <a:pt x="4056" y="1620"/>
                </a:lnTo>
                <a:lnTo>
                  <a:pt x="4064" y="1609"/>
                </a:lnTo>
                <a:lnTo>
                  <a:pt x="4069" y="1603"/>
                </a:lnTo>
                <a:lnTo>
                  <a:pt x="4072" y="1596"/>
                </a:lnTo>
                <a:lnTo>
                  <a:pt x="4077" y="1588"/>
                </a:lnTo>
                <a:lnTo>
                  <a:pt x="4081" y="1580"/>
                </a:lnTo>
                <a:lnTo>
                  <a:pt x="4082" y="1574"/>
                </a:lnTo>
                <a:lnTo>
                  <a:pt x="4080" y="1571"/>
                </a:lnTo>
                <a:lnTo>
                  <a:pt x="4078" y="1566"/>
                </a:lnTo>
                <a:lnTo>
                  <a:pt x="4076" y="1564"/>
                </a:lnTo>
                <a:lnTo>
                  <a:pt x="4075" y="1563"/>
                </a:lnTo>
                <a:lnTo>
                  <a:pt x="4073" y="1563"/>
                </a:lnTo>
                <a:lnTo>
                  <a:pt x="4071" y="1564"/>
                </a:lnTo>
                <a:lnTo>
                  <a:pt x="4061" y="1570"/>
                </a:lnTo>
                <a:lnTo>
                  <a:pt x="4053" y="1576"/>
                </a:lnTo>
                <a:lnTo>
                  <a:pt x="4050" y="1577"/>
                </a:lnTo>
                <a:lnTo>
                  <a:pt x="4046" y="1577"/>
                </a:lnTo>
                <a:lnTo>
                  <a:pt x="4044" y="1578"/>
                </a:lnTo>
                <a:lnTo>
                  <a:pt x="4042" y="1579"/>
                </a:lnTo>
                <a:lnTo>
                  <a:pt x="4041" y="1581"/>
                </a:lnTo>
                <a:lnTo>
                  <a:pt x="4039" y="1584"/>
                </a:lnTo>
                <a:lnTo>
                  <a:pt x="4042" y="1595"/>
                </a:lnTo>
                <a:lnTo>
                  <a:pt x="4043" y="1600"/>
                </a:lnTo>
                <a:lnTo>
                  <a:pt x="4041" y="1600"/>
                </a:lnTo>
                <a:lnTo>
                  <a:pt x="4036" y="1600"/>
                </a:lnTo>
                <a:lnTo>
                  <a:pt x="4032" y="1600"/>
                </a:lnTo>
                <a:lnTo>
                  <a:pt x="4029" y="1598"/>
                </a:lnTo>
                <a:lnTo>
                  <a:pt x="4026" y="1593"/>
                </a:lnTo>
                <a:lnTo>
                  <a:pt x="4025" y="1587"/>
                </a:lnTo>
                <a:lnTo>
                  <a:pt x="4024" y="1583"/>
                </a:lnTo>
                <a:lnTo>
                  <a:pt x="4025" y="1579"/>
                </a:lnTo>
                <a:lnTo>
                  <a:pt x="4027" y="1574"/>
                </a:lnTo>
                <a:lnTo>
                  <a:pt x="4029" y="1570"/>
                </a:lnTo>
                <a:lnTo>
                  <a:pt x="4047" y="1555"/>
                </a:lnTo>
                <a:lnTo>
                  <a:pt x="4060" y="1542"/>
                </a:lnTo>
                <a:lnTo>
                  <a:pt x="4063" y="1537"/>
                </a:lnTo>
                <a:lnTo>
                  <a:pt x="4066" y="1528"/>
                </a:lnTo>
                <a:lnTo>
                  <a:pt x="4068" y="1524"/>
                </a:lnTo>
                <a:lnTo>
                  <a:pt x="4070" y="1519"/>
                </a:lnTo>
                <a:lnTo>
                  <a:pt x="4073" y="1515"/>
                </a:lnTo>
                <a:lnTo>
                  <a:pt x="4077" y="1511"/>
                </a:lnTo>
                <a:lnTo>
                  <a:pt x="4094" y="1495"/>
                </a:lnTo>
                <a:lnTo>
                  <a:pt x="4104" y="1486"/>
                </a:lnTo>
                <a:lnTo>
                  <a:pt x="4108" y="1486"/>
                </a:lnTo>
                <a:lnTo>
                  <a:pt x="4113" y="1486"/>
                </a:lnTo>
                <a:lnTo>
                  <a:pt x="4118" y="1485"/>
                </a:lnTo>
                <a:lnTo>
                  <a:pt x="4124" y="1482"/>
                </a:lnTo>
                <a:lnTo>
                  <a:pt x="4141" y="1469"/>
                </a:lnTo>
                <a:lnTo>
                  <a:pt x="4156" y="1456"/>
                </a:lnTo>
                <a:lnTo>
                  <a:pt x="4160" y="1449"/>
                </a:lnTo>
                <a:lnTo>
                  <a:pt x="4164" y="1438"/>
                </a:lnTo>
                <a:lnTo>
                  <a:pt x="4169" y="1431"/>
                </a:lnTo>
                <a:lnTo>
                  <a:pt x="4175" y="1425"/>
                </a:lnTo>
                <a:lnTo>
                  <a:pt x="4178" y="1423"/>
                </a:lnTo>
                <a:lnTo>
                  <a:pt x="4180" y="1420"/>
                </a:lnTo>
                <a:lnTo>
                  <a:pt x="4183" y="1420"/>
                </a:lnTo>
                <a:lnTo>
                  <a:pt x="4185" y="1420"/>
                </a:lnTo>
                <a:lnTo>
                  <a:pt x="4200" y="1421"/>
                </a:lnTo>
                <a:lnTo>
                  <a:pt x="4213" y="1424"/>
                </a:lnTo>
                <a:lnTo>
                  <a:pt x="4216" y="1425"/>
                </a:lnTo>
                <a:lnTo>
                  <a:pt x="4218" y="1426"/>
                </a:lnTo>
                <a:lnTo>
                  <a:pt x="4219" y="1426"/>
                </a:lnTo>
                <a:lnTo>
                  <a:pt x="4221" y="1426"/>
                </a:lnTo>
                <a:lnTo>
                  <a:pt x="4224" y="1424"/>
                </a:lnTo>
                <a:lnTo>
                  <a:pt x="4228" y="1419"/>
                </a:lnTo>
                <a:lnTo>
                  <a:pt x="4238" y="1409"/>
                </a:lnTo>
                <a:lnTo>
                  <a:pt x="4248" y="1399"/>
                </a:lnTo>
                <a:lnTo>
                  <a:pt x="4263" y="1395"/>
                </a:lnTo>
                <a:lnTo>
                  <a:pt x="4289" y="1388"/>
                </a:lnTo>
                <a:lnTo>
                  <a:pt x="4304" y="1385"/>
                </a:lnTo>
                <a:lnTo>
                  <a:pt x="4316" y="1383"/>
                </a:lnTo>
                <a:lnTo>
                  <a:pt x="4321" y="1382"/>
                </a:lnTo>
                <a:lnTo>
                  <a:pt x="4326" y="1382"/>
                </a:lnTo>
                <a:lnTo>
                  <a:pt x="4329" y="1383"/>
                </a:lnTo>
                <a:lnTo>
                  <a:pt x="4331" y="1384"/>
                </a:lnTo>
                <a:lnTo>
                  <a:pt x="4335" y="1386"/>
                </a:lnTo>
                <a:lnTo>
                  <a:pt x="4342" y="1387"/>
                </a:lnTo>
                <a:lnTo>
                  <a:pt x="4351" y="1387"/>
                </a:lnTo>
                <a:lnTo>
                  <a:pt x="4359" y="1387"/>
                </a:lnTo>
                <a:lnTo>
                  <a:pt x="4375" y="1386"/>
                </a:lnTo>
                <a:lnTo>
                  <a:pt x="4381" y="1386"/>
                </a:lnTo>
                <a:lnTo>
                  <a:pt x="4384" y="1386"/>
                </a:lnTo>
                <a:lnTo>
                  <a:pt x="4389" y="1387"/>
                </a:lnTo>
                <a:lnTo>
                  <a:pt x="4394" y="1388"/>
                </a:lnTo>
                <a:lnTo>
                  <a:pt x="4397" y="1389"/>
                </a:lnTo>
                <a:lnTo>
                  <a:pt x="4401" y="1391"/>
                </a:lnTo>
                <a:lnTo>
                  <a:pt x="4404" y="1394"/>
                </a:lnTo>
                <a:lnTo>
                  <a:pt x="4416" y="1401"/>
                </a:lnTo>
                <a:lnTo>
                  <a:pt x="4431" y="1408"/>
                </a:lnTo>
                <a:lnTo>
                  <a:pt x="4436" y="1411"/>
                </a:lnTo>
                <a:lnTo>
                  <a:pt x="4439" y="1413"/>
                </a:lnTo>
                <a:lnTo>
                  <a:pt x="4441" y="1415"/>
                </a:lnTo>
                <a:lnTo>
                  <a:pt x="4442" y="1418"/>
                </a:lnTo>
                <a:lnTo>
                  <a:pt x="4442" y="1421"/>
                </a:lnTo>
                <a:lnTo>
                  <a:pt x="4442" y="1424"/>
                </a:lnTo>
                <a:lnTo>
                  <a:pt x="4440" y="1428"/>
                </a:lnTo>
                <a:lnTo>
                  <a:pt x="4436" y="1431"/>
                </a:lnTo>
                <a:lnTo>
                  <a:pt x="4428" y="1437"/>
                </a:lnTo>
                <a:lnTo>
                  <a:pt x="4423" y="1442"/>
                </a:lnTo>
                <a:lnTo>
                  <a:pt x="4420" y="1447"/>
                </a:lnTo>
                <a:lnTo>
                  <a:pt x="4418" y="1451"/>
                </a:lnTo>
                <a:lnTo>
                  <a:pt x="4417" y="1455"/>
                </a:lnTo>
                <a:lnTo>
                  <a:pt x="4418" y="1456"/>
                </a:lnTo>
                <a:lnTo>
                  <a:pt x="4419" y="1459"/>
                </a:lnTo>
                <a:lnTo>
                  <a:pt x="4424" y="1463"/>
                </a:lnTo>
                <a:lnTo>
                  <a:pt x="4427" y="1465"/>
                </a:lnTo>
                <a:lnTo>
                  <a:pt x="4432" y="1467"/>
                </a:lnTo>
                <a:lnTo>
                  <a:pt x="4438" y="1465"/>
                </a:lnTo>
                <a:lnTo>
                  <a:pt x="4443" y="1461"/>
                </a:lnTo>
                <a:lnTo>
                  <a:pt x="4449" y="1457"/>
                </a:lnTo>
                <a:lnTo>
                  <a:pt x="4454" y="1455"/>
                </a:lnTo>
                <a:lnTo>
                  <a:pt x="4459" y="1454"/>
                </a:lnTo>
                <a:lnTo>
                  <a:pt x="4463" y="1454"/>
                </a:lnTo>
                <a:lnTo>
                  <a:pt x="4471" y="1456"/>
                </a:lnTo>
                <a:lnTo>
                  <a:pt x="4478" y="1461"/>
                </a:lnTo>
                <a:lnTo>
                  <a:pt x="4491" y="1467"/>
                </a:lnTo>
                <a:lnTo>
                  <a:pt x="4508" y="1470"/>
                </a:lnTo>
                <a:lnTo>
                  <a:pt x="4517" y="1473"/>
                </a:lnTo>
                <a:lnTo>
                  <a:pt x="4526" y="1475"/>
                </a:lnTo>
                <a:lnTo>
                  <a:pt x="4533" y="1478"/>
                </a:lnTo>
                <a:lnTo>
                  <a:pt x="4538" y="1482"/>
                </a:lnTo>
                <a:lnTo>
                  <a:pt x="4551" y="1492"/>
                </a:lnTo>
                <a:lnTo>
                  <a:pt x="4568" y="1502"/>
                </a:lnTo>
                <a:lnTo>
                  <a:pt x="4585" y="1514"/>
                </a:lnTo>
                <a:lnTo>
                  <a:pt x="4600" y="1525"/>
                </a:lnTo>
                <a:lnTo>
                  <a:pt x="4611" y="1538"/>
                </a:lnTo>
                <a:lnTo>
                  <a:pt x="4621" y="1551"/>
                </a:lnTo>
                <a:lnTo>
                  <a:pt x="4629" y="1564"/>
                </a:lnTo>
                <a:lnTo>
                  <a:pt x="4637" y="1572"/>
                </a:lnTo>
                <a:lnTo>
                  <a:pt x="4644" y="1577"/>
                </a:lnTo>
                <a:lnTo>
                  <a:pt x="4652" y="1582"/>
                </a:lnTo>
                <a:lnTo>
                  <a:pt x="4657" y="1584"/>
                </a:lnTo>
                <a:lnTo>
                  <a:pt x="4660" y="1587"/>
                </a:lnTo>
                <a:lnTo>
                  <a:pt x="4664" y="1591"/>
                </a:lnTo>
                <a:lnTo>
                  <a:pt x="4666" y="1595"/>
                </a:lnTo>
                <a:lnTo>
                  <a:pt x="4668" y="1601"/>
                </a:lnTo>
                <a:lnTo>
                  <a:pt x="4669" y="1606"/>
                </a:lnTo>
                <a:lnTo>
                  <a:pt x="4668" y="1611"/>
                </a:lnTo>
                <a:lnTo>
                  <a:pt x="4667" y="1616"/>
                </a:lnTo>
                <a:lnTo>
                  <a:pt x="4664" y="1626"/>
                </a:lnTo>
                <a:lnTo>
                  <a:pt x="4661" y="1635"/>
                </a:lnTo>
                <a:lnTo>
                  <a:pt x="4659" y="1639"/>
                </a:lnTo>
                <a:lnTo>
                  <a:pt x="4655" y="1645"/>
                </a:lnTo>
                <a:lnTo>
                  <a:pt x="4650" y="1651"/>
                </a:lnTo>
                <a:lnTo>
                  <a:pt x="4645" y="1656"/>
                </a:lnTo>
                <a:lnTo>
                  <a:pt x="4634" y="1667"/>
                </a:lnTo>
                <a:lnTo>
                  <a:pt x="4626" y="1672"/>
                </a:lnTo>
                <a:lnTo>
                  <a:pt x="4621" y="1675"/>
                </a:lnTo>
                <a:lnTo>
                  <a:pt x="4614" y="1678"/>
                </a:lnTo>
                <a:lnTo>
                  <a:pt x="4606" y="1680"/>
                </a:lnTo>
                <a:lnTo>
                  <a:pt x="4601" y="1680"/>
                </a:lnTo>
                <a:lnTo>
                  <a:pt x="4595" y="1678"/>
                </a:lnTo>
                <a:lnTo>
                  <a:pt x="4585" y="1676"/>
                </a:lnTo>
                <a:lnTo>
                  <a:pt x="4575" y="1673"/>
                </a:lnTo>
                <a:lnTo>
                  <a:pt x="4565" y="1669"/>
                </a:lnTo>
                <a:lnTo>
                  <a:pt x="4550" y="1662"/>
                </a:lnTo>
                <a:lnTo>
                  <a:pt x="4527" y="1655"/>
                </a:lnTo>
                <a:lnTo>
                  <a:pt x="4506" y="1650"/>
                </a:lnTo>
                <a:lnTo>
                  <a:pt x="4496" y="1647"/>
                </a:lnTo>
                <a:lnTo>
                  <a:pt x="4493" y="1647"/>
                </a:lnTo>
                <a:lnTo>
                  <a:pt x="4488" y="1648"/>
                </a:lnTo>
                <a:lnTo>
                  <a:pt x="4486" y="1649"/>
                </a:lnTo>
                <a:lnTo>
                  <a:pt x="4484" y="1651"/>
                </a:lnTo>
                <a:lnTo>
                  <a:pt x="4484" y="1654"/>
                </a:lnTo>
                <a:lnTo>
                  <a:pt x="4486" y="1658"/>
                </a:lnTo>
                <a:lnTo>
                  <a:pt x="4490" y="1664"/>
                </a:lnTo>
                <a:lnTo>
                  <a:pt x="4494" y="1668"/>
                </a:lnTo>
                <a:lnTo>
                  <a:pt x="4499" y="1672"/>
                </a:lnTo>
                <a:lnTo>
                  <a:pt x="4504" y="1674"/>
                </a:lnTo>
                <a:lnTo>
                  <a:pt x="4512" y="1678"/>
                </a:lnTo>
                <a:lnTo>
                  <a:pt x="4516" y="1680"/>
                </a:lnTo>
                <a:lnTo>
                  <a:pt x="4519" y="1679"/>
                </a:lnTo>
                <a:lnTo>
                  <a:pt x="4527" y="1680"/>
                </a:lnTo>
                <a:lnTo>
                  <a:pt x="4530" y="1681"/>
                </a:lnTo>
                <a:lnTo>
                  <a:pt x="4531" y="1684"/>
                </a:lnTo>
                <a:lnTo>
                  <a:pt x="4532" y="1689"/>
                </a:lnTo>
                <a:lnTo>
                  <a:pt x="4529" y="1694"/>
                </a:lnTo>
                <a:lnTo>
                  <a:pt x="4522" y="1704"/>
                </a:lnTo>
                <a:lnTo>
                  <a:pt x="4519" y="1711"/>
                </a:lnTo>
                <a:lnTo>
                  <a:pt x="4518" y="1713"/>
                </a:lnTo>
                <a:lnTo>
                  <a:pt x="4518" y="1716"/>
                </a:lnTo>
                <a:lnTo>
                  <a:pt x="4519" y="1718"/>
                </a:lnTo>
                <a:lnTo>
                  <a:pt x="4520" y="1721"/>
                </a:lnTo>
                <a:lnTo>
                  <a:pt x="4525" y="1736"/>
                </a:lnTo>
                <a:lnTo>
                  <a:pt x="4527" y="1749"/>
                </a:lnTo>
                <a:lnTo>
                  <a:pt x="4529" y="1754"/>
                </a:lnTo>
                <a:lnTo>
                  <a:pt x="4532" y="1758"/>
                </a:lnTo>
                <a:lnTo>
                  <a:pt x="4536" y="1762"/>
                </a:lnTo>
                <a:lnTo>
                  <a:pt x="4542" y="1767"/>
                </a:lnTo>
                <a:lnTo>
                  <a:pt x="4550" y="1771"/>
                </a:lnTo>
                <a:lnTo>
                  <a:pt x="4556" y="1775"/>
                </a:lnTo>
                <a:lnTo>
                  <a:pt x="4559" y="1776"/>
                </a:lnTo>
                <a:lnTo>
                  <a:pt x="4561" y="1778"/>
                </a:lnTo>
                <a:lnTo>
                  <a:pt x="4563" y="1780"/>
                </a:lnTo>
                <a:lnTo>
                  <a:pt x="4563" y="1783"/>
                </a:lnTo>
                <a:lnTo>
                  <a:pt x="4563" y="1786"/>
                </a:lnTo>
                <a:lnTo>
                  <a:pt x="4564" y="1788"/>
                </a:lnTo>
                <a:lnTo>
                  <a:pt x="4566" y="1790"/>
                </a:lnTo>
                <a:lnTo>
                  <a:pt x="4568" y="1791"/>
                </a:lnTo>
                <a:lnTo>
                  <a:pt x="4572" y="1793"/>
                </a:lnTo>
                <a:lnTo>
                  <a:pt x="4575" y="1793"/>
                </a:lnTo>
                <a:lnTo>
                  <a:pt x="4579" y="1789"/>
                </a:lnTo>
                <a:lnTo>
                  <a:pt x="4584" y="1781"/>
                </a:lnTo>
                <a:lnTo>
                  <a:pt x="4586" y="1776"/>
                </a:lnTo>
                <a:lnTo>
                  <a:pt x="4587" y="1771"/>
                </a:lnTo>
                <a:lnTo>
                  <a:pt x="4589" y="1768"/>
                </a:lnTo>
                <a:lnTo>
                  <a:pt x="4587" y="1766"/>
                </a:lnTo>
                <a:lnTo>
                  <a:pt x="4576" y="1761"/>
                </a:lnTo>
                <a:lnTo>
                  <a:pt x="4560" y="1754"/>
                </a:lnTo>
                <a:lnTo>
                  <a:pt x="4556" y="1752"/>
                </a:lnTo>
                <a:lnTo>
                  <a:pt x="4554" y="1748"/>
                </a:lnTo>
                <a:lnTo>
                  <a:pt x="4553" y="1746"/>
                </a:lnTo>
                <a:lnTo>
                  <a:pt x="4552" y="1744"/>
                </a:lnTo>
                <a:lnTo>
                  <a:pt x="4552" y="1738"/>
                </a:lnTo>
                <a:lnTo>
                  <a:pt x="4553" y="1733"/>
                </a:lnTo>
                <a:lnTo>
                  <a:pt x="4554" y="1730"/>
                </a:lnTo>
                <a:lnTo>
                  <a:pt x="4555" y="1725"/>
                </a:lnTo>
                <a:lnTo>
                  <a:pt x="4556" y="1722"/>
                </a:lnTo>
                <a:lnTo>
                  <a:pt x="4558" y="1719"/>
                </a:lnTo>
                <a:lnTo>
                  <a:pt x="4561" y="1718"/>
                </a:lnTo>
                <a:lnTo>
                  <a:pt x="4564" y="1717"/>
                </a:lnTo>
                <a:lnTo>
                  <a:pt x="4570" y="1719"/>
                </a:lnTo>
                <a:lnTo>
                  <a:pt x="4576" y="1723"/>
                </a:lnTo>
                <a:lnTo>
                  <a:pt x="4597" y="1738"/>
                </a:lnTo>
                <a:lnTo>
                  <a:pt x="4607" y="1745"/>
                </a:lnTo>
                <a:lnTo>
                  <a:pt x="4611" y="1753"/>
                </a:lnTo>
                <a:lnTo>
                  <a:pt x="4614" y="1761"/>
                </a:lnTo>
                <a:lnTo>
                  <a:pt x="4616" y="1764"/>
                </a:lnTo>
                <a:lnTo>
                  <a:pt x="4618" y="1766"/>
                </a:lnTo>
                <a:lnTo>
                  <a:pt x="4621" y="1766"/>
                </a:lnTo>
                <a:lnTo>
                  <a:pt x="4624" y="1763"/>
                </a:lnTo>
                <a:lnTo>
                  <a:pt x="4629" y="1756"/>
                </a:lnTo>
                <a:lnTo>
                  <a:pt x="4634" y="1748"/>
                </a:lnTo>
                <a:lnTo>
                  <a:pt x="4636" y="1744"/>
                </a:lnTo>
                <a:lnTo>
                  <a:pt x="4636" y="1741"/>
                </a:lnTo>
                <a:lnTo>
                  <a:pt x="4637" y="1737"/>
                </a:lnTo>
                <a:lnTo>
                  <a:pt x="4636" y="1734"/>
                </a:lnTo>
                <a:lnTo>
                  <a:pt x="4635" y="1730"/>
                </a:lnTo>
                <a:lnTo>
                  <a:pt x="4634" y="1727"/>
                </a:lnTo>
                <a:lnTo>
                  <a:pt x="4630" y="1724"/>
                </a:lnTo>
                <a:lnTo>
                  <a:pt x="4628" y="1722"/>
                </a:lnTo>
                <a:lnTo>
                  <a:pt x="4625" y="1720"/>
                </a:lnTo>
                <a:lnTo>
                  <a:pt x="4624" y="1717"/>
                </a:lnTo>
                <a:lnTo>
                  <a:pt x="4623" y="1715"/>
                </a:lnTo>
                <a:lnTo>
                  <a:pt x="4623" y="1712"/>
                </a:lnTo>
                <a:lnTo>
                  <a:pt x="4625" y="1708"/>
                </a:lnTo>
                <a:lnTo>
                  <a:pt x="4629" y="1702"/>
                </a:lnTo>
                <a:lnTo>
                  <a:pt x="4635" y="1697"/>
                </a:lnTo>
                <a:lnTo>
                  <a:pt x="4641" y="1691"/>
                </a:lnTo>
                <a:lnTo>
                  <a:pt x="4655" y="1679"/>
                </a:lnTo>
                <a:lnTo>
                  <a:pt x="4664" y="1672"/>
                </a:lnTo>
                <a:lnTo>
                  <a:pt x="4671" y="1664"/>
                </a:lnTo>
                <a:lnTo>
                  <a:pt x="4681" y="1649"/>
                </a:lnTo>
                <a:lnTo>
                  <a:pt x="4689" y="1635"/>
                </a:lnTo>
                <a:lnTo>
                  <a:pt x="4693" y="1628"/>
                </a:lnTo>
                <a:lnTo>
                  <a:pt x="4694" y="1626"/>
                </a:lnTo>
                <a:lnTo>
                  <a:pt x="4695" y="1625"/>
                </a:lnTo>
                <a:lnTo>
                  <a:pt x="4699" y="1624"/>
                </a:lnTo>
                <a:lnTo>
                  <a:pt x="4701" y="1623"/>
                </a:lnTo>
                <a:lnTo>
                  <a:pt x="4703" y="1624"/>
                </a:lnTo>
                <a:lnTo>
                  <a:pt x="4705" y="1627"/>
                </a:lnTo>
                <a:lnTo>
                  <a:pt x="4706" y="1631"/>
                </a:lnTo>
                <a:lnTo>
                  <a:pt x="4706" y="1637"/>
                </a:lnTo>
                <a:lnTo>
                  <a:pt x="4705" y="1649"/>
                </a:lnTo>
                <a:lnTo>
                  <a:pt x="4704" y="1655"/>
                </a:lnTo>
                <a:lnTo>
                  <a:pt x="4705" y="1657"/>
                </a:lnTo>
                <a:lnTo>
                  <a:pt x="4705" y="1658"/>
                </a:lnTo>
                <a:lnTo>
                  <a:pt x="4707" y="1660"/>
                </a:lnTo>
                <a:lnTo>
                  <a:pt x="4709" y="1661"/>
                </a:lnTo>
                <a:lnTo>
                  <a:pt x="4716" y="1672"/>
                </a:lnTo>
                <a:lnTo>
                  <a:pt x="4722" y="1679"/>
                </a:lnTo>
                <a:lnTo>
                  <a:pt x="4725" y="1675"/>
                </a:lnTo>
                <a:lnTo>
                  <a:pt x="4729" y="1666"/>
                </a:lnTo>
                <a:lnTo>
                  <a:pt x="4731" y="1659"/>
                </a:lnTo>
                <a:lnTo>
                  <a:pt x="4733" y="1654"/>
                </a:lnTo>
                <a:lnTo>
                  <a:pt x="4733" y="1649"/>
                </a:lnTo>
                <a:lnTo>
                  <a:pt x="4733" y="1645"/>
                </a:lnTo>
                <a:lnTo>
                  <a:pt x="4732" y="1638"/>
                </a:lnTo>
                <a:lnTo>
                  <a:pt x="4730" y="1632"/>
                </a:lnTo>
                <a:lnTo>
                  <a:pt x="4727" y="1628"/>
                </a:lnTo>
                <a:lnTo>
                  <a:pt x="4722" y="1623"/>
                </a:lnTo>
                <a:lnTo>
                  <a:pt x="4716" y="1620"/>
                </a:lnTo>
                <a:lnTo>
                  <a:pt x="4711" y="1616"/>
                </a:lnTo>
                <a:lnTo>
                  <a:pt x="4710" y="1614"/>
                </a:lnTo>
                <a:lnTo>
                  <a:pt x="4709" y="1611"/>
                </a:lnTo>
                <a:lnTo>
                  <a:pt x="4710" y="1608"/>
                </a:lnTo>
                <a:lnTo>
                  <a:pt x="4712" y="1603"/>
                </a:lnTo>
                <a:lnTo>
                  <a:pt x="4722" y="1586"/>
                </a:lnTo>
                <a:lnTo>
                  <a:pt x="4726" y="1579"/>
                </a:lnTo>
                <a:lnTo>
                  <a:pt x="4725" y="1572"/>
                </a:lnTo>
                <a:lnTo>
                  <a:pt x="4721" y="1557"/>
                </a:lnTo>
                <a:lnTo>
                  <a:pt x="4717" y="1548"/>
                </a:lnTo>
                <a:lnTo>
                  <a:pt x="4715" y="1542"/>
                </a:lnTo>
                <a:lnTo>
                  <a:pt x="4712" y="1537"/>
                </a:lnTo>
                <a:lnTo>
                  <a:pt x="4709" y="1531"/>
                </a:lnTo>
                <a:lnTo>
                  <a:pt x="4708" y="1530"/>
                </a:lnTo>
                <a:lnTo>
                  <a:pt x="4708" y="1529"/>
                </a:lnTo>
                <a:lnTo>
                  <a:pt x="4709" y="1528"/>
                </a:lnTo>
                <a:lnTo>
                  <a:pt x="4710" y="1528"/>
                </a:lnTo>
                <a:lnTo>
                  <a:pt x="4713" y="1527"/>
                </a:lnTo>
                <a:lnTo>
                  <a:pt x="4717" y="1526"/>
                </a:lnTo>
                <a:lnTo>
                  <a:pt x="4723" y="1527"/>
                </a:lnTo>
                <a:lnTo>
                  <a:pt x="4728" y="1527"/>
                </a:lnTo>
                <a:lnTo>
                  <a:pt x="4732" y="1528"/>
                </a:lnTo>
                <a:lnTo>
                  <a:pt x="4736" y="1530"/>
                </a:lnTo>
                <a:lnTo>
                  <a:pt x="4744" y="1534"/>
                </a:lnTo>
                <a:lnTo>
                  <a:pt x="4753" y="1538"/>
                </a:lnTo>
                <a:lnTo>
                  <a:pt x="4758" y="1539"/>
                </a:lnTo>
                <a:lnTo>
                  <a:pt x="4763" y="1541"/>
                </a:lnTo>
                <a:lnTo>
                  <a:pt x="4768" y="1544"/>
                </a:lnTo>
                <a:lnTo>
                  <a:pt x="4771" y="1547"/>
                </a:lnTo>
                <a:lnTo>
                  <a:pt x="4776" y="1553"/>
                </a:lnTo>
                <a:lnTo>
                  <a:pt x="4780" y="1560"/>
                </a:lnTo>
                <a:lnTo>
                  <a:pt x="4782" y="1563"/>
                </a:lnTo>
                <a:lnTo>
                  <a:pt x="4783" y="1567"/>
                </a:lnTo>
                <a:lnTo>
                  <a:pt x="4783" y="1570"/>
                </a:lnTo>
                <a:lnTo>
                  <a:pt x="4783" y="1572"/>
                </a:lnTo>
                <a:lnTo>
                  <a:pt x="4780" y="1578"/>
                </a:lnTo>
                <a:lnTo>
                  <a:pt x="4777" y="1582"/>
                </a:lnTo>
                <a:lnTo>
                  <a:pt x="4773" y="1586"/>
                </a:lnTo>
                <a:lnTo>
                  <a:pt x="4765" y="1591"/>
                </a:lnTo>
                <a:lnTo>
                  <a:pt x="4757" y="1595"/>
                </a:lnTo>
                <a:lnTo>
                  <a:pt x="4751" y="1598"/>
                </a:lnTo>
                <a:lnTo>
                  <a:pt x="4750" y="1599"/>
                </a:lnTo>
                <a:lnTo>
                  <a:pt x="4749" y="1600"/>
                </a:lnTo>
                <a:lnTo>
                  <a:pt x="4749" y="1602"/>
                </a:lnTo>
                <a:lnTo>
                  <a:pt x="4750" y="1604"/>
                </a:lnTo>
                <a:lnTo>
                  <a:pt x="4757" y="1611"/>
                </a:lnTo>
                <a:lnTo>
                  <a:pt x="4766" y="1621"/>
                </a:lnTo>
                <a:lnTo>
                  <a:pt x="4768" y="1623"/>
                </a:lnTo>
                <a:lnTo>
                  <a:pt x="4770" y="1624"/>
                </a:lnTo>
                <a:lnTo>
                  <a:pt x="4772" y="1625"/>
                </a:lnTo>
                <a:lnTo>
                  <a:pt x="4774" y="1626"/>
                </a:lnTo>
                <a:lnTo>
                  <a:pt x="4780" y="1626"/>
                </a:lnTo>
                <a:lnTo>
                  <a:pt x="4785" y="1625"/>
                </a:lnTo>
                <a:lnTo>
                  <a:pt x="4792" y="1622"/>
                </a:lnTo>
                <a:lnTo>
                  <a:pt x="4798" y="1617"/>
                </a:lnTo>
                <a:lnTo>
                  <a:pt x="4803" y="1611"/>
                </a:lnTo>
                <a:lnTo>
                  <a:pt x="4807" y="1605"/>
                </a:lnTo>
                <a:lnTo>
                  <a:pt x="4813" y="1594"/>
                </a:lnTo>
                <a:lnTo>
                  <a:pt x="4815" y="1588"/>
                </a:lnTo>
                <a:lnTo>
                  <a:pt x="4817" y="1585"/>
                </a:lnTo>
                <a:lnTo>
                  <a:pt x="4819" y="1582"/>
                </a:lnTo>
                <a:lnTo>
                  <a:pt x="4824" y="1579"/>
                </a:lnTo>
                <a:lnTo>
                  <a:pt x="4831" y="1574"/>
                </a:lnTo>
                <a:lnTo>
                  <a:pt x="4839" y="1569"/>
                </a:lnTo>
                <a:lnTo>
                  <a:pt x="4849" y="1561"/>
                </a:lnTo>
                <a:lnTo>
                  <a:pt x="4860" y="1551"/>
                </a:lnTo>
                <a:lnTo>
                  <a:pt x="4871" y="1541"/>
                </a:lnTo>
                <a:lnTo>
                  <a:pt x="4890" y="1523"/>
                </a:lnTo>
                <a:lnTo>
                  <a:pt x="4901" y="1514"/>
                </a:lnTo>
                <a:lnTo>
                  <a:pt x="4909" y="1511"/>
                </a:lnTo>
                <a:lnTo>
                  <a:pt x="4920" y="1508"/>
                </a:lnTo>
                <a:lnTo>
                  <a:pt x="4931" y="1506"/>
                </a:lnTo>
                <a:lnTo>
                  <a:pt x="4939" y="1506"/>
                </a:lnTo>
                <a:lnTo>
                  <a:pt x="4942" y="1516"/>
                </a:lnTo>
                <a:lnTo>
                  <a:pt x="4942" y="1528"/>
                </a:lnTo>
                <a:lnTo>
                  <a:pt x="4944" y="1530"/>
                </a:lnTo>
                <a:lnTo>
                  <a:pt x="4944" y="1534"/>
                </a:lnTo>
                <a:lnTo>
                  <a:pt x="4943" y="1536"/>
                </a:lnTo>
                <a:lnTo>
                  <a:pt x="4941" y="1539"/>
                </a:lnTo>
                <a:lnTo>
                  <a:pt x="4935" y="1544"/>
                </a:lnTo>
                <a:lnTo>
                  <a:pt x="4930" y="1548"/>
                </a:lnTo>
                <a:lnTo>
                  <a:pt x="4925" y="1551"/>
                </a:lnTo>
                <a:lnTo>
                  <a:pt x="4922" y="1552"/>
                </a:lnTo>
                <a:lnTo>
                  <a:pt x="4920" y="1555"/>
                </a:lnTo>
                <a:lnTo>
                  <a:pt x="4919" y="1558"/>
                </a:lnTo>
                <a:lnTo>
                  <a:pt x="4920" y="1560"/>
                </a:lnTo>
                <a:lnTo>
                  <a:pt x="4923" y="1561"/>
                </a:lnTo>
                <a:lnTo>
                  <a:pt x="4927" y="1562"/>
                </a:lnTo>
                <a:lnTo>
                  <a:pt x="4931" y="1562"/>
                </a:lnTo>
                <a:lnTo>
                  <a:pt x="4936" y="1562"/>
                </a:lnTo>
                <a:lnTo>
                  <a:pt x="4941" y="1561"/>
                </a:lnTo>
                <a:lnTo>
                  <a:pt x="4944" y="1560"/>
                </a:lnTo>
                <a:lnTo>
                  <a:pt x="4946" y="1558"/>
                </a:lnTo>
                <a:lnTo>
                  <a:pt x="4947" y="1555"/>
                </a:lnTo>
                <a:lnTo>
                  <a:pt x="4948" y="1551"/>
                </a:lnTo>
                <a:lnTo>
                  <a:pt x="4951" y="1547"/>
                </a:lnTo>
                <a:lnTo>
                  <a:pt x="4956" y="1542"/>
                </a:lnTo>
                <a:lnTo>
                  <a:pt x="4967" y="1531"/>
                </a:lnTo>
                <a:lnTo>
                  <a:pt x="4972" y="1528"/>
                </a:lnTo>
                <a:lnTo>
                  <a:pt x="4957" y="1514"/>
                </a:lnTo>
                <a:lnTo>
                  <a:pt x="4959" y="1512"/>
                </a:lnTo>
                <a:lnTo>
                  <a:pt x="4965" y="1506"/>
                </a:lnTo>
                <a:lnTo>
                  <a:pt x="4968" y="1504"/>
                </a:lnTo>
                <a:lnTo>
                  <a:pt x="4972" y="1502"/>
                </a:lnTo>
                <a:lnTo>
                  <a:pt x="4976" y="1502"/>
                </a:lnTo>
                <a:lnTo>
                  <a:pt x="4980" y="1504"/>
                </a:lnTo>
                <a:lnTo>
                  <a:pt x="4994" y="1514"/>
                </a:lnTo>
                <a:lnTo>
                  <a:pt x="5003" y="1519"/>
                </a:lnTo>
                <a:lnTo>
                  <a:pt x="5015" y="1520"/>
                </a:lnTo>
                <a:lnTo>
                  <a:pt x="5031" y="1520"/>
                </a:lnTo>
                <a:lnTo>
                  <a:pt x="5034" y="1520"/>
                </a:lnTo>
                <a:lnTo>
                  <a:pt x="5037" y="1520"/>
                </a:lnTo>
                <a:lnTo>
                  <a:pt x="5039" y="1520"/>
                </a:lnTo>
                <a:lnTo>
                  <a:pt x="5041" y="1518"/>
                </a:lnTo>
                <a:lnTo>
                  <a:pt x="5043" y="1515"/>
                </a:lnTo>
                <a:lnTo>
                  <a:pt x="5044" y="1511"/>
                </a:lnTo>
                <a:lnTo>
                  <a:pt x="5046" y="1505"/>
                </a:lnTo>
                <a:lnTo>
                  <a:pt x="5051" y="1500"/>
                </a:lnTo>
                <a:lnTo>
                  <a:pt x="5055" y="1495"/>
                </a:lnTo>
                <a:lnTo>
                  <a:pt x="5056" y="1493"/>
                </a:lnTo>
                <a:lnTo>
                  <a:pt x="5059" y="1513"/>
                </a:lnTo>
                <a:lnTo>
                  <a:pt x="5060" y="1515"/>
                </a:lnTo>
                <a:lnTo>
                  <a:pt x="5063" y="1519"/>
                </a:lnTo>
                <a:lnTo>
                  <a:pt x="5065" y="1521"/>
                </a:lnTo>
                <a:lnTo>
                  <a:pt x="5068" y="1523"/>
                </a:lnTo>
                <a:lnTo>
                  <a:pt x="5070" y="1524"/>
                </a:lnTo>
                <a:lnTo>
                  <a:pt x="5074" y="1525"/>
                </a:lnTo>
                <a:lnTo>
                  <a:pt x="5080" y="1527"/>
                </a:lnTo>
                <a:lnTo>
                  <a:pt x="5086" y="1528"/>
                </a:lnTo>
                <a:lnTo>
                  <a:pt x="5088" y="1528"/>
                </a:lnTo>
                <a:lnTo>
                  <a:pt x="5090" y="1525"/>
                </a:lnTo>
                <a:lnTo>
                  <a:pt x="5090" y="1521"/>
                </a:lnTo>
                <a:lnTo>
                  <a:pt x="5089" y="1513"/>
                </a:lnTo>
                <a:lnTo>
                  <a:pt x="5086" y="1499"/>
                </a:lnTo>
                <a:lnTo>
                  <a:pt x="5084" y="1491"/>
                </a:lnTo>
                <a:lnTo>
                  <a:pt x="5079" y="1484"/>
                </a:lnTo>
                <a:lnTo>
                  <a:pt x="5069" y="1474"/>
                </a:lnTo>
                <a:lnTo>
                  <a:pt x="5060" y="1462"/>
                </a:lnTo>
                <a:lnTo>
                  <a:pt x="5055" y="1455"/>
                </a:lnTo>
                <a:lnTo>
                  <a:pt x="5051" y="1450"/>
                </a:lnTo>
                <a:lnTo>
                  <a:pt x="5042" y="1443"/>
                </a:lnTo>
                <a:lnTo>
                  <a:pt x="5039" y="1442"/>
                </a:lnTo>
                <a:lnTo>
                  <a:pt x="5038" y="1439"/>
                </a:lnTo>
                <a:lnTo>
                  <a:pt x="5037" y="1437"/>
                </a:lnTo>
                <a:lnTo>
                  <a:pt x="5037" y="1435"/>
                </a:lnTo>
                <a:lnTo>
                  <a:pt x="5038" y="1430"/>
                </a:lnTo>
                <a:lnTo>
                  <a:pt x="5041" y="1425"/>
                </a:lnTo>
                <a:lnTo>
                  <a:pt x="5048" y="1415"/>
                </a:lnTo>
                <a:lnTo>
                  <a:pt x="5053" y="1412"/>
                </a:lnTo>
                <a:lnTo>
                  <a:pt x="5054" y="1416"/>
                </a:lnTo>
                <a:lnTo>
                  <a:pt x="5058" y="1425"/>
                </a:lnTo>
                <a:lnTo>
                  <a:pt x="5061" y="1430"/>
                </a:lnTo>
                <a:lnTo>
                  <a:pt x="5065" y="1435"/>
                </a:lnTo>
                <a:lnTo>
                  <a:pt x="5069" y="1439"/>
                </a:lnTo>
                <a:lnTo>
                  <a:pt x="5074" y="1442"/>
                </a:lnTo>
                <a:lnTo>
                  <a:pt x="5079" y="1446"/>
                </a:lnTo>
                <a:lnTo>
                  <a:pt x="5086" y="1448"/>
                </a:lnTo>
                <a:lnTo>
                  <a:pt x="5094" y="1450"/>
                </a:lnTo>
                <a:lnTo>
                  <a:pt x="5103" y="1451"/>
                </a:lnTo>
                <a:lnTo>
                  <a:pt x="5122" y="1455"/>
                </a:lnTo>
                <a:lnTo>
                  <a:pt x="5142" y="1459"/>
                </a:lnTo>
                <a:lnTo>
                  <a:pt x="5150" y="1462"/>
                </a:lnTo>
                <a:lnTo>
                  <a:pt x="5156" y="1465"/>
                </a:lnTo>
                <a:lnTo>
                  <a:pt x="5162" y="1469"/>
                </a:lnTo>
                <a:lnTo>
                  <a:pt x="5166" y="1472"/>
                </a:lnTo>
                <a:lnTo>
                  <a:pt x="5174" y="1480"/>
                </a:lnTo>
                <a:lnTo>
                  <a:pt x="5184" y="1491"/>
                </a:lnTo>
                <a:lnTo>
                  <a:pt x="5189" y="1500"/>
                </a:lnTo>
                <a:lnTo>
                  <a:pt x="5191" y="1505"/>
                </a:lnTo>
                <a:lnTo>
                  <a:pt x="5193" y="1507"/>
                </a:lnTo>
                <a:lnTo>
                  <a:pt x="5197" y="1511"/>
                </a:lnTo>
                <a:lnTo>
                  <a:pt x="5206" y="1516"/>
                </a:lnTo>
                <a:lnTo>
                  <a:pt x="5217" y="1522"/>
                </a:lnTo>
                <a:lnTo>
                  <a:pt x="5241" y="1534"/>
                </a:lnTo>
                <a:lnTo>
                  <a:pt x="5256" y="1541"/>
                </a:lnTo>
                <a:lnTo>
                  <a:pt x="5261" y="1543"/>
                </a:lnTo>
                <a:lnTo>
                  <a:pt x="5264" y="1546"/>
                </a:lnTo>
                <a:lnTo>
                  <a:pt x="5266" y="1549"/>
                </a:lnTo>
                <a:lnTo>
                  <a:pt x="5268" y="1552"/>
                </a:lnTo>
                <a:lnTo>
                  <a:pt x="5270" y="1556"/>
                </a:lnTo>
                <a:lnTo>
                  <a:pt x="5271" y="1556"/>
                </a:lnTo>
                <a:lnTo>
                  <a:pt x="5272" y="1553"/>
                </a:lnTo>
                <a:lnTo>
                  <a:pt x="5272" y="1550"/>
                </a:lnTo>
                <a:lnTo>
                  <a:pt x="5273" y="1541"/>
                </a:lnTo>
                <a:lnTo>
                  <a:pt x="5274" y="1530"/>
                </a:lnTo>
                <a:lnTo>
                  <a:pt x="5275" y="1523"/>
                </a:lnTo>
                <a:lnTo>
                  <a:pt x="5275" y="1518"/>
                </a:lnTo>
                <a:lnTo>
                  <a:pt x="5272" y="1514"/>
                </a:lnTo>
                <a:lnTo>
                  <a:pt x="5262" y="1505"/>
                </a:lnTo>
                <a:lnTo>
                  <a:pt x="5254" y="1497"/>
                </a:lnTo>
                <a:lnTo>
                  <a:pt x="5249" y="1493"/>
                </a:lnTo>
                <a:lnTo>
                  <a:pt x="5243" y="1487"/>
                </a:lnTo>
                <a:lnTo>
                  <a:pt x="5234" y="1478"/>
                </a:lnTo>
                <a:lnTo>
                  <a:pt x="5228" y="1472"/>
                </a:lnTo>
                <a:lnTo>
                  <a:pt x="5224" y="1467"/>
                </a:lnTo>
                <a:lnTo>
                  <a:pt x="5222" y="1462"/>
                </a:lnTo>
                <a:lnTo>
                  <a:pt x="5221" y="1457"/>
                </a:lnTo>
                <a:lnTo>
                  <a:pt x="5220" y="1446"/>
                </a:lnTo>
                <a:lnTo>
                  <a:pt x="5220" y="1432"/>
                </a:lnTo>
                <a:lnTo>
                  <a:pt x="5219" y="1425"/>
                </a:lnTo>
                <a:lnTo>
                  <a:pt x="5218" y="1418"/>
                </a:lnTo>
                <a:lnTo>
                  <a:pt x="5216" y="1413"/>
                </a:lnTo>
                <a:lnTo>
                  <a:pt x="5215" y="1410"/>
                </a:lnTo>
                <a:lnTo>
                  <a:pt x="5211" y="1405"/>
                </a:lnTo>
                <a:lnTo>
                  <a:pt x="5208" y="1399"/>
                </a:lnTo>
                <a:lnTo>
                  <a:pt x="5207" y="1397"/>
                </a:lnTo>
                <a:lnTo>
                  <a:pt x="5207" y="1395"/>
                </a:lnTo>
                <a:lnTo>
                  <a:pt x="5207" y="1394"/>
                </a:lnTo>
                <a:lnTo>
                  <a:pt x="5208" y="1392"/>
                </a:lnTo>
                <a:lnTo>
                  <a:pt x="5213" y="1386"/>
                </a:lnTo>
                <a:lnTo>
                  <a:pt x="5221" y="1376"/>
                </a:lnTo>
                <a:lnTo>
                  <a:pt x="5232" y="1365"/>
                </a:lnTo>
                <a:lnTo>
                  <a:pt x="5241" y="1354"/>
                </a:lnTo>
                <a:lnTo>
                  <a:pt x="5245" y="1350"/>
                </a:lnTo>
                <a:lnTo>
                  <a:pt x="5249" y="1346"/>
                </a:lnTo>
                <a:lnTo>
                  <a:pt x="5252" y="1342"/>
                </a:lnTo>
                <a:lnTo>
                  <a:pt x="5253" y="1338"/>
                </a:lnTo>
                <a:lnTo>
                  <a:pt x="5256" y="1325"/>
                </a:lnTo>
                <a:lnTo>
                  <a:pt x="5259" y="1307"/>
                </a:lnTo>
                <a:lnTo>
                  <a:pt x="5263" y="1289"/>
                </a:lnTo>
                <a:lnTo>
                  <a:pt x="5266" y="1273"/>
                </a:lnTo>
                <a:lnTo>
                  <a:pt x="5268" y="1260"/>
                </a:lnTo>
                <a:lnTo>
                  <a:pt x="5271" y="1252"/>
                </a:lnTo>
                <a:lnTo>
                  <a:pt x="5273" y="1248"/>
                </a:lnTo>
                <a:lnTo>
                  <a:pt x="5275" y="1244"/>
                </a:lnTo>
                <a:lnTo>
                  <a:pt x="5279" y="1241"/>
                </a:lnTo>
                <a:lnTo>
                  <a:pt x="5284" y="1238"/>
                </a:lnTo>
                <a:lnTo>
                  <a:pt x="5294" y="1232"/>
                </a:lnTo>
                <a:lnTo>
                  <a:pt x="5301" y="1227"/>
                </a:lnTo>
                <a:lnTo>
                  <a:pt x="5304" y="1225"/>
                </a:lnTo>
                <a:lnTo>
                  <a:pt x="5305" y="1222"/>
                </a:lnTo>
                <a:lnTo>
                  <a:pt x="5306" y="1219"/>
                </a:lnTo>
                <a:lnTo>
                  <a:pt x="5306" y="1217"/>
                </a:lnTo>
                <a:lnTo>
                  <a:pt x="5306" y="1215"/>
                </a:lnTo>
                <a:lnTo>
                  <a:pt x="5307" y="1212"/>
                </a:lnTo>
                <a:lnTo>
                  <a:pt x="5309" y="1210"/>
                </a:lnTo>
                <a:lnTo>
                  <a:pt x="5311" y="1208"/>
                </a:lnTo>
                <a:lnTo>
                  <a:pt x="5315" y="1208"/>
                </a:lnTo>
                <a:lnTo>
                  <a:pt x="5317" y="1208"/>
                </a:lnTo>
                <a:lnTo>
                  <a:pt x="5320" y="1210"/>
                </a:lnTo>
                <a:lnTo>
                  <a:pt x="5323" y="1214"/>
                </a:lnTo>
                <a:lnTo>
                  <a:pt x="5328" y="1223"/>
                </a:lnTo>
                <a:lnTo>
                  <a:pt x="5333" y="1230"/>
                </a:lnTo>
                <a:lnTo>
                  <a:pt x="5336" y="1233"/>
                </a:lnTo>
                <a:lnTo>
                  <a:pt x="5337" y="1235"/>
                </a:lnTo>
                <a:lnTo>
                  <a:pt x="5337" y="1237"/>
                </a:lnTo>
                <a:lnTo>
                  <a:pt x="5336" y="1239"/>
                </a:lnTo>
                <a:lnTo>
                  <a:pt x="5332" y="1243"/>
                </a:lnTo>
                <a:lnTo>
                  <a:pt x="5330" y="1248"/>
                </a:lnTo>
                <a:lnTo>
                  <a:pt x="5330" y="1249"/>
                </a:lnTo>
                <a:lnTo>
                  <a:pt x="5331" y="1251"/>
                </a:lnTo>
                <a:lnTo>
                  <a:pt x="5332" y="1252"/>
                </a:lnTo>
                <a:lnTo>
                  <a:pt x="5334" y="1253"/>
                </a:lnTo>
                <a:lnTo>
                  <a:pt x="5340" y="1254"/>
                </a:lnTo>
                <a:lnTo>
                  <a:pt x="5347" y="1253"/>
                </a:lnTo>
                <a:lnTo>
                  <a:pt x="5350" y="1253"/>
                </a:lnTo>
                <a:lnTo>
                  <a:pt x="5352" y="1254"/>
                </a:lnTo>
                <a:lnTo>
                  <a:pt x="5354" y="1256"/>
                </a:lnTo>
                <a:lnTo>
                  <a:pt x="5354" y="1259"/>
                </a:lnTo>
                <a:lnTo>
                  <a:pt x="5355" y="1269"/>
                </a:lnTo>
                <a:lnTo>
                  <a:pt x="5355" y="1278"/>
                </a:lnTo>
                <a:lnTo>
                  <a:pt x="5355" y="1289"/>
                </a:lnTo>
                <a:lnTo>
                  <a:pt x="5354" y="1300"/>
                </a:lnTo>
                <a:lnTo>
                  <a:pt x="5352" y="1314"/>
                </a:lnTo>
                <a:lnTo>
                  <a:pt x="5349" y="1326"/>
                </a:lnTo>
                <a:lnTo>
                  <a:pt x="5346" y="1337"/>
                </a:lnTo>
                <a:lnTo>
                  <a:pt x="5344" y="1341"/>
                </a:lnTo>
                <a:lnTo>
                  <a:pt x="5343" y="1342"/>
                </a:lnTo>
                <a:lnTo>
                  <a:pt x="5341" y="1345"/>
                </a:lnTo>
                <a:lnTo>
                  <a:pt x="5340" y="1348"/>
                </a:lnTo>
                <a:lnTo>
                  <a:pt x="5340" y="1352"/>
                </a:lnTo>
                <a:lnTo>
                  <a:pt x="5341" y="1357"/>
                </a:lnTo>
                <a:lnTo>
                  <a:pt x="5343" y="1363"/>
                </a:lnTo>
                <a:lnTo>
                  <a:pt x="5346" y="1374"/>
                </a:lnTo>
                <a:lnTo>
                  <a:pt x="5348" y="1382"/>
                </a:lnTo>
                <a:lnTo>
                  <a:pt x="5349" y="1390"/>
                </a:lnTo>
                <a:lnTo>
                  <a:pt x="5351" y="1402"/>
                </a:lnTo>
                <a:lnTo>
                  <a:pt x="5354" y="1413"/>
                </a:lnTo>
                <a:lnTo>
                  <a:pt x="5354" y="1421"/>
                </a:lnTo>
                <a:lnTo>
                  <a:pt x="5352" y="1429"/>
                </a:lnTo>
                <a:lnTo>
                  <a:pt x="5349" y="1437"/>
                </a:lnTo>
                <a:lnTo>
                  <a:pt x="5348" y="1442"/>
                </a:lnTo>
                <a:lnTo>
                  <a:pt x="5348" y="1449"/>
                </a:lnTo>
                <a:lnTo>
                  <a:pt x="5348" y="1455"/>
                </a:lnTo>
                <a:lnTo>
                  <a:pt x="5349" y="1461"/>
                </a:lnTo>
                <a:lnTo>
                  <a:pt x="5351" y="1473"/>
                </a:lnTo>
                <a:lnTo>
                  <a:pt x="5352" y="1480"/>
                </a:lnTo>
                <a:lnTo>
                  <a:pt x="5355" y="1484"/>
                </a:lnTo>
                <a:lnTo>
                  <a:pt x="5360" y="1489"/>
                </a:lnTo>
                <a:lnTo>
                  <a:pt x="5362" y="1491"/>
                </a:lnTo>
                <a:lnTo>
                  <a:pt x="5363" y="1494"/>
                </a:lnTo>
                <a:lnTo>
                  <a:pt x="5362" y="1497"/>
                </a:lnTo>
                <a:lnTo>
                  <a:pt x="5359" y="1501"/>
                </a:lnTo>
                <a:lnTo>
                  <a:pt x="5355" y="1506"/>
                </a:lnTo>
                <a:lnTo>
                  <a:pt x="5354" y="1511"/>
                </a:lnTo>
                <a:lnTo>
                  <a:pt x="5353" y="1515"/>
                </a:lnTo>
                <a:lnTo>
                  <a:pt x="5354" y="1519"/>
                </a:lnTo>
                <a:lnTo>
                  <a:pt x="5357" y="1526"/>
                </a:lnTo>
                <a:lnTo>
                  <a:pt x="5360" y="1534"/>
                </a:lnTo>
                <a:lnTo>
                  <a:pt x="5362" y="1540"/>
                </a:lnTo>
                <a:lnTo>
                  <a:pt x="5364" y="1547"/>
                </a:lnTo>
                <a:lnTo>
                  <a:pt x="5365" y="1551"/>
                </a:lnTo>
                <a:lnTo>
                  <a:pt x="5365" y="1555"/>
                </a:lnTo>
                <a:lnTo>
                  <a:pt x="5364" y="1559"/>
                </a:lnTo>
                <a:lnTo>
                  <a:pt x="5363" y="1562"/>
                </a:lnTo>
                <a:lnTo>
                  <a:pt x="5362" y="1569"/>
                </a:lnTo>
                <a:lnTo>
                  <a:pt x="5362" y="1578"/>
                </a:lnTo>
                <a:lnTo>
                  <a:pt x="5362" y="1582"/>
                </a:lnTo>
                <a:lnTo>
                  <a:pt x="5362" y="1587"/>
                </a:lnTo>
                <a:lnTo>
                  <a:pt x="5361" y="1591"/>
                </a:lnTo>
                <a:lnTo>
                  <a:pt x="5359" y="1596"/>
                </a:lnTo>
                <a:lnTo>
                  <a:pt x="5354" y="1608"/>
                </a:lnTo>
                <a:lnTo>
                  <a:pt x="5351" y="1618"/>
                </a:lnTo>
                <a:lnTo>
                  <a:pt x="5349" y="1623"/>
                </a:lnTo>
                <a:lnTo>
                  <a:pt x="5347" y="1627"/>
                </a:lnTo>
                <a:lnTo>
                  <a:pt x="5345" y="1630"/>
                </a:lnTo>
                <a:lnTo>
                  <a:pt x="5342" y="1633"/>
                </a:lnTo>
                <a:lnTo>
                  <a:pt x="5328" y="1636"/>
                </a:lnTo>
                <a:lnTo>
                  <a:pt x="5309" y="1640"/>
                </a:lnTo>
                <a:lnTo>
                  <a:pt x="5293" y="1643"/>
                </a:lnTo>
                <a:lnTo>
                  <a:pt x="5285" y="1644"/>
                </a:lnTo>
                <a:lnTo>
                  <a:pt x="5282" y="1644"/>
                </a:lnTo>
                <a:lnTo>
                  <a:pt x="5277" y="1643"/>
                </a:lnTo>
                <a:lnTo>
                  <a:pt x="5275" y="1642"/>
                </a:lnTo>
                <a:lnTo>
                  <a:pt x="5273" y="1643"/>
                </a:lnTo>
                <a:lnTo>
                  <a:pt x="5271" y="1645"/>
                </a:lnTo>
                <a:lnTo>
                  <a:pt x="5271" y="1647"/>
                </a:lnTo>
                <a:lnTo>
                  <a:pt x="5272" y="1651"/>
                </a:lnTo>
                <a:lnTo>
                  <a:pt x="5275" y="1654"/>
                </a:lnTo>
                <a:lnTo>
                  <a:pt x="5279" y="1657"/>
                </a:lnTo>
                <a:lnTo>
                  <a:pt x="5283" y="1659"/>
                </a:lnTo>
                <a:lnTo>
                  <a:pt x="5290" y="1664"/>
                </a:lnTo>
                <a:lnTo>
                  <a:pt x="5295" y="1666"/>
                </a:lnTo>
                <a:lnTo>
                  <a:pt x="5301" y="1666"/>
                </a:lnTo>
                <a:lnTo>
                  <a:pt x="5315" y="1666"/>
                </a:lnTo>
                <a:lnTo>
                  <a:pt x="5323" y="1666"/>
                </a:lnTo>
                <a:lnTo>
                  <a:pt x="5329" y="1665"/>
                </a:lnTo>
                <a:lnTo>
                  <a:pt x="5336" y="1664"/>
                </a:lnTo>
                <a:lnTo>
                  <a:pt x="5339" y="1662"/>
                </a:lnTo>
                <a:lnTo>
                  <a:pt x="5349" y="1651"/>
                </a:lnTo>
                <a:lnTo>
                  <a:pt x="5360" y="1640"/>
                </a:lnTo>
                <a:lnTo>
                  <a:pt x="5365" y="1638"/>
                </a:lnTo>
                <a:lnTo>
                  <a:pt x="5372" y="1637"/>
                </a:lnTo>
                <a:lnTo>
                  <a:pt x="5376" y="1636"/>
                </a:lnTo>
                <a:lnTo>
                  <a:pt x="5380" y="1634"/>
                </a:lnTo>
                <a:lnTo>
                  <a:pt x="5382" y="1632"/>
                </a:lnTo>
                <a:lnTo>
                  <a:pt x="5384" y="1629"/>
                </a:lnTo>
                <a:lnTo>
                  <a:pt x="5385" y="1618"/>
                </a:lnTo>
                <a:lnTo>
                  <a:pt x="5387" y="1605"/>
                </a:lnTo>
                <a:lnTo>
                  <a:pt x="5389" y="1593"/>
                </a:lnTo>
                <a:lnTo>
                  <a:pt x="5392" y="1585"/>
                </a:lnTo>
                <a:lnTo>
                  <a:pt x="5397" y="1581"/>
                </a:lnTo>
                <a:lnTo>
                  <a:pt x="5404" y="1577"/>
                </a:lnTo>
                <a:lnTo>
                  <a:pt x="5407" y="1574"/>
                </a:lnTo>
                <a:lnTo>
                  <a:pt x="5408" y="1571"/>
                </a:lnTo>
                <a:lnTo>
                  <a:pt x="5407" y="1567"/>
                </a:lnTo>
                <a:lnTo>
                  <a:pt x="5404" y="1562"/>
                </a:lnTo>
                <a:lnTo>
                  <a:pt x="5395" y="1550"/>
                </a:lnTo>
                <a:lnTo>
                  <a:pt x="5387" y="1542"/>
                </a:lnTo>
                <a:lnTo>
                  <a:pt x="5384" y="1539"/>
                </a:lnTo>
                <a:lnTo>
                  <a:pt x="5382" y="1537"/>
                </a:lnTo>
                <a:lnTo>
                  <a:pt x="5381" y="1535"/>
                </a:lnTo>
                <a:lnTo>
                  <a:pt x="5382" y="1533"/>
                </a:lnTo>
                <a:lnTo>
                  <a:pt x="5384" y="1530"/>
                </a:lnTo>
                <a:lnTo>
                  <a:pt x="5390" y="1527"/>
                </a:lnTo>
                <a:lnTo>
                  <a:pt x="5396" y="1525"/>
                </a:lnTo>
                <a:lnTo>
                  <a:pt x="5405" y="1522"/>
                </a:lnTo>
                <a:lnTo>
                  <a:pt x="5419" y="1518"/>
                </a:lnTo>
                <a:lnTo>
                  <a:pt x="5426" y="1516"/>
                </a:lnTo>
                <a:lnTo>
                  <a:pt x="5424" y="1515"/>
                </a:lnTo>
                <a:lnTo>
                  <a:pt x="5419" y="1511"/>
                </a:lnTo>
                <a:lnTo>
                  <a:pt x="5415" y="1509"/>
                </a:lnTo>
                <a:lnTo>
                  <a:pt x="5410" y="1507"/>
                </a:lnTo>
                <a:lnTo>
                  <a:pt x="5404" y="1506"/>
                </a:lnTo>
                <a:lnTo>
                  <a:pt x="5395" y="1505"/>
                </a:lnTo>
                <a:lnTo>
                  <a:pt x="5384" y="1504"/>
                </a:lnTo>
                <a:lnTo>
                  <a:pt x="5379" y="1503"/>
                </a:lnTo>
                <a:lnTo>
                  <a:pt x="5377" y="1500"/>
                </a:lnTo>
                <a:lnTo>
                  <a:pt x="5377" y="1494"/>
                </a:lnTo>
                <a:lnTo>
                  <a:pt x="5375" y="1481"/>
                </a:lnTo>
                <a:lnTo>
                  <a:pt x="5372" y="1460"/>
                </a:lnTo>
                <a:lnTo>
                  <a:pt x="5370" y="1450"/>
                </a:lnTo>
                <a:lnTo>
                  <a:pt x="5369" y="1440"/>
                </a:lnTo>
                <a:lnTo>
                  <a:pt x="5369" y="1433"/>
                </a:lnTo>
                <a:lnTo>
                  <a:pt x="5370" y="1429"/>
                </a:lnTo>
                <a:lnTo>
                  <a:pt x="5375" y="1425"/>
                </a:lnTo>
                <a:lnTo>
                  <a:pt x="5381" y="1423"/>
                </a:lnTo>
                <a:lnTo>
                  <a:pt x="5383" y="1420"/>
                </a:lnTo>
                <a:lnTo>
                  <a:pt x="5383" y="1417"/>
                </a:lnTo>
                <a:lnTo>
                  <a:pt x="5382" y="1413"/>
                </a:lnTo>
                <a:lnTo>
                  <a:pt x="5379" y="1407"/>
                </a:lnTo>
                <a:lnTo>
                  <a:pt x="5370" y="1395"/>
                </a:lnTo>
                <a:lnTo>
                  <a:pt x="5366" y="1386"/>
                </a:lnTo>
                <a:lnTo>
                  <a:pt x="5365" y="1381"/>
                </a:lnTo>
                <a:lnTo>
                  <a:pt x="5364" y="1374"/>
                </a:lnTo>
                <a:lnTo>
                  <a:pt x="5365" y="1367"/>
                </a:lnTo>
                <a:lnTo>
                  <a:pt x="5365" y="1358"/>
                </a:lnTo>
                <a:lnTo>
                  <a:pt x="5366" y="1348"/>
                </a:lnTo>
                <a:lnTo>
                  <a:pt x="5369" y="1339"/>
                </a:lnTo>
                <a:lnTo>
                  <a:pt x="5372" y="1330"/>
                </a:lnTo>
                <a:lnTo>
                  <a:pt x="5375" y="1323"/>
                </a:lnTo>
                <a:lnTo>
                  <a:pt x="5382" y="1314"/>
                </a:lnTo>
                <a:lnTo>
                  <a:pt x="5385" y="1309"/>
                </a:lnTo>
                <a:lnTo>
                  <a:pt x="5386" y="1307"/>
                </a:lnTo>
                <a:lnTo>
                  <a:pt x="5390" y="1300"/>
                </a:lnTo>
                <a:lnTo>
                  <a:pt x="5394" y="1292"/>
                </a:lnTo>
                <a:lnTo>
                  <a:pt x="5395" y="1283"/>
                </a:lnTo>
                <a:lnTo>
                  <a:pt x="5398" y="1270"/>
                </a:lnTo>
                <a:lnTo>
                  <a:pt x="5403" y="1252"/>
                </a:lnTo>
                <a:lnTo>
                  <a:pt x="5406" y="1243"/>
                </a:lnTo>
                <a:lnTo>
                  <a:pt x="5408" y="1238"/>
                </a:lnTo>
                <a:lnTo>
                  <a:pt x="5409" y="1236"/>
                </a:lnTo>
                <a:lnTo>
                  <a:pt x="5410" y="1235"/>
                </a:lnTo>
                <a:lnTo>
                  <a:pt x="5411" y="1235"/>
                </a:lnTo>
                <a:lnTo>
                  <a:pt x="5411" y="1237"/>
                </a:lnTo>
                <a:lnTo>
                  <a:pt x="5414" y="1248"/>
                </a:lnTo>
                <a:lnTo>
                  <a:pt x="5418" y="1261"/>
                </a:lnTo>
                <a:lnTo>
                  <a:pt x="5420" y="1267"/>
                </a:lnTo>
                <a:lnTo>
                  <a:pt x="5423" y="1275"/>
                </a:lnTo>
                <a:lnTo>
                  <a:pt x="5423" y="1281"/>
                </a:lnTo>
                <a:lnTo>
                  <a:pt x="5421" y="1287"/>
                </a:lnTo>
                <a:lnTo>
                  <a:pt x="5418" y="1298"/>
                </a:lnTo>
                <a:lnTo>
                  <a:pt x="5416" y="1308"/>
                </a:lnTo>
                <a:lnTo>
                  <a:pt x="5415" y="1320"/>
                </a:lnTo>
                <a:lnTo>
                  <a:pt x="5413" y="1331"/>
                </a:lnTo>
                <a:lnTo>
                  <a:pt x="5413" y="1336"/>
                </a:lnTo>
                <a:lnTo>
                  <a:pt x="5414" y="1338"/>
                </a:lnTo>
                <a:lnTo>
                  <a:pt x="5416" y="1339"/>
                </a:lnTo>
                <a:lnTo>
                  <a:pt x="5418" y="1338"/>
                </a:lnTo>
                <a:lnTo>
                  <a:pt x="5424" y="1335"/>
                </a:lnTo>
                <a:lnTo>
                  <a:pt x="5427" y="1332"/>
                </a:lnTo>
                <a:lnTo>
                  <a:pt x="5434" y="1293"/>
                </a:lnTo>
                <a:lnTo>
                  <a:pt x="5436" y="1287"/>
                </a:lnTo>
                <a:lnTo>
                  <a:pt x="5442" y="1278"/>
                </a:lnTo>
                <a:lnTo>
                  <a:pt x="5447" y="1273"/>
                </a:lnTo>
                <a:lnTo>
                  <a:pt x="5450" y="1270"/>
                </a:lnTo>
                <a:lnTo>
                  <a:pt x="5452" y="1267"/>
                </a:lnTo>
                <a:lnTo>
                  <a:pt x="5453" y="1267"/>
                </a:lnTo>
                <a:lnTo>
                  <a:pt x="5454" y="1267"/>
                </a:lnTo>
                <a:lnTo>
                  <a:pt x="5455" y="1267"/>
                </a:lnTo>
                <a:lnTo>
                  <a:pt x="5463" y="1273"/>
                </a:lnTo>
                <a:lnTo>
                  <a:pt x="5477" y="1281"/>
                </a:lnTo>
                <a:lnTo>
                  <a:pt x="5491" y="1289"/>
                </a:lnTo>
                <a:lnTo>
                  <a:pt x="5501" y="1297"/>
                </a:lnTo>
                <a:lnTo>
                  <a:pt x="5511" y="1304"/>
                </a:lnTo>
                <a:lnTo>
                  <a:pt x="5523" y="1310"/>
                </a:lnTo>
                <a:lnTo>
                  <a:pt x="5529" y="1315"/>
                </a:lnTo>
                <a:lnTo>
                  <a:pt x="5536" y="1318"/>
                </a:lnTo>
                <a:lnTo>
                  <a:pt x="5540" y="1322"/>
                </a:lnTo>
                <a:lnTo>
                  <a:pt x="5544" y="1326"/>
                </a:lnTo>
                <a:lnTo>
                  <a:pt x="5547" y="1329"/>
                </a:lnTo>
                <a:lnTo>
                  <a:pt x="5551" y="1331"/>
                </a:lnTo>
                <a:lnTo>
                  <a:pt x="5557" y="1332"/>
                </a:lnTo>
                <a:lnTo>
                  <a:pt x="5562" y="1333"/>
                </a:lnTo>
                <a:lnTo>
                  <a:pt x="5566" y="1335"/>
                </a:lnTo>
                <a:lnTo>
                  <a:pt x="5570" y="1337"/>
                </a:lnTo>
                <a:lnTo>
                  <a:pt x="5573" y="1339"/>
                </a:lnTo>
                <a:lnTo>
                  <a:pt x="5574" y="1343"/>
                </a:lnTo>
                <a:lnTo>
                  <a:pt x="5574" y="1351"/>
                </a:lnTo>
                <a:lnTo>
                  <a:pt x="5575" y="1358"/>
                </a:lnTo>
                <a:lnTo>
                  <a:pt x="5574" y="1364"/>
                </a:lnTo>
                <a:lnTo>
                  <a:pt x="5571" y="1372"/>
                </a:lnTo>
                <a:lnTo>
                  <a:pt x="5569" y="1377"/>
                </a:lnTo>
                <a:lnTo>
                  <a:pt x="5567" y="1382"/>
                </a:lnTo>
                <a:lnTo>
                  <a:pt x="5567" y="1387"/>
                </a:lnTo>
                <a:lnTo>
                  <a:pt x="5566" y="1391"/>
                </a:lnTo>
                <a:lnTo>
                  <a:pt x="5567" y="1396"/>
                </a:lnTo>
                <a:lnTo>
                  <a:pt x="5568" y="1402"/>
                </a:lnTo>
                <a:lnTo>
                  <a:pt x="5570" y="1408"/>
                </a:lnTo>
                <a:lnTo>
                  <a:pt x="5573" y="1414"/>
                </a:lnTo>
                <a:lnTo>
                  <a:pt x="5578" y="1420"/>
                </a:lnTo>
                <a:lnTo>
                  <a:pt x="5582" y="1425"/>
                </a:lnTo>
                <a:lnTo>
                  <a:pt x="5586" y="1428"/>
                </a:lnTo>
                <a:lnTo>
                  <a:pt x="5590" y="1428"/>
                </a:lnTo>
                <a:lnTo>
                  <a:pt x="5594" y="1428"/>
                </a:lnTo>
                <a:lnTo>
                  <a:pt x="5597" y="1425"/>
                </a:lnTo>
                <a:lnTo>
                  <a:pt x="5599" y="1420"/>
                </a:lnTo>
                <a:lnTo>
                  <a:pt x="5600" y="1415"/>
                </a:lnTo>
                <a:lnTo>
                  <a:pt x="5597" y="1399"/>
                </a:lnTo>
                <a:lnTo>
                  <a:pt x="5596" y="1383"/>
                </a:lnTo>
                <a:lnTo>
                  <a:pt x="5595" y="1368"/>
                </a:lnTo>
                <a:lnTo>
                  <a:pt x="5593" y="1359"/>
                </a:lnTo>
                <a:lnTo>
                  <a:pt x="5584" y="1348"/>
                </a:lnTo>
                <a:lnTo>
                  <a:pt x="5574" y="1336"/>
                </a:lnTo>
                <a:lnTo>
                  <a:pt x="5571" y="1326"/>
                </a:lnTo>
                <a:lnTo>
                  <a:pt x="5566" y="1315"/>
                </a:lnTo>
                <a:lnTo>
                  <a:pt x="5564" y="1311"/>
                </a:lnTo>
                <a:lnTo>
                  <a:pt x="5560" y="1308"/>
                </a:lnTo>
                <a:lnTo>
                  <a:pt x="5557" y="1305"/>
                </a:lnTo>
                <a:lnTo>
                  <a:pt x="5551" y="1302"/>
                </a:lnTo>
                <a:lnTo>
                  <a:pt x="5543" y="1296"/>
                </a:lnTo>
                <a:lnTo>
                  <a:pt x="5535" y="1288"/>
                </a:lnTo>
                <a:lnTo>
                  <a:pt x="5533" y="1282"/>
                </a:lnTo>
                <a:lnTo>
                  <a:pt x="5531" y="1276"/>
                </a:lnTo>
                <a:lnTo>
                  <a:pt x="5531" y="1267"/>
                </a:lnTo>
                <a:lnTo>
                  <a:pt x="5533" y="1260"/>
                </a:lnTo>
                <a:lnTo>
                  <a:pt x="5534" y="1253"/>
                </a:lnTo>
                <a:lnTo>
                  <a:pt x="5535" y="1247"/>
                </a:lnTo>
                <a:lnTo>
                  <a:pt x="5535" y="1241"/>
                </a:lnTo>
                <a:lnTo>
                  <a:pt x="5534" y="1237"/>
                </a:lnTo>
                <a:lnTo>
                  <a:pt x="5529" y="1232"/>
                </a:lnTo>
                <a:lnTo>
                  <a:pt x="5526" y="1227"/>
                </a:lnTo>
                <a:lnTo>
                  <a:pt x="5524" y="1221"/>
                </a:lnTo>
                <a:lnTo>
                  <a:pt x="5524" y="1218"/>
                </a:lnTo>
                <a:lnTo>
                  <a:pt x="5541" y="1212"/>
                </a:lnTo>
                <a:lnTo>
                  <a:pt x="5578" y="1201"/>
                </a:lnTo>
                <a:lnTo>
                  <a:pt x="5597" y="1196"/>
                </a:lnTo>
                <a:lnTo>
                  <a:pt x="5615" y="1193"/>
                </a:lnTo>
                <a:lnTo>
                  <a:pt x="5622" y="1192"/>
                </a:lnTo>
                <a:lnTo>
                  <a:pt x="5628" y="1191"/>
                </a:lnTo>
                <a:lnTo>
                  <a:pt x="5631" y="1191"/>
                </a:lnTo>
                <a:lnTo>
                  <a:pt x="5633" y="1192"/>
                </a:lnTo>
                <a:lnTo>
                  <a:pt x="5634" y="1194"/>
                </a:lnTo>
                <a:lnTo>
                  <a:pt x="5638" y="1197"/>
                </a:lnTo>
                <a:lnTo>
                  <a:pt x="5643" y="1199"/>
                </a:lnTo>
                <a:lnTo>
                  <a:pt x="5648" y="1201"/>
                </a:lnTo>
                <a:lnTo>
                  <a:pt x="5653" y="1204"/>
                </a:lnTo>
                <a:lnTo>
                  <a:pt x="5658" y="1205"/>
                </a:lnTo>
                <a:lnTo>
                  <a:pt x="5662" y="1205"/>
                </a:lnTo>
                <a:lnTo>
                  <a:pt x="5665" y="1203"/>
                </a:lnTo>
                <a:lnTo>
                  <a:pt x="5669" y="1198"/>
                </a:lnTo>
                <a:lnTo>
                  <a:pt x="5675" y="1192"/>
                </a:lnTo>
                <a:lnTo>
                  <a:pt x="5676" y="1187"/>
                </a:lnTo>
                <a:lnTo>
                  <a:pt x="5676" y="1180"/>
                </a:lnTo>
                <a:lnTo>
                  <a:pt x="5674" y="1172"/>
                </a:lnTo>
                <a:lnTo>
                  <a:pt x="5669" y="1161"/>
                </a:lnTo>
                <a:lnTo>
                  <a:pt x="5656" y="1141"/>
                </a:lnTo>
                <a:lnTo>
                  <a:pt x="5647" y="1127"/>
                </a:lnTo>
                <a:lnTo>
                  <a:pt x="5646" y="1124"/>
                </a:lnTo>
                <a:lnTo>
                  <a:pt x="5646" y="1121"/>
                </a:lnTo>
                <a:lnTo>
                  <a:pt x="5646" y="1119"/>
                </a:lnTo>
                <a:lnTo>
                  <a:pt x="5646" y="1116"/>
                </a:lnTo>
                <a:lnTo>
                  <a:pt x="5648" y="1112"/>
                </a:lnTo>
                <a:lnTo>
                  <a:pt x="5650" y="1108"/>
                </a:lnTo>
                <a:lnTo>
                  <a:pt x="5654" y="1105"/>
                </a:lnTo>
                <a:lnTo>
                  <a:pt x="5658" y="1101"/>
                </a:lnTo>
                <a:lnTo>
                  <a:pt x="5679" y="1082"/>
                </a:lnTo>
                <a:lnTo>
                  <a:pt x="5700" y="1062"/>
                </a:lnTo>
                <a:lnTo>
                  <a:pt x="5719" y="1044"/>
                </a:lnTo>
                <a:lnTo>
                  <a:pt x="5735" y="1030"/>
                </a:lnTo>
                <a:lnTo>
                  <a:pt x="5739" y="1026"/>
                </a:lnTo>
                <a:lnTo>
                  <a:pt x="5744" y="1024"/>
                </a:lnTo>
                <a:lnTo>
                  <a:pt x="5750" y="1022"/>
                </a:lnTo>
                <a:lnTo>
                  <a:pt x="5758" y="1021"/>
                </a:lnTo>
                <a:lnTo>
                  <a:pt x="5772" y="1018"/>
                </a:lnTo>
                <a:lnTo>
                  <a:pt x="5788" y="1016"/>
                </a:lnTo>
                <a:lnTo>
                  <a:pt x="5804" y="1014"/>
                </a:lnTo>
                <a:lnTo>
                  <a:pt x="5818" y="1011"/>
                </a:lnTo>
                <a:lnTo>
                  <a:pt x="5824" y="1010"/>
                </a:lnTo>
                <a:lnTo>
                  <a:pt x="5828" y="1008"/>
                </a:lnTo>
                <a:lnTo>
                  <a:pt x="5831" y="1004"/>
                </a:lnTo>
                <a:lnTo>
                  <a:pt x="5833" y="1002"/>
                </a:lnTo>
                <a:lnTo>
                  <a:pt x="5836" y="995"/>
                </a:lnTo>
                <a:lnTo>
                  <a:pt x="5837" y="988"/>
                </a:lnTo>
                <a:lnTo>
                  <a:pt x="5838" y="980"/>
                </a:lnTo>
                <a:lnTo>
                  <a:pt x="5838" y="973"/>
                </a:lnTo>
                <a:lnTo>
                  <a:pt x="5838" y="960"/>
                </a:lnTo>
                <a:lnTo>
                  <a:pt x="5837" y="956"/>
                </a:lnTo>
                <a:lnTo>
                  <a:pt x="5837" y="951"/>
                </a:lnTo>
                <a:lnTo>
                  <a:pt x="5836" y="940"/>
                </a:lnTo>
                <a:lnTo>
                  <a:pt x="5836" y="933"/>
                </a:lnTo>
                <a:lnTo>
                  <a:pt x="5836" y="928"/>
                </a:lnTo>
                <a:lnTo>
                  <a:pt x="5837" y="926"/>
                </a:lnTo>
                <a:lnTo>
                  <a:pt x="5838" y="925"/>
                </a:lnTo>
                <a:lnTo>
                  <a:pt x="5841" y="924"/>
                </a:lnTo>
                <a:lnTo>
                  <a:pt x="5842" y="923"/>
                </a:lnTo>
                <a:lnTo>
                  <a:pt x="5850" y="922"/>
                </a:lnTo>
                <a:lnTo>
                  <a:pt x="5859" y="919"/>
                </a:lnTo>
                <a:lnTo>
                  <a:pt x="5863" y="916"/>
                </a:lnTo>
                <a:lnTo>
                  <a:pt x="5865" y="914"/>
                </a:lnTo>
                <a:lnTo>
                  <a:pt x="5866" y="912"/>
                </a:lnTo>
                <a:lnTo>
                  <a:pt x="5866" y="910"/>
                </a:lnTo>
                <a:lnTo>
                  <a:pt x="5865" y="908"/>
                </a:lnTo>
                <a:lnTo>
                  <a:pt x="5865" y="904"/>
                </a:lnTo>
                <a:lnTo>
                  <a:pt x="5866" y="899"/>
                </a:lnTo>
                <a:lnTo>
                  <a:pt x="5868" y="894"/>
                </a:lnTo>
                <a:lnTo>
                  <a:pt x="5870" y="891"/>
                </a:lnTo>
                <a:lnTo>
                  <a:pt x="5873" y="889"/>
                </a:lnTo>
                <a:lnTo>
                  <a:pt x="5874" y="889"/>
                </a:lnTo>
                <a:lnTo>
                  <a:pt x="5875" y="890"/>
                </a:lnTo>
                <a:lnTo>
                  <a:pt x="5876" y="891"/>
                </a:lnTo>
                <a:lnTo>
                  <a:pt x="5877" y="894"/>
                </a:lnTo>
                <a:lnTo>
                  <a:pt x="5881" y="904"/>
                </a:lnTo>
                <a:lnTo>
                  <a:pt x="5882" y="910"/>
                </a:lnTo>
                <a:lnTo>
                  <a:pt x="5882" y="915"/>
                </a:lnTo>
                <a:lnTo>
                  <a:pt x="5880" y="921"/>
                </a:lnTo>
                <a:lnTo>
                  <a:pt x="5887" y="929"/>
                </a:lnTo>
                <a:lnTo>
                  <a:pt x="5894" y="941"/>
                </a:lnTo>
                <a:lnTo>
                  <a:pt x="5894" y="944"/>
                </a:lnTo>
                <a:lnTo>
                  <a:pt x="5892" y="947"/>
                </a:lnTo>
                <a:lnTo>
                  <a:pt x="5889" y="948"/>
                </a:lnTo>
                <a:lnTo>
                  <a:pt x="5885" y="949"/>
                </a:lnTo>
                <a:lnTo>
                  <a:pt x="5880" y="948"/>
                </a:lnTo>
                <a:lnTo>
                  <a:pt x="5876" y="947"/>
                </a:lnTo>
                <a:lnTo>
                  <a:pt x="5872" y="945"/>
                </a:lnTo>
                <a:lnTo>
                  <a:pt x="5868" y="942"/>
                </a:lnTo>
                <a:lnTo>
                  <a:pt x="5864" y="938"/>
                </a:lnTo>
                <a:lnTo>
                  <a:pt x="5858" y="935"/>
                </a:lnTo>
                <a:lnTo>
                  <a:pt x="5854" y="934"/>
                </a:lnTo>
                <a:lnTo>
                  <a:pt x="5850" y="932"/>
                </a:lnTo>
                <a:lnTo>
                  <a:pt x="5846" y="932"/>
                </a:lnTo>
                <a:lnTo>
                  <a:pt x="5843" y="932"/>
                </a:lnTo>
                <a:lnTo>
                  <a:pt x="5842" y="933"/>
                </a:lnTo>
                <a:lnTo>
                  <a:pt x="5842" y="935"/>
                </a:lnTo>
                <a:lnTo>
                  <a:pt x="5847" y="940"/>
                </a:lnTo>
                <a:lnTo>
                  <a:pt x="5853" y="944"/>
                </a:lnTo>
                <a:lnTo>
                  <a:pt x="5859" y="947"/>
                </a:lnTo>
                <a:lnTo>
                  <a:pt x="5863" y="948"/>
                </a:lnTo>
                <a:lnTo>
                  <a:pt x="5860" y="951"/>
                </a:lnTo>
                <a:lnTo>
                  <a:pt x="5857" y="962"/>
                </a:lnTo>
                <a:lnTo>
                  <a:pt x="5857" y="965"/>
                </a:lnTo>
                <a:lnTo>
                  <a:pt x="5857" y="967"/>
                </a:lnTo>
                <a:lnTo>
                  <a:pt x="5859" y="968"/>
                </a:lnTo>
                <a:lnTo>
                  <a:pt x="5863" y="968"/>
                </a:lnTo>
                <a:lnTo>
                  <a:pt x="5869" y="966"/>
                </a:lnTo>
                <a:lnTo>
                  <a:pt x="5875" y="962"/>
                </a:lnTo>
                <a:lnTo>
                  <a:pt x="5877" y="960"/>
                </a:lnTo>
                <a:lnTo>
                  <a:pt x="5880" y="960"/>
                </a:lnTo>
                <a:lnTo>
                  <a:pt x="5885" y="962"/>
                </a:lnTo>
                <a:lnTo>
                  <a:pt x="5888" y="964"/>
                </a:lnTo>
                <a:lnTo>
                  <a:pt x="5891" y="966"/>
                </a:lnTo>
                <a:lnTo>
                  <a:pt x="5892" y="969"/>
                </a:lnTo>
                <a:lnTo>
                  <a:pt x="5893" y="973"/>
                </a:lnTo>
                <a:lnTo>
                  <a:pt x="5892" y="977"/>
                </a:lnTo>
                <a:lnTo>
                  <a:pt x="5889" y="987"/>
                </a:lnTo>
                <a:lnTo>
                  <a:pt x="5886" y="995"/>
                </a:lnTo>
                <a:lnTo>
                  <a:pt x="5886" y="997"/>
                </a:lnTo>
                <a:lnTo>
                  <a:pt x="5887" y="999"/>
                </a:lnTo>
                <a:lnTo>
                  <a:pt x="5890" y="999"/>
                </a:lnTo>
                <a:lnTo>
                  <a:pt x="5893" y="997"/>
                </a:lnTo>
                <a:lnTo>
                  <a:pt x="5902" y="993"/>
                </a:lnTo>
                <a:lnTo>
                  <a:pt x="5912" y="991"/>
                </a:lnTo>
                <a:lnTo>
                  <a:pt x="5915" y="990"/>
                </a:lnTo>
                <a:lnTo>
                  <a:pt x="5918" y="988"/>
                </a:lnTo>
                <a:lnTo>
                  <a:pt x="5920" y="984"/>
                </a:lnTo>
                <a:lnTo>
                  <a:pt x="5922" y="978"/>
                </a:lnTo>
                <a:lnTo>
                  <a:pt x="5921" y="972"/>
                </a:lnTo>
                <a:lnTo>
                  <a:pt x="5920" y="966"/>
                </a:lnTo>
                <a:lnTo>
                  <a:pt x="5918" y="960"/>
                </a:lnTo>
                <a:lnTo>
                  <a:pt x="5916" y="955"/>
                </a:lnTo>
                <a:lnTo>
                  <a:pt x="5916" y="953"/>
                </a:lnTo>
                <a:lnTo>
                  <a:pt x="5916" y="951"/>
                </a:lnTo>
                <a:lnTo>
                  <a:pt x="5916" y="950"/>
                </a:lnTo>
                <a:lnTo>
                  <a:pt x="5917" y="948"/>
                </a:lnTo>
                <a:lnTo>
                  <a:pt x="5922" y="946"/>
                </a:lnTo>
                <a:lnTo>
                  <a:pt x="5930" y="946"/>
                </a:lnTo>
                <a:lnTo>
                  <a:pt x="5953" y="948"/>
                </a:lnTo>
                <a:lnTo>
                  <a:pt x="5974" y="950"/>
                </a:lnTo>
                <a:lnTo>
                  <a:pt x="5983" y="950"/>
                </a:lnTo>
                <a:lnTo>
                  <a:pt x="5989" y="949"/>
                </a:lnTo>
                <a:lnTo>
                  <a:pt x="5991" y="947"/>
                </a:lnTo>
                <a:lnTo>
                  <a:pt x="5992" y="945"/>
                </a:lnTo>
                <a:lnTo>
                  <a:pt x="5994" y="942"/>
                </a:lnTo>
                <a:lnTo>
                  <a:pt x="5992" y="938"/>
                </a:lnTo>
                <a:lnTo>
                  <a:pt x="5986" y="922"/>
                </a:lnTo>
                <a:lnTo>
                  <a:pt x="5980" y="905"/>
                </a:lnTo>
                <a:lnTo>
                  <a:pt x="5977" y="897"/>
                </a:lnTo>
                <a:lnTo>
                  <a:pt x="5976" y="890"/>
                </a:lnTo>
                <a:lnTo>
                  <a:pt x="5975" y="887"/>
                </a:lnTo>
                <a:lnTo>
                  <a:pt x="5976" y="884"/>
                </a:lnTo>
                <a:lnTo>
                  <a:pt x="5976" y="881"/>
                </a:lnTo>
                <a:lnTo>
                  <a:pt x="5977" y="879"/>
                </a:lnTo>
                <a:lnTo>
                  <a:pt x="5986" y="870"/>
                </a:lnTo>
                <a:lnTo>
                  <a:pt x="5998" y="862"/>
                </a:lnTo>
                <a:lnTo>
                  <a:pt x="6009" y="854"/>
                </a:lnTo>
                <a:lnTo>
                  <a:pt x="6021" y="848"/>
                </a:lnTo>
                <a:lnTo>
                  <a:pt x="6027" y="846"/>
                </a:lnTo>
                <a:lnTo>
                  <a:pt x="6035" y="845"/>
                </a:lnTo>
                <a:lnTo>
                  <a:pt x="6047" y="844"/>
                </a:lnTo>
                <a:lnTo>
                  <a:pt x="6058" y="844"/>
                </a:lnTo>
                <a:lnTo>
                  <a:pt x="6080" y="845"/>
                </a:lnTo>
                <a:lnTo>
                  <a:pt x="6092" y="847"/>
                </a:lnTo>
                <a:lnTo>
                  <a:pt x="6094" y="849"/>
                </a:lnTo>
                <a:lnTo>
                  <a:pt x="6095" y="853"/>
                </a:lnTo>
                <a:lnTo>
                  <a:pt x="6095" y="857"/>
                </a:lnTo>
                <a:lnTo>
                  <a:pt x="6095" y="862"/>
                </a:lnTo>
                <a:lnTo>
                  <a:pt x="6094" y="866"/>
                </a:lnTo>
                <a:lnTo>
                  <a:pt x="6092" y="871"/>
                </a:lnTo>
                <a:lnTo>
                  <a:pt x="6091" y="876"/>
                </a:lnTo>
                <a:lnTo>
                  <a:pt x="6088" y="878"/>
                </a:lnTo>
                <a:lnTo>
                  <a:pt x="6086" y="880"/>
                </a:lnTo>
                <a:lnTo>
                  <a:pt x="6085" y="882"/>
                </a:lnTo>
                <a:lnTo>
                  <a:pt x="6085" y="885"/>
                </a:lnTo>
                <a:lnTo>
                  <a:pt x="6086" y="887"/>
                </a:lnTo>
                <a:lnTo>
                  <a:pt x="6091" y="893"/>
                </a:lnTo>
                <a:lnTo>
                  <a:pt x="6099" y="901"/>
                </a:lnTo>
                <a:lnTo>
                  <a:pt x="6105" y="904"/>
                </a:lnTo>
                <a:lnTo>
                  <a:pt x="6110" y="905"/>
                </a:lnTo>
                <a:lnTo>
                  <a:pt x="6114" y="906"/>
                </a:lnTo>
                <a:lnTo>
                  <a:pt x="6117" y="907"/>
                </a:lnTo>
                <a:lnTo>
                  <a:pt x="6120" y="908"/>
                </a:lnTo>
                <a:lnTo>
                  <a:pt x="6122" y="909"/>
                </a:lnTo>
                <a:lnTo>
                  <a:pt x="6123" y="913"/>
                </a:lnTo>
                <a:lnTo>
                  <a:pt x="6122" y="919"/>
                </a:lnTo>
                <a:lnTo>
                  <a:pt x="6120" y="931"/>
                </a:lnTo>
                <a:lnTo>
                  <a:pt x="6118" y="941"/>
                </a:lnTo>
                <a:lnTo>
                  <a:pt x="6117" y="944"/>
                </a:lnTo>
                <a:lnTo>
                  <a:pt x="6118" y="947"/>
                </a:lnTo>
                <a:lnTo>
                  <a:pt x="6119" y="949"/>
                </a:lnTo>
                <a:lnTo>
                  <a:pt x="6121" y="950"/>
                </a:lnTo>
                <a:lnTo>
                  <a:pt x="6126" y="950"/>
                </a:lnTo>
                <a:lnTo>
                  <a:pt x="6129" y="948"/>
                </a:lnTo>
                <a:lnTo>
                  <a:pt x="6132" y="946"/>
                </a:lnTo>
                <a:lnTo>
                  <a:pt x="6135" y="942"/>
                </a:lnTo>
                <a:lnTo>
                  <a:pt x="6141" y="934"/>
                </a:lnTo>
                <a:lnTo>
                  <a:pt x="6150" y="929"/>
                </a:lnTo>
                <a:lnTo>
                  <a:pt x="6155" y="928"/>
                </a:lnTo>
                <a:lnTo>
                  <a:pt x="6160" y="927"/>
                </a:lnTo>
                <a:lnTo>
                  <a:pt x="6167" y="926"/>
                </a:lnTo>
                <a:lnTo>
                  <a:pt x="6174" y="927"/>
                </a:lnTo>
                <a:lnTo>
                  <a:pt x="6181" y="927"/>
                </a:lnTo>
                <a:lnTo>
                  <a:pt x="6187" y="928"/>
                </a:lnTo>
                <a:lnTo>
                  <a:pt x="6194" y="930"/>
                </a:lnTo>
                <a:lnTo>
                  <a:pt x="6198" y="932"/>
                </a:lnTo>
                <a:lnTo>
                  <a:pt x="6204" y="934"/>
                </a:lnTo>
                <a:lnTo>
                  <a:pt x="6209" y="934"/>
                </a:lnTo>
                <a:lnTo>
                  <a:pt x="6211" y="935"/>
                </a:lnTo>
                <a:lnTo>
                  <a:pt x="6216" y="937"/>
                </a:lnTo>
                <a:lnTo>
                  <a:pt x="6219" y="943"/>
                </a:lnTo>
                <a:lnTo>
                  <a:pt x="6224" y="950"/>
                </a:lnTo>
                <a:lnTo>
                  <a:pt x="6229" y="957"/>
                </a:lnTo>
                <a:lnTo>
                  <a:pt x="6235" y="962"/>
                </a:lnTo>
                <a:lnTo>
                  <a:pt x="6238" y="965"/>
                </a:lnTo>
                <a:lnTo>
                  <a:pt x="6242" y="967"/>
                </a:lnTo>
                <a:lnTo>
                  <a:pt x="6244" y="969"/>
                </a:lnTo>
                <a:lnTo>
                  <a:pt x="6247" y="970"/>
                </a:lnTo>
                <a:lnTo>
                  <a:pt x="6249" y="973"/>
                </a:lnTo>
                <a:lnTo>
                  <a:pt x="6252" y="977"/>
                </a:lnTo>
                <a:lnTo>
                  <a:pt x="6257" y="988"/>
                </a:lnTo>
                <a:lnTo>
                  <a:pt x="6259" y="999"/>
                </a:lnTo>
                <a:lnTo>
                  <a:pt x="6260" y="1009"/>
                </a:lnTo>
                <a:lnTo>
                  <a:pt x="6259" y="1016"/>
                </a:lnTo>
                <a:lnTo>
                  <a:pt x="6259" y="1024"/>
                </a:lnTo>
                <a:lnTo>
                  <a:pt x="6260" y="1034"/>
                </a:lnTo>
                <a:lnTo>
                  <a:pt x="6261" y="1039"/>
                </a:lnTo>
                <a:lnTo>
                  <a:pt x="6261" y="1045"/>
                </a:lnTo>
                <a:lnTo>
                  <a:pt x="6260" y="1051"/>
                </a:lnTo>
                <a:lnTo>
                  <a:pt x="6259" y="1057"/>
                </a:lnTo>
                <a:lnTo>
                  <a:pt x="6254" y="1068"/>
                </a:lnTo>
                <a:lnTo>
                  <a:pt x="6249" y="1078"/>
                </a:lnTo>
                <a:lnTo>
                  <a:pt x="6247" y="1082"/>
                </a:lnTo>
                <a:lnTo>
                  <a:pt x="6243" y="1085"/>
                </a:lnTo>
                <a:lnTo>
                  <a:pt x="6239" y="1088"/>
                </a:lnTo>
                <a:lnTo>
                  <a:pt x="6233" y="1092"/>
                </a:lnTo>
                <a:lnTo>
                  <a:pt x="6219" y="1102"/>
                </a:lnTo>
                <a:lnTo>
                  <a:pt x="6205" y="1112"/>
                </a:lnTo>
                <a:lnTo>
                  <a:pt x="6201" y="1116"/>
                </a:lnTo>
                <a:lnTo>
                  <a:pt x="6199" y="1117"/>
                </a:lnTo>
                <a:lnTo>
                  <a:pt x="6198" y="1116"/>
                </a:lnTo>
                <a:lnTo>
                  <a:pt x="6198" y="1114"/>
                </a:lnTo>
                <a:lnTo>
                  <a:pt x="6196" y="1116"/>
                </a:lnTo>
                <a:lnTo>
                  <a:pt x="6188" y="1124"/>
                </a:lnTo>
                <a:lnTo>
                  <a:pt x="6182" y="1133"/>
                </a:lnTo>
                <a:lnTo>
                  <a:pt x="6181" y="1135"/>
                </a:lnTo>
                <a:lnTo>
                  <a:pt x="6177" y="1141"/>
                </a:lnTo>
                <a:lnTo>
                  <a:pt x="6162" y="1155"/>
                </a:lnTo>
                <a:lnTo>
                  <a:pt x="6144" y="1174"/>
                </a:lnTo>
                <a:lnTo>
                  <a:pt x="6134" y="1186"/>
                </a:lnTo>
                <a:lnTo>
                  <a:pt x="6128" y="1193"/>
                </a:lnTo>
                <a:lnTo>
                  <a:pt x="6122" y="1200"/>
                </a:lnTo>
                <a:lnTo>
                  <a:pt x="6117" y="1209"/>
                </a:lnTo>
                <a:lnTo>
                  <a:pt x="6111" y="1216"/>
                </a:lnTo>
                <a:lnTo>
                  <a:pt x="6105" y="1225"/>
                </a:lnTo>
                <a:lnTo>
                  <a:pt x="6095" y="1238"/>
                </a:lnTo>
                <a:lnTo>
                  <a:pt x="6090" y="1245"/>
                </a:lnTo>
                <a:lnTo>
                  <a:pt x="6087" y="1252"/>
                </a:lnTo>
                <a:lnTo>
                  <a:pt x="6085" y="1258"/>
                </a:lnTo>
                <a:lnTo>
                  <a:pt x="6083" y="1262"/>
                </a:lnTo>
                <a:lnTo>
                  <a:pt x="6083" y="1265"/>
                </a:lnTo>
                <a:lnTo>
                  <a:pt x="6084" y="1267"/>
                </a:lnTo>
                <a:lnTo>
                  <a:pt x="6085" y="1267"/>
                </a:lnTo>
                <a:lnTo>
                  <a:pt x="6088" y="1265"/>
                </a:lnTo>
                <a:lnTo>
                  <a:pt x="6104" y="1254"/>
                </a:lnTo>
                <a:lnTo>
                  <a:pt x="6129" y="1236"/>
                </a:lnTo>
                <a:lnTo>
                  <a:pt x="6153" y="1219"/>
                </a:lnTo>
                <a:lnTo>
                  <a:pt x="6163" y="1212"/>
                </a:lnTo>
                <a:lnTo>
                  <a:pt x="6165" y="1211"/>
                </a:lnTo>
                <a:lnTo>
                  <a:pt x="6172" y="1208"/>
                </a:lnTo>
                <a:lnTo>
                  <a:pt x="6175" y="1205"/>
                </a:lnTo>
                <a:lnTo>
                  <a:pt x="6178" y="1201"/>
                </a:lnTo>
                <a:lnTo>
                  <a:pt x="6180" y="1195"/>
                </a:lnTo>
                <a:lnTo>
                  <a:pt x="6181" y="1189"/>
                </a:lnTo>
                <a:lnTo>
                  <a:pt x="6182" y="1182"/>
                </a:lnTo>
                <a:lnTo>
                  <a:pt x="6185" y="1174"/>
                </a:lnTo>
                <a:lnTo>
                  <a:pt x="6188" y="1167"/>
                </a:lnTo>
                <a:lnTo>
                  <a:pt x="6193" y="1162"/>
                </a:lnTo>
                <a:lnTo>
                  <a:pt x="6200" y="1153"/>
                </a:lnTo>
                <a:lnTo>
                  <a:pt x="6203" y="1150"/>
                </a:lnTo>
                <a:lnTo>
                  <a:pt x="6202" y="1154"/>
                </a:lnTo>
                <a:lnTo>
                  <a:pt x="6201" y="1165"/>
                </a:lnTo>
                <a:lnTo>
                  <a:pt x="6200" y="1171"/>
                </a:lnTo>
                <a:lnTo>
                  <a:pt x="6200" y="1176"/>
                </a:lnTo>
                <a:lnTo>
                  <a:pt x="6201" y="1180"/>
                </a:lnTo>
                <a:lnTo>
                  <a:pt x="6203" y="1183"/>
                </a:lnTo>
                <a:lnTo>
                  <a:pt x="6214" y="1185"/>
                </a:lnTo>
                <a:lnTo>
                  <a:pt x="6220" y="1186"/>
                </a:lnTo>
                <a:lnTo>
                  <a:pt x="6221" y="1182"/>
                </a:lnTo>
                <a:lnTo>
                  <a:pt x="6224" y="1173"/>
                </a:lnTo>
                <a:lnTo>
                  <a:pt x="6225" y="1163"/>
                </a:lnTo>
                <a:lnTo>
                  <a:pt x="6224" y="1155"/>
                </a:lnTo>
                <a:lnTo>
                  <a:pt x="6224" y="1152"/>
                </a:lnTo>
                <a:lnTo>
                  <a:pt x="6225" y="1148"/>
                </a:lnTo>
                <a:lnTo>
                  <a:pt x="6226" y="1142"/>
                </a:lnTo>
                <a:lnTo>
                  <a:pt x="6229" y="1136"/>
                </a:lnTo>
                <a:lnTo>
                  <a:pt x="6232" y="1132"/>
                </a:lnTo>
                <a:lnTo>
                  <a:pt x="6237" y="1129"/>
                </a:lnTo>
                <a:lnTo>
                  <a:pt x="6239" y="1128"/>
                </a:lnTo>
                <a:lnTo>
                  <a:pt x="6242" y="1128"/>
                </a:lnTo>
                <a:lnTo>
                  <a:pt x="6244" y="1129"/>
                </a:lnTo>
                <a:lnTo>
                  <a:pt x="6246" y="1131"/>
                </a:lnTo>
                <a:lnTo>
                  <a:pt x="6255" y="1139"/>
                </a:lnTo>
                <a:lnTo>
                  <a:pt x="6263" y="1143"/>
                </a:lnTo>
                <a:lnTo>
                  <a:pt x="6265" y="1146"/>
                </a:lnTo>
                <a:lnTo>
                  <a:pt x="6266" y="1148"/>
                </a:lnTo>
                <a:lnTo>
                  <a:pt x="6265" y="1152"/>
                </a:lnTo>
                <a:lnTo>
                  <a:pt x="6263" y="1157"/>
                </a:lnTo>
                <a:lnTo>
                  <a:pt x="6261" y="1161"/>
                </a:lnTo>
                <a:lnTo>
                  <a:pt x="6260" y="1164"/>
                </a:lnTo>
                <a:lnTo>
                  <a:pt x="6259" y="1167"/>
                </a:lnTo>
                <a:lnTo>
                  <a:pt x="6259" y="1170"/>
                </a:lnTo>
                <a:lnTo>
                  <a:pt x="6261" y="1175"/>
                </a:lnTo>
                <a:lnTo>
                  <a:pt x="6263" y="1179"/>
                </a:lnTo>
                <a:lnTo>
                  <a:pt x="6268" y="1186"/>
                </a:lnTo>
                <a:lnTo>
                  <a:pt x="6271" y="1189"/>
                </a:lnTo>
                <a:lnTo>
                  <a:pt x="6272" y="1188"/>
                </a:lnTo>
                <a:lnTo>
                  <a:pt x="6276" y="1188"/>
                </a:lnTo>
                <a:lnTo>
                  <a:pt x="6282" y="1188"/>
                </a:lnTo>
                <a:lnTo>
                  <a:pt x="6291" y="1191"/>
                </a:lnTo>
                <a:lnTo>
                  <a:pt x="6301" y="1194"/>
                </a:lnTo>
                <a:lnTo>
                  <a:pt x="6309" y="1196"/>
                </a:lnTo>
                <a:lnTo>
                  <a:pt x="6317" y="1197"/>
                </a:lnTo>
                <a:lnTo>
                  <a:pt x="6327" y="1198"/>
                </a:lnTo>
                <a:lnTo>
                  <a:pt x="6338" y="1198"/>
                </a:lnTo>
                <a:lnTo>
                  <a:pt x="6347" y="1199"/>
                </a:lnTo>
                <a:lnTo>
                  <a:pt x="6351" y="1200"/>
                </a:lnTo>
                <a:lnTo>
                  <a:pt x="6354" y="1203"/>
                </a:lnTo>
                <a:lnTo>
                  <a:pt x="6357" y="1205"/>
                </a:lnTo>
                <a:lnTo>
                  <a:pt x="6360" y="1207"/>
                </a:lnTo>
                <a:lnTo>
                  <a:pt x="6372" y="1217"/>
                </a:lnTo>
                <a:lnTo>
                  <a:pt x="6380" y="1225"/>
                </a:lnTo>
                <a:lnTo>
                  <a:pt x="6383" y="1227"/>
                </a:lnTo>
                <a:lnTo>
                  <a:pt x="6392" y="1230"/>
                </a:lnTo>
                <a:lnTo>
                  <a:pt x="6402" y="1232"/>
                </a:lnTo>
                <a:lnTo>
                  <a:pt x="6415" y="1235"/>
                </a:lnTo>
                <a:lnTo>
                  <a:pt x="6438" y="1239"/>
                </a:lnTo>
                <a:lnTo>
                  <a:pt x="6448" y="1241"/>
                </a:lnTo>
                <a:lnTo>
                  <a:pt x="6455" y="1241"/>
                </a:lnTo>
                <a:lnTo>
                  <a:pt x="6467" y="1241"/>
                </a:lnTo>
                <a:lnTo>
                  <a:pt x="6474" y="1240"/>
                </a:lnTo>
                <a:lnTo>
                  <a:pt x="6479" y="1238"/>
                </a:lnTo>
                <a:lnTo>
                  <a:pt x="6480" y="1237"/>
                </a:lnTo>
                <a:lnTo>
                  <a:pt x="6481" y="1235"/>
                </a:lnTo>
                <a:lnTo>
                  <a:pt x="6481" y="1233"/>
                </a:lnTo>
                <a:lnTo>
                  <a:pt x="6479" y="1230"/>
                </a:lnTo>
                <a:lnTo>
                  <a:pt x="6474" y="1223"/>
                </a:lnTo>
                <a:lnTo>
                  <a:pt x="6471" y="1217"/>
                </a:lnTo>
                <a:lnTo>
                  <a:pt x="6468" y="1211"/>
                </a:lnTo>
                <a:lnTo>
                  <a:pt x="6466" y="1205"/>
                </a:lnTo>
                <a:lnTo>
                  <a:pt x="6465" y="1199"/>
                </a:lnTo>
                <a:lnTo>
                  <a:pt x="6466" y="1195"/>
                </a:lnTo>
                <a:lnTo>
                  <a:pt x="6467" y="1194"/>
                </a:lnTo>
                <a:lnTo>
                  <a:pt x="6468" y="1193"/>
                </a:lnTo>
                <a:lnTo>
                  <a:pt x="6469" y="1192"/>
                </a:lnTo>
                <a:lnTo>
                  <a:pt x="6471" y="1192"/>
                </a:lnTo>
                <a:lnTo>
                  <a:pt x="6480" y="1191"/>
                </a:lnTo>
                <a:lnTo>
                  <a:pt x="6486" y="1192"/>
                </a:lnTo>
                <a:lnTo>
                  <a:pt x="6490" y="1192"/>
                </a:lnTo>
                <a:lnTo>
                  <a:pt x="6494" y="1194"/>
                </a:lnTo>
                <a:lnTo>
                  <a:pt x="6499" y="1196"/>
                </a:lnTo>
                <a:lnTo>
                  <a:pt x="6505" y="1200"/>
                </a:lnTo>
                <a:lnTo>
                  <a:pt x="6511" y="1204"/>
                </a:lnTo>
                <a:lnTo>
                  <a:pt x="6517" y="1206"/>
                </a:lnTo>
                <a:lnTo>
                  <a:pt x="6525" y="1208"/>
                </a:lnTo>
                <a:lnTo>
                  <a:pt x="6532" y="1208"/>
                </a:lnTo>
                <a:lnTo>
                  <a:pt x="6547" y="1209"/>
                </a:lnTo>
                <a:lnTo>
                  <a:pt x="6559" y="1209"/>
                </a:lnTo>
                <a:lnTo>
                  <a:pt x="6572" y="1211"/>
                </a:lnTo>
                <a:lnTo>
                  <a:pt x="6583" y="1213"/>
                </a:lnTo>
                <a:lnTo>
                  <a:pt x="6588" y="1216"/>
                </a:lnTo>
                <a:lnTo>
                  <a:pt x="6593" y="1219"/>
                </a:lnTo>
                <a:lnTo>
                  <a:pt x="6596" y="1225"/>
                </a:lnTo>
                <a:lnTo>
                  <a:pt x="6599" y="1232"/>
                </a:lnTo>
                <a:lnTo>
                  <a:pt x="6603" y="1247"/>
                </a:lnTo>
                <a:lnTo>
                  <a:pt x="6605" y="1260"/>
                </a:lnTo>
                <a:lnTo>
                  <a:pt x="6605" y="1266"/>
                </a:lnTo>
                <a:lnTo>
                  <a:pt x="6604" y="1271"/>
                </a:lnTo>
                <a:lnTo>
                  <a:pt x="6603" y="1276"/>
                </a:lnTo>
                <a:lnTo>
                  <a:pt x="6601" y="1279"/>
                </a:lnTo>
                <a:lnTo>
                  <a:pt x="6593" y="1283"/>
                </a:lnTo>
                <a:lnTo>
                  <a:pt x="6586" y="1287"/>
                </a:lnTo>
                <a:lnTo>
                  <a:pt x="6582" y="1291"/>
                </a:lnTo>
                <a:lnTo>
                  <a:pt x="6581" y="1294"/>
                </a:lnTo>
                <a:lnTo>
                  <a:pt x="6582" y="1299"/>
                </a:lnTo>
                <a:lnTo>
                  <a:pt x="6586" y="1305"/>
                </a:lnTo>
                <a:lnTo>
                  <a:pt x="6591" y="1311"/>
                </a:lnTo>
                <a:lnTo>
                  <a:pt x="6595" y="1317"/>
                </a:lnTo>
                <a:lnTo>
                  <a:pt x="6599" y="1320"/>
                </a:lnTo>
                <a:lnTo>
                  <a:pt x="6603" y="1322"/>
                </a:lnTo>
                <a:lnTo>
                  <a:pt x="6606" y="1324"/>
                </a:lnTo>
                <a:lnTo>
                  <a:pt x="6610" y="1327"/>
                </a:lnTo>
                <a:lnTo>
                  <a:pt x="6612" y="1331"/>
                </a:lnTo>
                <a:lnTo>
                  <a:pt x="6613" y="1339"/>
                </a:lnTo>
                <a:lnTo>
                  <a:pt x="6615" y="1346"/>
                </a:lnTo>
                <a:lnTo>
                  <a:pt x="6617" y="1354"/>
                </a:lnTo>
                <a:lnTo>
                  <a:pt x="6620" y="1364"/>
                </a:lnTo>
                <a:lnTo>
                  <a:pt x="6624" y="1371"/>
                </a:lnTo>
                <a:lnTo>
                  <a:pt x="6628" y="1380"/>
                </a:lnTo>
                <a:lnTo>
                  <a:pt x="6633" y="1386"/>
                </a:lnTo>
                <a:lnTo>
                  <a:pt x="6638" y="1392"/>
                </a:lnTo>
                <a:lnTo>
                  <a:pt x="6643" y="1395"/>
                </a:lnTo>
                <a:lnTo>
                  <a:pt x="6647" y="1398"/>
                </a:lnTo>
                <a:lnTo>
                  <a:pt x="6653" y="1399"/>
                </a:lnTo>
                <a:lnTo>
                  <a:pt x="6657" y="1401"/>
                </a:lnTo>
                <a:lnTo>
                  <a:pt x="6660" y="1399"/>
                </a:lnTo>
                <a:lnTo>
                  <a:pt x="6663" y="1396"/>
                </a:lnTo>
                <a:lnTo>
                  <a:pt x="6666" y="1392"/>
                </a:lnTo>
                <a:lnTo>
                  <a:pt x="6667" y="1387"/>
                </a:lnTo>
                <a:lnTo>
                  <a:pt x="6668" y="1380"/>
                </a:lnTo>
                <a:lnTo>
                  <a:pt x="6669" y="1361"/>
                </a:lnTo>
                <a:lnTo>
                  <a:pt x="6670" y="1343"/>
                </a:lnTo>
                <a:lnTo>
                  <a:pt x="6671" y="1335"/>
                </a:lnTo>
                <a:lnTo>
                  <a:pt x="6672" y="1328"/>
                </a:lnTo>
                <a:lnTo>
                  <a:pt x="6674" y="1324"/>
                </a:lnTo>
                <a:lnTo>
                  <a:pt x="6676" y="1323"/>
                </a:lnTo>
                <a:lnTo>
                  <a:pt x="6679" y="1324"/>
                </a:lnTo>
                <a:lnTo>
                  <a:pt x="6682" y="1326"/>
                </a:lnTo>
                <a:lnTo>
                  <a:pt x="6685" y="1329"/>
                </a:lnTo>
                <a:lnTo>
                  <a:pt x="6689" y="1333"/>
                </a:lnTo>
                <a:lnTo>
                  <a:pt x="6696" y="1341"/>
                </a:lnTo>
                <a:lnTo>
                  <a:pt x="6700" y="1347"/>
                </a:lnTo>
                <a:lnTo>
                  <a:pt x="6701" y="1350"/>
                </a:lnTo>
                <a:lnTo>
                  <a:pt x="6702" y="1352"/>
                </a:lnTo>
                <a:lnTo>
                  <a:pt x="6705" y="1354"/>
                </a:lnTo>
                <a:lnTo>
                  <a:pt x="6708" y="1357"/>
                </a:lnTo>
                <a:lnTo>
                  <a:pt x="6712" y="1358"/>
                </a:lnTo>
                <a:lnTo>
                  <a:pt x="6719" y="1358"/>
                </a:lnTo>
                <a:lnTo>
                  <a:pt x="6725" y="1358"/>
                </a:lnTo>
                <a:lnTo>
                  <a:pt x="6732" y="1357"/>
                </a:lnTo>
                <a:lnTo>
                  <a:pt x="6738" y="1354"/>
                </a:lnTo>
                <a:lnTo>
                  <a:pt x="6744" y="1352"/>
                </a:lnTo>
                <a:lnTo>
                  <a:pt x="6747" y="1350"/>
                </a:lnTo>
                <a:lnTo>
                  <a:pt x="6749" y="1348"/>
                </a:lnTo>
                <a:lnTo>
                  <a:pt x="6751" y="1347"/>
                </a:lnTo>
                <a:lnTo>
                  <a:pt x="6754" y="1347"/>
                </a:lnTo>
                <a:lnTo>
                  <a:pt x="6758" y="1348"/>
                </a:lnTo>
                <a:lnTo>
                  <a:pt x="6764" y="1351"/>
                </a:lnTo>
                <a:lnTo>
                  <a:pt x="6775" y="1362"/>
                </a:lnTo>
                <a:lnTo>
                  <a:pt x="6782" y="1370"/>
                </a:lnTo>
                <a:lnTo>
                  <a:pt x="6786" y="1373"/>
                </a:lnTo>
                <a:lnTo>
                  <a:pt x="6789" y="1374"/>
                </a:lnTo>
                <a:lnTo>
                  <a:pt x="6793" y="1375"/>
                </a:lnTo>
                <a:lnTo>
                  <a:pt x="6797" y="1373"/>
                </a:lnTo>
                <a:lnTo>
                  <a:pt x="6806" y="1369"/>
                </a:lnTo>
                <a:lnTo>
                  <a:pt x="6812" y="1365"/>
                </a:lnTo>
                <a:lnTo>
                  <a:pt x="6815" y="1363"/>
                </a:lnTo>
                <a:lnTo>
                  <a:pt x="6818" y="1359"/>
                </a:lnTo>
                <a:lnTo>
                  <a:pt x="6821" y="1353"/>
                </a:lnTo>
                <a:lnTo>
                  <a:pt x="6823" y="1346"/>
                </a:lnTo>
                <a:lnTo>
                  <a:pt x="6824" y="1339"/>
                </a:lnTo>
                <a:lnTo>
                  <a:pt x="6824" y="1330"/>
                </a:lnTo>
                <a:lnTo>
                  <a:pt x="6823" y="1322"/>
                </a:lnTo>
                <a:lnTo>
                  <a:pt x="6821" y="1314"/>
                </a:lnTo>
                <a:lnTo>
                  <a:pt x="6820" y="1305"/>
                </a:lnTo>
                <a:lnTo>
                  <a:pt x="6819" y="1298"/>
                </a:lnTo>
                <a:lnTo>
                  <a:pt x="6819" y="1292"/>
                </a:lnTo>
                <a:lnTo>
                  <a:pt x="6821" y="1286"/>
                </a:lnTo>
                <a:lnTo>
                  <a:pt x="6826" y="1281"/>
                </a:lnTo>
                <a:lnTo>
                  <a:pt x="6834" y="1275"/>
                </a:lnTo>
                <a:lnTo>
                  <a:pt x="6842" y="1270"/>
                </a:lnTo>
                <a:lnTo>
                  <a:pt x="6852" y="1264"/>
                </a:lnTo>
                <a:lnTo>
                  <a:pt x="6869" y="1256"/>
                </a:lnTo>
                <a:lnTo>
                  <a:pt x="6877" y="1252"/>
                </a:lnTo>
                <a:lnTo>
                  <a:pt x="6887" y="1253"/>
                </a:lnTo>
                <a:lnTo>
                  <a:pt x="6909" y="1257"/>
                </a:lnTo>
                <a:lnTo>
                  <a:pt x="6921" y="1260"/>
                </a:lnTo>
                <a:lnTo>
                  <a:pt x="6931" y="1265"/>
                </a:lnTo>
                <a:lnTo>
                  <a:pt x="6935" y="1267"/>
                </a:lnTo>
                <a:lnTo>
                  <a:pt x="6938" y="1271"/>
                </a:lnTo>
                <a:lnTo>
                  <a:pt x="6940" y="1275"/>
                </a:lnTo>
                <a:lnTo>
                  <a:pt x="6940" y="1278"/>
                </a:lnTo>
                <a:lnTo>
                  <a:pt x="6939" y="1285"/>
                </a:lnTo>
                <a:lnTo>
                  <a:pt x="6937" y="1289"/>
                </a:lnTo>
                <a:lnTo>
                  <a:pt x="6933" y="1293"/>
                </a:lnTo>
                <a:lnTo>
                  <a:pt x="6931" y="1296"/>
                </a:lnTo>
                <a:lnTo>
                  <a:pt x="6929" y="1298"/>
                </a:lnTo>
                <a:lnTo>
                  <a:pt x="6928" y="1301"/>
                </a:lnTo>
                <a:lnTo>
                  <a:pt x="6929" y="1304"/>
                </a:lnTo>
                <a:lnTo>
                  <a:pt x="6932" y="1309"/>
                </a:lnTo>
                <a:lnTo>
                  <a:pt x="6940" y="1320"/>
                </a:lnTo>
                <a:lnTo>
                  <a:pt x="6945" y="1327"/>
                </a:lnTo>
                <a:lnTo>
                  <a:pt x="6946" y="1332"/>
                </a:lnTo>
                <a:lnTo>
                  <a:pt x="6947" y="1337"/>
                </a:lnTo>
                <a:lnTo>
                  <a:pt x="6947" y="1339"/>
                </a:lnTo>
                <a:lnTo>
                  <a:pt x="6948" y="1341"/>
                </a:lnTo>
                <a:lnTo>
                  <a:pt x="6950" y="1344"/>
                </a:lnTo>
                <a:lnTo>
                  <a:pt x="6952" y="1346"/>
                </a:lnTo>
                <a:lnTo>
                  <a:pt x="6956" y="1346"/>
                </a:lnTo>
                <a:lnTo>
                  <a:pt x="6961" y="1346"/>
                </a:lnTo>
                <a:lnTo>
                  <a:pt x="6965" y="1343"/>
                </a:lnTo>
                <a:lnTo>
                  <a:pt x="6971" y="1337"/>
                </a:lnTo>
                <a:lnTo>
                  <a:pt x="6982" y="1321"/>
                </a:lnTo>
                <a:lnTo>
                  <a:pt x="6993" y="1303"/>
                </a:lnTo>
                <a:lnTo>
                  <a:pt x="6998" y="1296"/>
                </a:lnTo>
                <a:lnTo>
                  <a:pt x="7004" y="1291"/>
                </a:lnTo>
                <a:lnTo>
                  <a:pt x="7007" y="1289"/>
                </a:lnTo>
                <a:lnTo>
                  <a:pt x="7009" y="1288"/>
                </a:lnTo>
                <a:lnTo>
                  <a:pt x="7012" y="1288"/>
                </a:lnTo>
                <a:lnTo>
                  <a:pt x="7015" y="1289"/>
                </a:lnTo>
                <a:lnTo>
                  <a:pt x="7031" y="1299"/>
                </a:lnTo>
                <a:lnTo>
                  <a:pt x="7049" y="1310"/>
                </a:lnTo>
                <a:lnTo>
                  <a:pt x="7056" y="1317"/>
                </a:lnTo>
                <a:lnTo>
                  <a:pt x="7062" y="1323"/>
                </a:lnTo>
                <a:lnTo>
                  <a:pt x="7065" y="1326"/>
                </a:lnTo>
                <a:lnTo>
                  <a:pt x="7066" y="1329"/>
                </a:lnTo>
                <a:lnTo>
                  <a:pt x="7067" y="1331"/>
                </a:lnTo>
                <a:lnTo>
                  <a:pt x="7067" y="1335"/>
                </a:lnTo>
                <a:lnTo>
                  <a:pt x="7067" y="1337"/>
                </a:lnTo>
                <a:lnTo>
                  <a:pt x="7067" y="1339"/>
                </a:lnTo>
                <a:lnTo>
                  <a:pt x="7070" y="1341"/>
                </a:lnTo>
                <a:lnTo>
                  <a:pt x="7072" y="1344"/>
                </a:lnTo>
                <a:lnTo>
                  <a:pt x="7077" y="1349"/>
                </a:lnTo>
                <a:lnTo>
                  <a:pt x="7084" y="1354"/>
                </a:lnTo>
                <a:lnTo>
                  <a:pt x="7100" y="1365"/>
                </a:lnTo>
                <a:lnTo>
                  <a:pt x="7110" y="1374"/>
                </a:lnTo>
                <a:lnTo>
                  <a:pt x="7116" y="1383"/>
                </a:lnTo>
                <a:lnTo>
                  <a:pt x="7119" y="1392"/>
                </a:lnTo>
                <a:lnTo>
                  <a:pt x="7121" y="1396"/>
                </a:lnTo>
                <a:lnTo>
                  <a:pt x="7123" y="1399"/>
                </a:lnTo>
                <a:lnTo>
                  <a:pt x="7126" y="1401"/>
                </a:lnTo>
                <a:lnTo>
                  <a:pt x="7129" y="1401"/>
                </a:lnTo>
                <a:lnTo>
                  <a:pt x="7139" y="1398"/>
                </a:lnTo>
                <a:lnTo>
                  <a:pt x="7151" y="1393"/>
                </a:lnTo>
                <a:lnTo>
                  <a:pt x="7163" y="1389"/>
                </a:lnTo>
                <a:lnTo>
                  <a:pt x="7169" y="1386"/>
                </a:lnTo>
                <a:lnTo>
                  <a:pt x="7184" y="1388"/>
                </a:lnTo>
                <a:lnTo>
                  <a:pt x="7211" y="1394"/>
                </a:lnTo>
                <a:lnTo>
                  <a:pt x="7225" y="1398"/>
                </a:lnTo>
                <a:lnTo>
                  <a:pt x="7237" y="1403"/>
                </a:lnTo>
                <a:lnTo>
                  <a:pt x="7247" y="1406"/>
                </a:lnTo>
                <a:lnTo>
                  <a:pt x="7251" y="1408"/>
                </a:lnTo>
                <a:lnTo>
                  <a:pt x="7259" y="1409"/>
                </a:lnTo>
                <a:lnTo>
                  <a:pt x="7273" y="1409"/>
                </a:lnTo>
                <a:lnTo>
                  <a:pt x="7279" y="1409"/>
                </a:lnTo>
                <a:lnTo>
                  <a:pt x="7285" y="1411"/>
                </a:lnTo>
                <a:lnTo>
                  <a:pt x="7288" y="1413"/>
                </a:lnTo>
                <a:lnTo>
                  <a:pt x="7290" y="1416"/>
                </a:lnTo>
                <a:lnTo>
                  <a:pt x="7291" y="1419"/>
                </a:lnTo>
                <a:lnTo>
                  <a:pt x="7291" y="1424"/>
                </a:lnTo>
                <a:lnTo>
                  <a:pt x="7291" y="1432"/>
                </a:lnTo>
                <a:lnTo>
                  <a:pt x="7290" y="1439"/>
                </a:lnTo>
                <a:lnTo>
                  <a:pt x="7288" y="1446"/>
                </a:lnTo>
                <a:lnTo>
                  <a:pt x="7285" y="1451"/>
                </a:lnTo>
                <a:lnTo>
                  <a:pt x="7282" y="1459"/>
                </a:lnTo>
                <a:lnTo>
                  <a:pt x="7281" y="1467"/>
                </a:lnTo>
                <a:lnTo>
                  <a:pt x="7292" y="1481"/>
                </a:lnTo>
                <a:lnTo>
                  <a:pt x="7302" y="1495"/>
                </a:lnTo>
                <a:lnTo>
                  <a:pt x="7301" y="1505"/>
                </a:lnTo>
                <a:lnTo>
                  <a:pt x="7299" y="1518"/>
                </a:lnTo>
                <a:lnTo>
                  <a:pt x="7297" y="1528"/>
                </a:lnTo>
                <a:lnTo>
                  <a:pt x="7296" y="1533"/>
                </a:lnTo>
                <a:lnTo>
                  <a:pt x="7299" y="1530"/>
                </a:lnTo>
                <a:lnTo>
                  <a:pt x="7306" y="1525"/>
                </a:lnTo>
                <a:lnTo>
                  <a:pt x="7311" y="1521"/>
                </a:lnTo>
                <a:lnTo>
                  <a:pt x="7315" y="1516"/>
                </a:lnTo>
                <a:lnTo>
                  <a:pt x="7318" y="1508"/>
                </a:lnTo>
                <a:lnTo>
                  <a:pt x="7320" y="1500"/>
                </a:lnTo>
                <a:lnTo>
                  <a:pt x="7321" y="1492"/>
                </a:lnTo>
                <a:lnTo>
                  <a:pt x="7324" y="1484"/>
                </a:lnTo>
                <a:lnTo>
                  <a:pt x="7327" y="1479"/>
                </a:lnTo>
                <a:lnTo>
                  <a:pt x="7330" y="1474"/>
                </a:lnTo>
                <a:lnTo>
                  <a:pt x="7335" y="1471"/>
                </a:lnTo>
                <a:lnTo>
                  <a:pt x="7339" y="1468"/>
                </a:lnTo>
                <a:lnTo>
                  <a:pt x="7342" y="1467"/>
                </a:lnTo>
                <a:lnTo>
                  <a:pt x="7344" y="1465"/>
                </a:lnTo>
                <a:lnTo>
                  <a:pt x="7349" y="1463"/>
                </a:lnTo>
                <a:lnTo>
                  <a:pt x="7359" y="1462"/>
                </a:lnTo>
                <a:lnTo>
                  <a:pt x="7365" y="1462"/>
                </a:lnTo>
                <a:lnTo>
                  <a:pt x="7373" y="1463"/>
                </a:lnTo>
                <a:lnTo>
                  <a:pt x="7383" y="1467"/>
                </a:lnTo>
                <a:lnTo>
                  <a:pt x="7395" y="1472"/>
                </a:lnTo>
                <a:lnTo>
                  <a:pt x="7403" y="1474"/>
                </a:lnTo>
                <a:lnTo>
                  <a:pt x="7408" y="1476"/>
                </a:lnTo>
                <a:lnTo>
                  <a:pt x="7414" y="1476"/>
                </a:lnTo>
                <a:lnTo>
                  <a:pt x="7418" y="1476"/>
                </a:lnTo>
                <a:lnTo>
                  <a:pt x="7428" y="1473"/>
                </a:lnTo>
                <a:lnTo>
                  <a:pt x="7435" y="1469"/>
                </a:lnTo>
                <a:lnTo>
                  <a:pt x="7442" y="1465"/>
                </a:lnTo>
                <a:lnTo>
                  <a:pt x="7447" y="1462"/>
                </a:lnTo>
                <a:lnTo>
                  <a:pt x="7449" y="1461"/>
                </a:lnTo>
                <a:lnTo>
                  <a:pt x="7451" y="1462"/>
                </a:lnTo>
                <a:lnTo>
                  <a:pt x="7453" y="1463"/>
                </a:lnTo>
                <a:lnTo>
                  <a:pt x="7455" y="1465"/>
                </a:lnTo>
                <a:lnTo>
                  <a:pt x="7464" y="1476"/>
                </a:lnTo>
                <a:lnTo>
                  <a:pt x="7471" y="1486"/>
                </a:lnTo>
                <a:lnTo>
                  <a:pt x="7476" y="1496"/>
                </a:lnTo>
                <a:lnTo>
                  <a:pt x="7479" y="1505"/>
                </a:lnTo>
                <a:lnTo>
                  <a:pt x="7482" y="1511"/>
                </a:lnTo>
                <a:lnTo>
                  <a:pt x="7487" y="1516"/>
                </a:lnTo>
                <a:lnTo>
                  <a:pt x="7493" y="1520"/>
                </a:lnTo>
                <a:lnTo>
                  <a:pt x="7499" y="1523"/>
                </a:lnTo>
                <a:lnTo>
                  <a:pt x="7505" y="1524"/>
                </a:lnTo>
                <a:lnTo>
                  <a:pt x="7512" y="1525"/>
                </a:lnTo>
                <a:lnTo>
                  <a:pt x="7514" y="1524"/>
                </a:lnTo>
                <a:lnTo>
                  <a:pt x="7516" y="1522"/>
                </a:lnTo>
                <a:lnTo>
                  <a:pt x="7518" y="1521"/>
                </a:lnTo>
                <a:lnTo>
                  <a:pt x="7519" y="1518"/>
                </a:lnTo>
                <a:lnTo>
                  <a:pt x="7522" y="1507"/>
                </a:lnTo>
                <a:lnTo>
                  <a:pt x="7524" y="1500"/>
                </a:lnTo>
                <a:lnTo>
                  <a:pt x="7524" y="1497"/>
                </a:lnTo>
                <a:lnTo>
                  <a:pt x="7523" y="1494"/>
                </a:lnTo>
                <a:lnTo>
                  <a:pt x="7520" y="1490"/>
                </a:lnTo>
                <a:lnTo>
                  <a:pt x="7515" y="1484"/>
                </a:lnTo>
                <a:lnTo>
                  <a:pt x="7510" y="1478"/>
                </a:lnTo>
                <a:lnTo>
                  <a:pt x="7505" y="1473"/>
                </a:lnTo>
                <a:lnTo>
                  <a:pt x="7504" y="1468"/>
                </a:lnTo>
                <a:lnTo>
                  <a:pt x="7504" y="1463"/>
                </a:lnTo>
                <a:lnTo>
                  <a:pt x="7505" y="1460"/>
                </a:lnTo>
                <a:lnTo>
                  <a:pt x="7506" y="1457"/>
                </a:lnTo>
                <a:lnTo>
                  <a:pt x="7510" y="1455"/>
                </a:lnTo>
                <a:lnTo>
                  <a:pt x="7512" y="1454"/>
                </a:lnTo>
                <a:lnTo>
                  <a:pt x="7518" y="1452"/>
                </a:lnTo>
                <a:lnTo>
                  <a:pt x="7530" y="1447"/>
                </a:lnTo>
                <a:lnTo>
                  <a:pt x="7536" y="1446"/>
                </a:lnTo>
                <a:lnTo>
                  <a:pt x="7543" y="1445"/>
                </a:lnTo>
                <a:lnTo>
                  <a:pt x="7550" y="1446"/>
                </a:lnTo>
                <a:lnTo>
                  <a:pt x="7558" y="1448"/>
                </a:lnTo>
                <a:lnTo>
                  <a:pt x="7566" y="1452"/>
                </a:lnTo>
                <a:lnTo>
                  <a:pt x="7576" y="1455"/>
                </a:lnTo>
                <a:lnTo>
                  <a:pt x="7587" y="1457"/>
                </a:lnTo>
                <a:lnTo>
                  <a:pt x="7598" y="1459"/>
                </a:lnTo>
                <a:lnTo>
                  <a:pt x="7619" y="1462"/>
                </a:lnTo>
                <a:lnTo>
                  <a:pt x="7633" y="1465"/>
                </a:lnTo>
                <a:lnTo>
                  <a:pt x="7645" y="1472"/>
                </a:lnTo>
                <a:lnTo>
                  <a:pt x="7665" y="1484"/>
                </a:lnTo>
                <a:lnTo>
                  <a:pt x="7690" y="1502"/>
                </a:lnTo>
                <a:lnTo>
                  <a:pt x="7719" y="1523"/>
                </a:lnTo>
                <a:lnTo>
                  <a:pt x="7749" y="1545"/>
                </a:lnTo>
                <a:lnTo>
                  <a:pt x="7775" y="1566"/>
                </a:lnTo>
                <a:lnTo>
                  <a:pt x="7797" y="1584"/>
                </a:lnTo>
                <a:lnTo>
                  <a:pt x="7810" y="1596"/>
                </a:lnTo>
                <a:lnTo>
                  <a:pt x="7818" y="1604"/>
                </a:lnTo>
                <a:lnTo>
                  <a:pt x="7824" y="1608"/>
                </a:lnTo>
                <a:lnTo>
                  <a:pt x="7829" y="1611"/>
                </a:lnTo>
                <a:lnTo>
                  <a:pt x="7833" y="1613"/>
                </a:lnTo>
                <a:lnTo>
                  <a:pt x="7837" y="1616"/>
                </a:lnTo>
                <a:lnTo>
                  <a:pt x="7839" y="1621"/>
                </a:lnTo>
                <a:lnTo>
                  <a:pt x="7841" y="1629"/>
                </a:lnTo>
                <a:lnTo>
                  <a:pt x="7841" y="1640"/>
                </a:lnTo>
                <a:lnTo>
                  <a:pt x="7841" y="1654"/>
                </a:lnTo>
                <a:lnTo>
                  <a:pt x="7842" y="1664"/>
                </a:lnTo>
                <a:lnTo>
                  <a:pt x="7843" y="1670"/>
                </a:lnTo>
                <a:lnTo>
                  <a:pt x="7844" y="1673"/>
                </a:lnTo>
                <a:lnTo>
                  <a:pt x="7846" y="1675"/>
                </a:lnTo>
                <a:lnTo>
                  <a:pt x="7848" y="1674"/>
                </a:lnTo>
                <a:lnTo>
                  <a:pt x="7849" y="1672"/>
                </a:lnTo>
                <a:lnTo>
                  <a:pt x="7851" y="1670"/>
                </a:lnTo>
                <a:lnTo>
                  <a:pt x="7852" y="1660"/>
                </a:lnTo>
                <a:lnTo>
                  <a:pt x="7851" y="1650"/>
                </a:lnTo>
                <a:lnTo>
                  <a:pt x="7851" y="1645"/>
                </a:lnTo>
                <a:lnTo>
                  <a:pt x="7853" y="1639"/>
                </a:lnTo>
                <a:lnTo>
                  <a:pt x="7854" y="1638"/>
                </a:lnTo>
                <a:lnTo>
                  <a:pt x="7856" y="1637"/>
                </a:lnTo>
                <a:lnTo>
                  <a:pt x="7859" y="1636"/>
                </a:lnTo>
                <a:lnTo>
                  <a:pt x="7863" y="1636"/>
                </a:lnTo>
                <a:lnTo>
                  <a:pt x="7869" y="1636"/>
                </a:lnTo>
                <a:lnTo>
                  <a:pt x="7876" y="1638"/>
                </a:lnTo>
                <a:lnTo>
                  <a:pt x="7883" y="1640"/>
                </a:lnTo>
                <a:lnTo>
                  <a:pt x="7889" y="1645"/>
                </a:lnTo>
                <a:lnTo>
                  <a:pt x="7900" y="1652"/>
                </a:lnTo>
                <a:lnTo>
                  <a:pt x="7911" y="1660"/>
                </a:lnTo>
                <a:lnTo>
                  <a:pt x="7922" y="1666"/>
                </a:lnTo>
                <a:lnTo>
                  <a:pt x="7935" y="1669"/>
                </a:lnTo>
                <a:lnTo>
                  <a:pt x="7937" y="1670"/>
                </a:lnTo>
                <a:lnTo>
                  <a:pt x="7939" y="1672"/>
                </a:lnTo>
                <a:lnTo>
                  <a:pt x="7941" y="1674"/>
                </a:lnTo>
                <a:lnTo>
                  <a:pt x="7941" y="1676"/>
                </a:lnTo>
                <a:lnTo>
                  <a:pt x="7941" y="1679"/>
                </a:lnTo>
                <a:lnTo>
                  <a:pt x="7941" y="1682"/>
                </a:lnTo>
                <a:lnTo>
                  <a:pt x="7939" y="1687"/>
                </a:lnTo>
                <a:lnTo>
                  <a:pt x="7936" y="1692"/>
                </a:lnTo>
                <a:lnTo>
                  <a:pt x="7929" y="1701"/>
                </a:lnTo>
                <a:lnTo>
                  <a:pt x="7922" y="1709"/>
                </a:lnTo>
                <a:lnTo>
                  <a:pt x="7916" y="1714"/>
                </a:lnTo>
                <a:lnTo>
                  <a:pt x="7910" y="1717"/>
                </a:lnTo>
                <a:lnTo>
                  <a:pt x="7905" y="1720"/>
                </a:lnTo>
                <a:lnTo>
                  <a:pt x="7900" y="1722"/>
                </a:lnTo>
                <a:lnTo>
                  <a:pt x="7897" y="1725"/>
                </a:lnTo>
                <a:lnTo>
                  <a:pt x="7896" y="1731"/>
                </a:lnTo>
                <a:lnTo>
                  <a:pt x="7896" y="1743"/>
                </a:lnTo>
                <a:lnTo>
                  <a:pt x="7896" y="1757"/>
                </a:lnTo>
                <a:lnTo>
                  <a:pt x="7895" y="1764"/>
                </a:lnTo>
                <a:lnTo>
                  <a:pt x="7894" y="1769"/>
                </a:lnTo>
                <a:lnTo>
                  <a:pt x="7892" y="1775"/>
                </a:lnTo>
                <a:lnTo>
                  <a:pt x="7889" y="1778"/>
                </a:lnTo>
                <a:lnTo>
                  <a:pt x="7885" y="1779"/>
                </a:lnTo>
                <a:lnTo>
                  <a:pt x="7878" y="1779"/>
                </a:lnTo>
                <a:lnTo>
                  <a:pt x="7872" y="1778"/>
                </a:lnTo>
                <a:lnTo>
                  <a:pt x="7867" y="1777"/>
                </a:lnTo>
                <a:lnTo>
                  <a:pt x="7861" y="1775"/>
                </a:lnTo>
                <a:lnTo>
                  <a:pt x="7855" y="1772"/>
                </a:lnTo>
                <a:lnTo>
                  <a:pt x="7850" y="1769"/>
                </a:lnTo>
                <a:lnTo>
                  <a:pt x="7847" y="1766"/>
                </a:lnTo>
                <a:lnTo>
                  <a:pt x="7839" y="1756"/>
                </a:lnTo>
                <a:lnTo>
                  <a:pt x="7827" y="1741"/>
                </a:lnTo>
                <a:lnTo>
                  <a:pt x="7821" y="1734"/>
                </a:lnTo>
                <a:lnTo>
                  <a:pt x="7815" y="1726"/>
                </a:lnTo>
                <a:lnTo>
                  <a:pt x="7808" y="1721"/>
                </a:lnTo>
                <a:lnTo>
                  <a:pt x="7803" y="1718"/>
                </a:lnTo>
                <a:lnTo>
                  <a:pt x="7797" y="1717"/>
                </a:lnTo>
                <a:lnTo>
                  <a:pt x="7791" y="1717"/>
                </a:lnTo>
                <a:lnTo>
                  <a:pt x="7785" y="1718"/>
                </a:lnTo>
                <a:lnTo>
                  <a:pt x="7779" y="1720"/>
                </a:lnTo>
                <a:lnTo>
                  <a:pt x="7774" y="1721"/>
                </a:lnTo>
                <a:lnTo>
                  <a:pt x="7768" y="1722"/>
                </a:lnTo>
                <a:lnTo>
                  <a:pt x="7764" y="1722"/>
                </a:lnTo>
                <a:lnTo>
                  <a:pt x="7762" y="1721"/>
                </a:lnTo>
                <a:lnTo>
                  <a:pt x="7758" y="1710"/>
                </a:lnTo>
                <a:lnTo>
                  <a:pt x="7754" y="1691"/>
                </a:lnTo>
                <a:lnTo>
                  <a:pt x="7751" y="1682"/>
                </a:lnTo>
                <a:lnTo>
                  <a:pt x="7749" y="1675"/>
                </a:lnTo>
                <a:lnTo>
                  <a:pt x="7746" y="1672"/>
                </a:lnTo>
                <a:lnTo>
                  <a:pt x="7745" y="1671"/>
                </a:lnTo>
                <a:lnTo>
                  <a:pt x="7743" y="1670"/>
                </a:lnTo>
                <a:lnTo>
                  <a:pt x="7741" y="1671"/>
                </a:lnTo>
                <a:lnTo>
                  <a:pt x="7733" y="1675"/>
                </a:lnTo>
                <a:lnTo>
                  <a:pt x="7724" y="1680"/>
                </a:lnTo>
                <a:lnTo>
                  <a:pt x="7721" y="1682"/>
                </a:lnTo>
                <a:lnTo>
                  <a:pt x="7719" y="1686"/>
                </a:lnTo>
                <a:lnTo>
                  <a:pt x="7718" y="1689"/>
                </a:lnTo>
                <a:lnTo>
                  <a:pt x="7720" y="1692"/>
                </a:lnTo>
                <a:lnTo>
                  <a:pt x="7725" y="1698"/>
                </a:lnTo>
                <a:lnTo>
                  <a:pt x="7731" y="1703"/>
                </a:lnTo>
                <a:lnTo>
                  <a:pt x="7733" y="1706"/>
                </a:lnTo>
                <a:lnTo>
                  <a:pt x="7734" y="1710"/>
                </a:lnTo>
                <a:lnTo>
                  <a:pt x="7734" y="1713"/>
                </a:lnTo>
                <a:lnTo>
                  <a:pt x="7732" y="1717"/>
                </a:lnTo>
                <a:lnTo>
                  <a:pt x="7728" y="1724"/>
                </a:lnTo>
                <a:lnTo>
                  <a:pt x="7724" y="1728"/>
                </a:lnTo>
                <a:lnTo>
                  <a:pt x="7719" y="1734"/>
                </a:lnTo>
                <a:lnTo>
                  <a:pt x="7713" y="1742"/>
                </a:lnTo>
                <a:lnTo>
                  <a:pt x="7706" y="1753"/>
                </a:lnTo>
                <a:lnTo>
                  <a:pt x="7700" y="1759"/>
                </a:lnTo>
                <a:lnTo>
                  <a:pt x="7698" y="1761"/>
                </a:lnTo>
                <a:lnTo>
                  <a:pt x="7696" y="1762"/>
                </a:lnTo>
                <a:lnTo>
                  <a:pt x="7693" y="1761"/>
                </a:lnTo>
                <a:lnTo>
                  <a:pt x="7689" y="1760"/>
                </a:lnTo>
                <a:lnTo>
                  <a:pt x="7681" y="1754"/>
                </a:lnTo>
                <a:lnTo>
                  <a:pt x="7673" y="1746"/>
                </a:lnTo>
                <a:lnTo>
                  <a:pt x="7670" y="1744"/>
                </a:lnTo>
                <a:lnTo>
                  <a:pt x="7666" y="1742"/>
                </a:lnTo>
                <a:lnTo>
                  <a:pt x="7664" y="1743"/>
                </a:lnTo>
                <a:lnTo>
                  <a:pt x="7662" y="1743"/>
                </a:lnTo>
                <a:lnTo>
                  <a:pt x="7659" y="1744"/>
                </a:lnTo>
                <a:lnTo>
                  <a:pt x="7657" y="1746"/>
                </a:lnTo>
                <a:lnTo>
                  <a:pt x="7654" y="1750"/>
                </a:lnTo>
                <a:lnTo>
                  <a:pt x="7653" y="1754"/>
                </a:lnTo>
                <a:lnTo>
                  <a:pt x="7654" y="1757"/>
                </a:lnTo>
                <a:lnTo>
                  <a:pt x="7657" y="1760"/>
                </a:lnTo>
                <a:lnTo>
                  <a:pt x="7668" y="1769"/>
                </a:lnTo>
                <a:lnTo>
                  <a:pt x="7683" y="1784"/>
                </a:lnTo>
                <a:lnTo>
                  <a:pt x="7690" y="1794"/>
                </a:lnTo>
                <a:lnTo>
                  <a:pt x="7696" y="1803"/>
                </a:lnTo>
                <a:lnTo>
                  <a:pt x="7700" y="1810"/>
                </a:lnTo>
                <a:lnTo>
                  <a:pt x="7702" y="1816"/>
                </a:lnTo>
                <a:lnTo>
                  <a:pt x="7707" y="1828"/>
                </a:lnTo>
                <a:lnTo>
                  <a:pt x="7708" y="1835"/>
                </a:lnTo>
                <a:lnTo>
                  <a:pt x="7707" y="1846"/>
                </a:lnTo>
                <a:lnTo>
                  <a:pt x="7702" y="1857"/>
                </a:lnTo>
                <a:lnTo>
                  <a:pt x="7699" y="1868"/>
                </a:lnTo>
                <a:lnTo>
                  <a:pt x="7697" y="1873"/>
                </a:lnTo>
                <a:lnTo>
                  <a:pt x="7693" y="1867"/>
                </a:lnTo>
                <a:lnTo>
                  <a:pt x="7684" y="1856"/>
                </a:lnTo>
                <a:lnTo>
                  <a:pt x="7677" y="1851"/>
                </a:lnTo>
                <a:lnTo>
                  <a:pt x="7671" y="1848"/>
                </a:lnTo>
                <a:lnTo>
                  <a:pt x="7668" y="1848"/>
                </a:lnTo>
                <a:lnTo>
                  <a:pt x="7665" y="1848"/>
                </a:lnTo>
                <a:lnTo>
                  <a:pt x="7662" y="1850"/>
                </a:lnTo>
                <a:lnTo>
                  <a:pt x="7658" y="1852"/>
                </a:lnTo>
                <a:lnTo>
                  <a:pt x="7648" y="1862"/>
                </a:lnTo>
                <a:lnTo>
                  <a:pt x="7631" y="1874"/>
                </a:lnTo>
                <a:lnTo>
                  <a:pt x="7609" y="1890"/>
                </a:lnTo>
                <a:lnTo>
                  <a:pt x="7586" y="1907"/>
                </a:lnTo>
                <a:lnTo>
                  <a:pt x="7543" y="1936"/>
                </a:lnTo>
                <a:lnTo>
                  <a:pt x="7522" y="1953"/>
                </a:lnTo>
                <a:lnTo>
                  <a:pt x="7516" y="1961"/>
                </a:lnTo>
                <a:lnTo>
                  <a:pt x="7509" y="1973"/>
                </a:lnTo>
                <a:lnTo>
                  <a:pt x="7501" y="1983"/>
                </a:lnTo>
                <a:lnTo>
                  <a:pt x="7498" y="1987"/>
                </a:lnTo>
                <a:lnTo>
                  <a:pt x="7498" y="1984"/>
                </a:lnTo>
                <a:lnTo>
                  <a:pt x="7496" y="1977"/>
                </a:lnTo>
                <a:lnTo>
                  <a:pt x="7494" y="1972"/>
                </a:lnTo>
                <a:lnTo>
                  <a:pt x="7490" y="1966"/>
                </a:lnTo>
                <a:lnTo>
                  <a:pt x="7484" y="1961"/>
                </a:lnTo>
                <a:lnTo>
                  <a:pt x="7477" y="1957"/>
                </a:lnTo>
                <a:lnTo>
                  <a:pt x="7469" y="1954"/>
                </a:lnTo>
                <a:lnTo>
                  <a:pt x="7462" y="1952"/>
                </a:lnTo>
                <a:lnTo>
                  <a:pt x="7458" y="1953"/>
                </a:lnTo>
                <a:lnTo>
                  <a:pt x="7453" y="1954"/>
                </a:lnTo>
                <a:lnTo>
                  <a:pt x="7445" y="1962"/>
                </a:lnTo>
                <a:lnTo>
                  <a:pt x="7434" y="1974"/>
                </a:lnTo>
                <a:lnTo>
                  <a:pt x="7424" y="1985"/>
                </a:lnTo>
                <a:lnTo>
                  <a:pt x="7415" y="1993"/>
                </a:lnTo>
                <a:lnTo>
                  <a:pt x="7412" y="1995"/>
                </a:lnTo>
                <a:lnTo>
                  <a:pt x="7408" y="1995"/>
                </a:lnTo>
                <a:lnTo>
                  <a:pt x="7405" y="1994"/>
                </a:lnTo>
                <a:lnTo>
                  <a:pt x="7402" y="1989"/>
                </a:lnTo>
                <a:lnTo>
                  <a:pt x="7398" y="1986"/>
                </a:lnTo>
                <a:lnTo>
                  <a:pt x="7392" y="1984"/>
                </a:lnTo>
                <a:lnTo>
                  <a:pt x="7387" y="1983"/>
                </a:lnTo>
                <a:lnTo>
                  <a:pt x="7382" y="1983"/>
                </a:lnTo>
                <a:lnTo>
                  <a:pt x="7372" y="1985"/>
                </a:lnTo>
                <a:lnTo>
                  <a:pt x="7369" y="1986"/>
                </a:lnTo>
                <a:lnTo>
                  <a:pt x="7368" y="1985"/>
                </a:lnTo>
                <a:lnTo>
                  <a:pt x="7364" y="1985"/>
                </a:lnTo>
                <a:lnTo>
                  <a:pt x="7362" y="1986"/>
                </a:lnTo>
                <a:lnTo>
                  <a:pt x="7360" y="1988"/>
                </a:lnTo>
                <a:lnTo>
                  <a:pt x="7357" y="1991"/>
                </a:lnTo>
                <a:lnTo>
                  <a:pt x="7354" y="1997"/>
                </a:lnTo>
                <a:lnTo>
                  <a:pt x="7347" y="2010"/>
                </a:lnTo>
                <a:lnTo>
                  <a:pt x="7342" y="2024"/>
                </a:lnTo>
                <a:lnTo>
                  <a:pt x="7339" y="2033"/>
                </a:lnTo>
                <a:lnTo>
                  <a:pt x="7337" y="2038"/>
                </a:lnTo>
                <a:lnTo>
                  <a:pt x="7334" y="2038"/>
                </a:lnTo>
                <a:lnTo>
                  <a:pt x="7326" y="2040"/>
                </a:lnTo>
                <a:lnTo>
                  <a:pt x="7324" y="2042"/>
                </a:lnTo>
                <a:lnTo>
                  <a:pt x="7322" y="2045"/>
                </a:lnTo>
                <a:lnTo>
                  <a:pt x="7323" y="2049"/>
                </a:lnTo>
                <a:lnTo>
                  <a:pt x="7328" y="2054"/>
                </a:lnTo>
                <a:lnTo>
                  <a:pt x="7340" y="2064"/>
                </a:lnTo>
                <a:lnTo>
                  <a:pt x="7348" y="2069"/>
                </a:lnTo>
                <a:lnTo>
                  <a:pt x="7351" y="2071"/>
                </a:lnTo>
                <a:lnTo>
                  <a:pt x="7354" y="2073"/>
                </a:lnTo>
                <a:lnTo>
                  <a:pt x="7355" y="2074"/>
                </a:lnTo>
                <a:lnTo>
                  <a:pt x="7354" y="2076"/>
                </a:lnTo>
                <a:lnTo>
                  <a:pt x="7349" y="2082"/>
                </a:lnTo>
                <a:lnTo>
                  <a:pt x="7345" y="2086"/>
                </a:lnTo>
                <a:lnTo>
                  <a:pt x="7342" y="2089"/>
                </a:lnTo>
                <a:lnTo>
                  <a:pt x="7341" y="2092"/>
                </a:lnTo>
                <a:lnTo>
                  <a:pt x="7340" y="2095"/>
                </a:lnTo>
                <a:lnTo>
                  <a:pt x="7340" y="2099"/>
                </a:lnTo>
                <a:lnTo>
                  <a:pt x="7343" y="2108"/>
                </a:lnTo>
                <a:lnTo>
                  <a:pt x="7347" y="2116"/>
                </a:lnTo>
                <a:lnTo>
                  <a:pt x="7351" y="2121"/>
                </a:lnTo>
                <a:lnTo>
                  <a:pt x="7352" y="2123"/>
                </a:lnTo>
                <a:lnTo>
                  <a:pt x="7354" y="2126"/>
                </a:lnTo>
                <a:lnTo>
                  <a:pt x="7354" y="2131"/>
                </a:lnTo>
                <a:lnTo>
                  <a:pt x="7354" y="2134"/>
                </a:lnTo>
                <a:lnTo>
                  <a:pt x="7352" y="2137"/>
                </a:lnTo>
                <a:lnTo>
                  <a:pt x="7349" y="2140"/>
                </a:lnTo>
                <a:lnTo>
                  <a:pt x="7345" y="2143"/>
                </a:lnTo>
                <a:lnTo>
                  <a:pt x="7326" y="2153"/>
                </a:lnTo>
                <a:lnTo>
                  <a:pt x="7318" y="2157"/>
                </a:lnTo>
                <a:lnTo>
                  <a:pt x="7317" y="2166"/>
                </a:lnTo>
                <a:lnTo>
                  <a:pt x="7318" y="2179"/>
                </a:lnTo>
                <a:lnTo>
                  <a:pt x="7318" y="2185"/>
                </a:lnTo>
                <a:lnTo>
                  <a:pt x="7317" y="2193"/>
                </a:lnTo>
                <a:lnTo>
                  <a:pt x="7316" y="2197"/>
                </a:lnTo>
                <a:lnTo>
                  <a:pt x="7314" y="2200"/>
                </a:lnTo>
                <a:lnTo>
                  <a:pt x="7312" y="2203"/>
                </a:lnTo>
                <a:lnTo>
                  <a:pt x="7310" y="2205"/>
                </a:lnTo>
                <a:lnTo>
                  <a:pt x="7303" y="2210"/>
                </a:lnTo>
                <a:lnTo>
                  <a:pt x="7291" y="2224"/>
                </a:lnTo>
                <a:lnTo>
                  <a:pt x="7274" y="2243"/>
                </a:lnTo>
                <a:lnTo>
                  <a:pt x="7255" y="2265"/>
                </a:lnTo>
                <a:lnTo>
                  <a:pt x="7236" y="2288"/>
                </a:lnTo>
                <a:lnTo>
                  <a:pt x="7218" y="2310"/>
                </a:lnTo>
                <a:lnTo>
                  <a:pt x="7204" y="2329"/>
                </a:lnTo>
                <a:lnTo>
                  <a:pt x="7195" y="2342"/>
                </a:lnTo>
                <a:lnTo>
                  <a:pt x="7190" y="2352"/>
                </a:lnTo>
                <a:lnTo>
                  <a:pt x="7184" y="2360"/>
                </a:lnTo>
                <a:lnTo>
                  <a:pt x="7177" y="2368"/>
                </a:lnTo>
                <a:lnTo>
                  <a:pt x="7172" y="2373"/>
                </a:lnTo>
                <a:lnTo>
                  <a:pt x="7164" y="2381"/>
                </a:lnTo>
                <a:lnTo>
                  <a:pt x="7161" y="2383"/>
                </a:lnTo>
                <a:lnTo>
                  <a:pt x="7144" y="2423"/>
                </a:lnTo>
                <a:lnTo>
                  <a:pt x="7141" y="2427"/>
                </a:lnTo>
                <a:lnTo>
                  <a:pt x="7132" y="2438"/>
                </a:lnTo>
                <a:lnTo>
                  <a:pt x="7127" y="2444"/>
                </a:lnTo>
                <a:lnTo>
                  <a:pt x="7122" y="2448"/>
                </a:lnTo>
                <a:lnTo>
                  <a:pt x="7118" y="2452"/>
                </a:lnTo>
                <a:lnTo>
                  <a:pt x="7114" y="2454"/>
                </a:lnTo>
                <a:lnTo>
                  <a:pt x="7111" y="2454"/>
                </a:lnTo>
                <a:lnTo>
                  <a:pt x="7110" y="2452"/>
                </a:lnTo>
                <a:lnTo>
                  <a:pt x="7109" y="2451"/>
                </a:lnTo>
                <a:lnTo>
                  <a:pt x="7109" y="2450"/>
                </a:lnTo>
                <a:lnTo>
                  <a:pt x="7110" y="2446"/>
                </a:lnTo>
                <a:lnTo>
                  <a:pt x="7111" y="2442"/>
                </a:lnTo>
                <a:lnTo>
                  <a:pt x="7116" y="2435"/>
                </a:lnTo>
                <a:lnTo>
                  <a:pt x="7118" y="2430"/>
                </a:lnTo>
                <a:lnTo>
                  <a:pt x="7144" y="2402"/>
                </a:lnTo>
                <a:lnTo>
                  <a:pt x="7146" y="2370"/>
                </a:lnTo>
                <a:lnTo>
                  <a:pt x="7171" y="2366"/>
                </a:lnTo>
                <a:lnTo>
                  <a:pt x="7174" y="2361"/>
                </a:lnTo>
                <a:lnTo>
                  <a:pt x="7182" y="2353"/>
                </a:lnTo>
                <a:lnTo>
                  <a:pt x="7186" y="2348"/>
                </a:lnTo>
                <a:lnTo>
                  <a:pt x="7188" y="2341"/>
                </a:lnTo>
                <a:lnTo>
                  <a:pt x="7189" y="2339"/>
                </a:lnTo>
                <a:lnTo>
                  <a:pt x="7189" y="2337"/>
                </a:lnTo>
                <a:lnTo>
                  <a:pt x="7188" y="2334"/>
                </a:lnTo>
                <a:lnTo>
                  <a:pt x="7187" y="2332"/>
                </a:lnTo>
                <a:lnTo>
                  <a:pt x="7185" y="2328"/>
                </a:lnTo>
                <a:lnTo>
                  <a:pt x="7185" y="2324"/>
                </a:lnTo>
                <a:lnTo>
                  <a:pt x="7187" y="2318"/>
                </a:lnTo>
                <a:lnTo>
                  <a:pt x="7189" y="2313"/>
                </a:lnTo>
                <a:lnTo>
                  <a:pt x="7194" y="2305"/>
                </a:lnTo>
                <a:lnTo>
                  <a:pt x="7197" y="2302"/>
                </a:lnTo>
                <a:lnTo>
                  <a:pt x="7198" y="2299"/>
                </a:lnTo>
                <a:lnTo>
                  <a:pt x="7198" y="2293"/>
                </a:lnTo>
                <a:lnTo>
                  <a:pt x="7198" y="2289"/>
                </a:lnTo>
                <a:lnTo>
                  <a:pt x="7198" y="2284"/>
                </a:lnTo>
                <a:lnTo>
                  <a:pt x="7197" y="2280"/>
                </a:lnTo>
                <a:lnTo>
                  <a:pt x="7195" y="2274"/>
                </a:lnTo>
                <a:lnTo>
                  <a:pt x="7191" y="2266"/>
                </a:lnTo>
                <a:lnTo>
                  <a:pt x="7187" y="2258"/>
                </a:lnTo>
                <a:lnTo>
                  <a:pt x="7185" y="2252"/>
                </a:lnTo>
                <a:lnTo>
                  <a:pt x="7184" y="2247"/>
                </a:lnTo>
                <a:lnTo>
                  <a:pt x="7184" y="2241"/>
                </a:lnTo>
                <a:lnTo>
                  <a:pt x="7183" y="2233"/>
                </a:lnTo>
                <a:lnTo>
                  <a:pt x="7180" y="2210"/>
                </a:lnTo>
                <a:lnTo>
                  <a:pt x="7175" y="2176"/>
                </a:lnTo>
                <a:lnTo>
                  <a:pt x="7174" y="2167"/>
                </a:lnTo>
                <a:lnTo>
                  <a:pt x="7174" y="2158"/>
                </a:lnTo>
                <a:lnTo>
                  <a:pt x="7175" y="2150"/>
                </a:lnTo>
                <a:lnTo>
                  <a:pt x="7176" y="2141"/>
                </a:lnTo>
                <a:lnTo>
                  <a:pt x="7177" y="2133"/>
                </a:lnTo>
                <a:lnTo>
                  <a:pt x="7181" y="2126"/>
                </a:lnTo>
                <a:lnTo>
                  <a:pt x="7185" y="2118"/>
                </a:lnTo>
                <a:lnTo>
                  <a:pt x="7189" y="2113"/>
                </a:lnTo>
                <a:lnTo>
                  <a:pt x="7214" y="2086"/>
                </a:lnTo>
                <a:lnTo>
                  <a:pt x="7240" y="2055"/>
                </a:lnTo>
                <a:lnTo>
                  <a:pt x="7262" y="2027"/>
                </a:lnTo>
                <a:lnTo>
                  <a:pt x="7276" y="2010"/>
                </a:lnTo>
                <a:lnTo>
                  <a:pt x="7293" y="1994"/>
                </a:lnTo>
                <a:lnTo>
                  <a:pt x="7323" y="1969"/>
                </a:lnTo>
                <a:lnTo>
                  <a:pt x="7339" y="1956"/>
                </a:lnTo>
                <a:lnTo>
                  <a:pt x="7352" y="1943"/>
                </a:lnTo>
                <a:lnTo>
                  <a:pt x="7359" y="1937"/>
                </a:lnTo>
                <a:lnTo>
                  <a:pt x="7363" y="1932"/>
                </a:lnTo>
                <a:lnTo>
                  <a:pt x="7366" y="1928"/>
                </a:lnTo>
                <a:lnTo>
                  <a:pt x="7368" y="1923"/>
                </a:lnTo>
                <a:lnTo>
                  <a:pt x="7369" y="1909"/>
                </a:lnTo>
                <a:lnTo>
                  <a:pt x="7369" y="1892"/>
                </a:lnTo>
                <a:lnTo>
                  <a:pt x="7369" y="1884"/>
                </a:lnTo>
                <a:lnTo>
                  <a:pt x="7371" y="1876"/>
                </a:lnTo>
                <a:lnTo>
                  <a:pt x="7372" y="1873"/>
                </a:lnTo>
                <a:lnTo>
                  <a:pt x="7373" y="1870"/>
                </a:lnTo>
                <a:lnTo>
                  <a:pt x="7376" y="1867"/>
                </a:lnTo>
                <a:lnTo>
                  <a:pt x="7379" y="1864"/>
                </a:lnTo>
                <a:lnTo>
                  <a:pt x="7383" y="1859"/>
                </a:lnTo>
                <a:lnTo>
                  <a:pt x="7385" y="1853"/>
                </a:lnTo>
                <a:lnTo>
                  <a:pt x="7386" y="1848"/>
                </a:lnTo>
                <a:lnTo>
                  <a:pt x="7385" y="1844"/>
                </a:lnTo>
                <a:lnTo>
                  <a:pt x="7384" y="1842"/>
                </a:lnTo>
                <a:lnTo>
                  <a:pt x="7383" y="1841"/>
                </a:lnTo>
                <a:lnTo>
                  <a:pt x="7381" y="1840"/>
                </a:lnTo>
                <a:lnTo>
                  <a:pt x="7379" y="1838"/>
                </a:lnTo>
                <a:lnTo>
                  <a:pt x="7376" y="1840"/>
                </a:lnTo>
                <a:lnTo>
                  <a:pt x="7372" y="1841"/>
                </a:lnTo>
                <a:lnTo>
                  <a:pt x="7369" y="1843"/>
                </a:lnTo>
                <a:lnTo>
                  <a:pt x="7366" y="1846"/>
                </a:lnTo>
                <a:lnTo>
                  <a:pt x="7350" y="1862"/>
                </a:lnTo>
                <a:lnTo>
                  <a:pt x="7337" y="1877"/>
                </a:lnTo>
                <a:lnTo>
                  <a:pt x="7326" y="1890"/>
                </a:lnTo>
                <a:lnTo>
                  <a:pt x="7323" y="1895"/>
                </a:lnTo>
                <a:lnTo>
                  <a:pt x="7288" y="1940"/>
                </a:lnTo>
                <a:lnTo>
                  <a:pt x="7285" y="1938"/>
                </a:lnTo>
                <a:lnTo>
                  <a:pt x="7279" y="1932"/>
                </a:lnTo>
                <a:lnTo>
                  <a:pt x="7276" y="1928"/>
                </a:lnTo>
                <a:lnTo>
                  <a:pt x="7272" y="1921"/>
                </a:lnTo>
                <a:lnTo>
                  <a:pt x="7270" y="1914"/>
                </a:lnTo>
                <a:lnTo>
                  <a:pt x="7268" y="1906"/>
                </a:lnTo>
                <a:lnTo>
                  <a:pt x="7266" y="1889"/>
                </a:lnTo>
                <a:lnTo>
                  <a:pt x="7263" y="1876"/>
                </a:lnTo>
                <a:lnTo>
                  <a:pt x="7262" y="1875"/>
                </a:lnTo>
                <a:lnTo>
                  <a:pt x="7261" y="1874"/>
                </a:lnTo>
                <a:lnTo>
                  <a:pt x="7260" y="1873"/>
                </a:lnTo>
                <a:lnTo>
                  <a:pt x="7258" y="1873"/>
                </a:lnTo>
                <a:lnTo>
                  <a:pt x="7253" y="1875"/>
                </a:lnTo>
                <a:lnTo>
                  <a:pt x="7245" y="1880"/>
                </a:lnTo>
                <a:lnTo>
                  <a:pt x="7236" y="1886"/>
                </a:lnTo>
                <a:lnTo>
                  <a:pt x="7230" y="1890"/>
                </a:lnTo>
                <a:lnTo>
                  <a:pt x="7224" y="1892"/>
                </a:lnTo>
                <a:lnTo>
                  <a:pt x="7219" y="1893"/>
                </a:lnTo>
                <a:lnTo>
                  <a:pt x="7215" y="1895"/>
                </a:lnTo>
                <a:lnTo>
                  <a:pt x="7211" y="1898"/>
                </a:lnTo>
                <a:lnTo>
                  <a:pt x="7207" y="1902"/>
                </a:lnTo>
                <a:lnTo>
                  <a:pt x="7202" y="1910"/>
                </a:lnTo>
                <a:lnTo>
                  <a:pt x="7189" y="1928"/>
                </a:lnTo>
                <a:lnTo>
                  <a:pt x="7175" y="1947"/>
                </a:lnTo>
                <a:lnTo>
                  <a:pt x="7169" y="1957"/>
                </a:lnTo>
                <a:lnTo>
                  <a:pt x="7163" y="1966"/>
                </a:lnTo>
                <a:lnTo>
                  <a:pt x="7159" y="1975"/>
                </a:lnTo>
                <a:lnTo>
                  <a:pt x="7157" y="1981"/>
                </a:lnTo>
                <a:lnTo>
                  <a:pt x="7154" y="1995"/>
                </a:lnTo>
                <a:lnTo>
                  <a:pt x="7154" y="2007"/>
                </a:lnTo>
                <a:lnTo>
                  <a:pt x="7155" y="2017"/>
                </a:lnTo>
                <a:lnTo>
                  <a:pt x="7157" y="2020"/>
                </a:lnTo>
                <a:lnTo>
                  <a:pt x="7155" y="2021"/>
                </a:lnTo>
                <a:lnTo>
                  <a:pt x="7150" y="2022"/>
                </a:lnTo>
                <a:lnTo>
                  <a:pt x="7140" y="2025"/>
                </a:lnTo>
                <a:lnTo>
                  <a:pt x="7121" y="2028"/>
                </a:lnTo>
                <a:lnTo>
                  <a:pt x="7109" y="2030"/>
                </a:lnTo>
                <a:lnTo>
                  <a:pt x="7099" y="2029"/>
                </a:lnTo>
                <a:lnTo>
                  <a:pt x="7088" y="2028"/>
                </a:lnTo>
                <a:lnTo>
                  <a:pt x="7078" y="2025"/>
                </a:lnTo>
                <a:lnTo>
                  <a:pt x="7070" y="2022"/>
                </a:lnTo>
                <a:lnTo>
                  <a:pt x="7062" y="2018"/>
                </a:lnTo>
                <a:lnTo>
                  <a:pt x="7057" y="2013"/>
                </a:lnTo>
                <a:lnTo>
                  <a:pt x="7054" y="2010"/>
                </a:lnTo>
                <a:lnTo>
                  <a:pt x="7051" y="2006"/>
                </a:lnTo>
                <a:lnTo>
                  <a:pt x="7048" y="2004"/>
                </a:lnTo>
                <a:lnTo>
                  <a:pt x="7043" y="2003"/>
                </a:lnTo>
                <a:lnTo>
                  <a:pt x="7040" y="2002"/>
                </a:lnTo>
                <a:lnTo>
                  <a:pt x="7035" y="2002"/>
                </a:lnTo>
                <a:lnTo>
                  <a:pt x="7031" y="2003"/>
                </a:lnTo>
                <a:lnTo>
                  <a:pt x="7027" y="2005"/>
                </a:lnTo>
                <a:lnTo>
                  <a:pt x="7022" y="2008"/>
                </a:lnTo>
                <a:lnTo>
                  <a:pt x="7018" y="2010"/>
                </a:lnTo>
                <a:lnTo>
                  <a:pt x="7012" y="2011"/>
                </a:lnTo>
                <a:lnTo>
                  <a:pt x="7004" y="2011"/>
                </a:lnTo>
                <a:lnTo>
                  <a:pt x="6996" y="2011"/>
                </a:lnTo>
                <a:lnTo>
                  <a:pt x="6988" y="2010"/>
                </a:lnTo>
                <a:lnTo>
                  <a:pt x="6979" y="2008"/>
                </a:lnTo>
                <a:lnTo>
                  <a:pt x="6973" y="2006"/>
                </a:lnTo>
                <a:lnTo>
                  <a:pt x="6967" y="2004"/>
                </a:lnTo>
                <a:lnTo>
                  <a:pt x="6957" y="1999"/>
                </a:lnTo>
                <a:lnTo>
                  <a:pt x="6947" y="1994"/>
                </a:lnTo>
                <a:lnTo>
                  <a:pt x="6943" y="1993"/>
                </a:lnTo>
                <a:lnTo>
                  <a:pt x="6938" y="1991"/>
                </a:lnTo>
                <a:lnTo>
                  <a:pt x="6933" y="1993"/>
                </a:lnTo>
                <a:lnTo>
                  <a:pt x="6930" y="1996"/>
                </a:lnTo>
                <a:lnTo>
                  <a:pt x="6927" y="1999"/>
                </a:lnTo>
                <a:lnTo>
                  <a:pt x="6924" y="2000"/>
                </a:lnTo>
                <a:lnTo>
                  <a:pt x="6921" y="2001"/>
                </a:lnTo>
                <a:lnTo>
                  <a:pt x="6917" y="2002"/>
                </a:lnTo>
                <a:lnTo>
                  <a:pt x="6913" y="2003"/>
                </a:lnTo>
                <a:lnTo>
                  <a:pt x="6908" y="2006"/>
                </a:lnTo>
                <a:lnTo>
                  <a:pt x="6903" y="2009"/>
                </a:lnTo>
                <a:lnTo>
                  <a:pt x="6898" y="2016"/>
                </a:lnTo>
                <a:lnTo>
                  <a:pt x="6887" y="2028"/>
                </a:lnTo>
                <a:lnTo>
                  <a:pt x="6879" y="2035"/>
                </a:lnTo>
                <a:lnTo>
                  <a:pt x="6869" y="2044"/>
                </a:lnTo>
                <a:lnTo>
                  <a:pt x="6857" y="2060"/>
                </a:lnTo>
                <a:lnTo>
                  <a:pt x="6843" y="2075"/>
                </a:lnTo>
                <a:lnTo>
                  <a:pt x="6833" y="2084"/>
                </a:lnTo>
                <a:lnTo>
                  <a:pt x="6825" y="2091"/>
                </a:lnTo>
                <a:lnTo>
                  <a:pt x="6817" y="2098"/>
                </a:lnTo>
                <a:lnTo>
                  <a:pt x="6809" y="2109"/>
                </a:lnTo>
                <a:lnTo>
                  <a:pt x="6798" y="2121"/>
                </a:lnTo>
                <a:lnTo>
                  <a:pt x="6788" y="2135"/>
                </a:lnTo>
                <a:lnTo>
                  <a:pt x="6778" y="2145"/>
                </a:lnTo>
                <a:lnTo>
                  <a:pt x="6762" y="2163"/>
                </a:lnTo>
                <a:lnTo>
                  <a:pt x="6752" y="2172"/>
                </a:lnTo>
                <a:lnTo>
                  <a:pt x="6764" y="2203"/>
                </a:lnTo>
                <a:lnTo>
                  <a:pt x="6766" y="2198"/>
                </a:lnTo>
                <a:lnTo>
                  <a:pt x="6771" y="2188"/>
                </a:lnTo>
                <a:lnTo>
                  <a:pt x="6774" y="2185"/>
                </a:lnTo>
                <a:lnTo>
                  <a:pt x="6778" y="2183"/>
                </a:lnTo>
                <a:lnTo>
                  <a:pt x="6779" y="2183"/>
                </a:lnTo>
                <a:lnTo>
                  <a:pt x="6781" y="2184"/>
                </a:lnTo>
                <a:lnTo>
                  <a:pt x="6782" y="2185"/>
                </a:lnTo>
                <a:lnTo>
                  <a:pt x="6785" y="2188"/>
                </a:lnTo>
                <a:lnTo>
                  <a:pt x="6789" y="2201"/>
                </a:lnTo>
                <a:lnTo>
                  <a:pt x="6792" y="2210"/>
                </a:lnTo>
                <a:lnTo>
                  <a:pt x="6793" y="2217"/>
                </a:lnTo>
                <a:lnTo>
                  <a:pt x="6793" y="2220"/>
                </a:lnTo>
                <a:lnTo>
                  <a:pt x="6830" y="2205"/>
                </a:lnTo>
                <a:lnTo>
                  <a:pt x="6860" y="2227"/>
                </a:lnTo>
                <a:lnTo>
                  <a:pt x="6862" y="2233"/>
                </a:lnTo>
                <a:lnTo>
                  <a:pt x="6864" y="2246"/>
                </a:lnTo>
                <a:lnTo>
                  <a:pt x="6864" y="2253"/>
                </a:lnTo>
                <a:lnTo>
                  <a:pt x="6865" y="2262"/>
                </a:lnTo>
                <a:lnTo>
                  <a:pt x="6864" y="2269"/>
                </a:lnTo>
                <a:lnTo>
                  <a:pt x="6862" y="2274"/>
                </a:lnTo>
                <a:lnTo>
                  <a:pt x="6861" y="2280"/>
                </a:lnTo>
                <a:lnTo>
                  <a:pt x="6861" y="2285"/>
                </a:lnTo>
                <a:lnTo>
                  <a:pt x="6862" y="2290"/>
                </a:lnTo>
                <a:lnTo>
                  <a:pt x="6864" y="2295"/>
                </a:lnTo>
                <a:lnTo>
                  <a:pt x="6865" y="2303"/>
                </a:lnTo>
                <a:lnTo>
                  <a:pt x="6865" y="2310"/>
                </a:lnTo>
                <a:lnTo>
                  <a:pt x="6864" y="2319"/>
                </a:lnTo>
                <a:lnTo>
                  <a:pt x="6860" y="2330"/>
                </a:lnTo>
                <a:lnTo>
                  <a:pt x="6852" y="2360"/>
                </a:lnTo>
                <a:lnTo>
                  <a:pt x="6842" y="2396"/>
                </a:lnTo>
                <a:lnTo>
                  <a:pt x="6837" y="2413"/>
                </a:lnTo>
                <a:lnTo>
                  <a:pt x="6832" y="2427"/>
                </a:lnTo>
                <a:lnTo>
                  <a:pt x="6830" y="2433"/>
                </a:lnTo>
                <a:lnTo>
                  <a:pt x="6826" y="2438"/>
                </a:lnTo>
                <a:lnTo>
                  <a:pt x="6824" y="2442"/>
                </a:lnTo>
                <a:lnTo>
                  <a:pt x="6821" y="2445"/>
                </a:lnTo>
                <a:lnTo>
                  <a:pt x="6816" y="2451"/>
                </a:lnTo>
                <a:lnTo>
                  <a:pt x="6810" y="2462"/>
                </a:lnTo>
                <a:lnTo>
                  <a:pt x="6802" y="2473"/>
                </a:lnTo>
                <a:lnTo>
                  <a:pt x="6794" y="2487"/>
                </a:lnTo>
                <a:lnTo>
                  <a:pt x="6786" y="2501"/>
                </a:lnTo>
                <a:lnTo>
                  <a:pt x="6777" y="2514"/>
                </a:lnTo>
                <a:lnTo>
                  <a:pt x="6768" y="2527"/>
                </a:lnTo>
                <a:lnTo>
                  <a:pt x="6757" y="2537"/>
                </a:lnTo>
                <a:lnTo>
                  <a:pt x="6737" y="2556"/>
                </a:lnTo>
                <a:lnTo>
                  <a:pt x="6716" y="2572"/>
                </a:lnTo>
                <a:lnTo>
                  <a:pt x="6702" y="2582"/>
                </a:lnTo>
                <a:lnTo>
                  <a:pt x="6697" y="2587"/>
                </a:lnTo>
                <a:lnTo>
                  <a:pt x="6689" y="2584"/>
                </a:lnTo>
                <a:lnTo>
                  <a:pt x="6674" y="2579"/>
                </a:lnTo>
                <a:lnTo>
                  <a:pt x="6664" y="2578"/>
                </a:lnTo>
                <a:lnTo>
                  <a:pt x="6654" y="2579"/>
                </a:lnTo>
                <a:lnTo>
                  <a:pt x="6649" y="2580"/>
                </a:lnTo>
                <a:lnTo>
                  <a:pt x="6644" y="2582"/>
                </a:lnTo>
                <a:lnTo>
                  <a:pt x="6640" y="2586"/>
                </a:lnTo>
                <a:lnTo>
                  <a:pt x="6637" y="2589"/>
                </a:lnTo>
                <a:lnTo>
                  <a:pt x="6634" y="2594"/>
                </a:lnTo>
                <a:lnTo>
                  <a:pt x="6632" y="2598"/>
                </a:lnTo>
                <a:lnTo>
                  <a:pt x="6630" y="2602"/>
                </a:lnTo>
                <a:lnTo>
                  <a:pt x="6628" y="2608"/>
                </a:lnTo>
                <a:lnTo>
                  <a:pt x="6627" y="2617"/>
                </a:lnTo>
                <a:lnTo>
                  <a:pt x="6627" y="2626"/>
                </a:lnTo>
                <a:lnTo>
                  <a:pt x="6626" y="2635"/>
                </a:lnTo>
                <a:lnTo>
                  <a:pt x="6625" y="2642"/>
                </a:lnTo>
                <a:lnTo>
                  <a:pt x="6624" y="2646"/>
                </a:lnTo>
                <a:lnTo>
                  <a:pt x="6622" y="2648"/>
                </a:lnTo>
                <a:lnTo>
                  <a:pt x="6619" y="2650"/>
                </a:lnTo>
                <a:lnTo>
                  <a:pt x="6616" y="2653"/>
                </a:lnTo>
                <a:lnTo>
                  <a:pt x="6600" y="2659"/>
                </a:lnTo>
                <a:lnTo>
                  <a:pt x="6587" y="2664"/>
                </a:lnTo>
                <a:lnTo>
                  <a:pt x="6581" y="2668"/>
                </a:lnTo>
                <a:lnTo>
                  <a:pt x="6577" y="2671"/>
                </a:lnTo>
                <a:lnTo>
                  <a:pt x="6574" y="2676"/>
                </a:lnTo>
                <a:lnTo>
                  <a:pt x="6573" y="2680"/>
                </a:lnTo>
                <a:lnTo>
                  <a:pt x="6574" y="2686"/>
                </a:lnTo>
                <a:lnTo>
                  <a:pt x="6578" y="2696"/>
                </a:lnTo>
                <a:lnTo>
                  <a:pt x="6582" y="2707"/>
                </a:lnTo>
                <a:lnTo>
                  <a:pt x="6589" y="2719"/>
                </a:lnTo>
                <a:lnTo>
                  <a:pt x="6599" y="2741"/>
                </a:lnTo>
                <a:lnTo>
                  <a:pt x="6603" y="2749"/>
                </a:lnTo>
                <a:lnTo>
                  <a:pt x="6588" y="2783"/>
                </a:lnTo>
                <a:lnTo>
                  <a:pt x="6589" y="2787"/>
                </a:lnTo>
                <a:lnTo>
                  <a:pt x="6589" y="2798"/>
                </a:lnTo>
                <a:lnTo>
                  <a:pt x="6589" y="2805"/>
                </a:lnTo>
                <a:lnTo>
                  <a:pt x="6588" y="2811"/>
                </a:lnTo>
                <a:lnTo>
                  <a:pt x="6584" y="2816"/>
                </a:lnTo>
                <a:lnTo>
                  <a:pt x="6581" y="2819"/>
                </a:lnTo>
                <a:lnTo>
                  <a:pt x="6572" y="2825"/>
                </a:lnTo>
                <a:lnTo>
                  <a:pt x="6564" y="2832"/>
                </a:lnTo>
                <a:lnTo>
                  <a:pt x="6559" y="2834"/>
                </a:lnTo>
                <a:lnTo>
                  <a:pt x="6557" y="2836"/>
                </a:lnTo>
                <a:lnTo>
                  <a:pt x="6554" y="2837"/>
                </a:lnTo>
                <a:lnTo>
                  <a:pt x="6553" y="2836"/>
                </a:lnTo>
                <a:lnTo>
                  <a:pt x="6550" y="2828"/>
                </a:lnTo>
                <a:lnTo>
                  <a:pt x="6546" y="2812"/>
                </a:lnTo>
                <a:lnTo>
                  <a:pt x="6543" y="2793"/>
                </a:lnTo>
                <a:lnTo>
                  <a:pt x="6540" y="2778"/>
                </a:lnTo>
                <a:lnTo>
                  <a:pt x="6539" y="2771"/>
                </a:lnTo>
                <a:lnTo>
                  <a:pt x="6536" y="2764"/>
                </a:lnTo>
                <a:lnTo>
                  <a:pt x="6532" y="2755"/>
                </a:lnTo>
                <a:lnTo>
                  <a:pt x="6527" y="2748"/>
                </a:lnTo>
                <a:lnTo>
                  <a:pt x="6517" y="2735"/>
                </a:lnTo>
                <a:lnTo>
                  <a:pt x="6513" y="2729"/>
                </a:lnTo>
                <a:lnTo>
                  <a:pt x="6512" y="2727"/>
                </a:lnTo>
                <a:lnTo>
                  <a:pt x="6510" y="2722"/>
                </a:lnTo>
                <a:lnTo>
                  <a:pt x="6509" y="2718"/>
                </a:lnTo>
                <a:lnTo>
                  <a:pt x="6509" y="2714"/>
                </a:lnTo>
                <a:lnTo>
                  <a:pt x="6509" y="2710"/>
                </a:lnTo>
                <a:lnTo>
                  <a:pt x="6509" y="2706"/>
                </a:lnTo>
                <a:lnTo>
                  <a:pt x="6511" y="2699"/>
                </a:lnTo>
                <a:lnTo>
                  <a:pt x="6512" y="2691"/>
                </a:lnTo>
                <a:lnTo>
                  <a:pt x="6511" y="2688"/>
                </a:lnTo>
                <a:lnTo>
                  <a:pt x="6510" y="2686"/>
                </a:lnTo>
                <a:lnTo>
                  <a:pt x="6507" y="2685"/>
                </a:lnTo>
                <a:lnTo>
                  <a:pt x="6504" y="2685"/>
                </a:lnTo>
                <a:lnTo>
                  <a:pt x="6496" y="2687"/>
                </a:lnTo>
                <a:lnTo>
                  <a:pt x="6489" y="2687"/>
                </a:lnTo>
                <a:lnTo>
                  <a:pt x="6482" y="2688"/>
                </a:lnTo>
                <a:lnTo>
                  <a:pt x="6472" y="2691"/>
                </a:lnTo>
                <a:lnTo>
                  <a:pt x="6460" y="2696"/>
                </a:lnTo>
                <a:lnTo>
                  <a:pt x="6447" y="2701"/>
                </a:lnTo>
                <a:lnTo>
                  <a:pt x="6438" y="2705"/>
                </a:lnTo>
                <a:lnTo>
                  <a:pt x="6435" y="2707"/>
                </a:lnTo>
                <a:lnTo>
                  <a:pt x="6433" y="2706"/>
                </a:lnTo>
                <a:lnTo>
                  <a:pt x="6429" y="2703"/>
                </a:lnTo>
                <a:lnTo>
                  <a:pt x="6428" y="2700"/>
                </a:lnTo>
                <a:lnTo>
                  <a:pt x="6428" y="2697"/>
                </a:lnTo>
                <a:lnTo>
                  <a:pt x="6430" y="2692"/>
                </a:lnTo>
                <a:lnTo>
                  <a:pt x="6434" y="2688"/>
                </a:lnTo>
                <a:lnTo>
                  <a:pt x="6442" y="2678"/>
                </a:lnTo>
                <a:lnTo>
                  <a:pt x="6449" y="2668"/>
                </a:lnTo>
                <a:lnTo>
                  <a:pt x="6452" y="2664"/>
                </a:lnTo>
                <a:lnTo>
                  <a:pt x="6453" y="2661"/>
                </a:lnTo>
                <a:lnTo>
                  <a:pt x="6453" y="2659"/>
                </a:lnTo>
                <a:lnTo>
                  <a:pt x="6452" y="2658"/>
                </a:lnTo>
                <a:lnTo>
                  <a:pt x="6451" y="2658"/>
                </a:lnTo>
                <a:lnTo>
                  <a:pt x="6450" y="2657"/>
                </a:lnTo>
                <a:lnTo>
                  <a:pt x="6446" y="2657"/>
                </a:lnTo>
                <a:lnTo>
                  <a:pt x="6442" y="2658"/>
                </a:lnTo>
                <a:lnTo>
                  <a:pt x="6438" y="2659"/>
                </a:lnTo>
                <a:lnTo>
                  <a:pt x="6433" y="2661"/>
                </a:lnTo>
                <a:lnTo>
                  <a:pt x="6424" y="2666"/>
                </a:lnTo>
                <a:lnTo>
                  <a:pt x="6417" y="2671"/>
                </a:lnTo>
                <a:lnTo>
                  <a:pt x="6409" y="2676"/>
                </a:lnTo>
                <a:lnTo>
                  <a:pt x="6400" y="2681"/>
                </a:lnTo>
                <a:lnTo>
                  <a:pt x="6390" y="2688"/>
                </a:lnTo>
                <a:lnTo>
                  <a:pt x="6379" y="2697"/>
                </a:lnTo>
                <a:lnTo>
                  <a:pt x="6374" y="2701"/>
                </a:lnTo>
                <a:lnTo>
                  <a:pt x="6367" y="2705"/>
                </a:lnTo>
                <a:lnTo>
                  <a:pt x="6359" y="2707"/>
                </a:lnTo>
                <a:lnTo>
                  <a:pt x="6353" y="2709"/>
                </a:lnTo>
                <a:lnTo>
                  <a:pt x="6348" y="2710"/>
                </a:lnTo>
                <a:lnTo>
                  <a:pt x="6346" y="2712"/>
                </a:lnTo>
                <a:lnTo>
                  <a:pt x="6346" y="2713"/>
                </a:lnTo>
                <a:lnTo>
                  <a:pt x="6347" y="2715"/>
                </a:lnTo>
                <a:lnTo>
                  <a:pt x="6349" y="2716"/>
                </a:lnTo>
                <a:lnTo>
                  <a:pt x="6352" y="2719"/>
                </a:lnTo>
                <a:lnTo>
                  <a:pt x="6359" y="2722"/>
                </a:lnTo>
                <a:lnTo>
                  <a:pt x="6365" y="2724"/>
                </a:lnTo>
                <a:lnTo>
                  <a:pt x="6370" y="2724"/>
                </a:lnTo>
                <a:lnTo>
                  <a:pt x="6375" y="2724"/>
                </a:lnTo>
                <a:lnTo>
                  <a:pt x="6378" y="2724"/>
                </a:lnTo>
                <a:lnTo>
                  <a:pt x="6381" y="2725"/>
                </a:lnTo>
                <a:lnTo>
                  <a:pt x="6384" y="2728"/>
                </a:lnTo>
                <a:lnTo>
                  <a:pt x="6386" y="2732"/>
                </a:lnTo>
                <a:lnTo>
                  <a:pt x="6389" y="2736"/>
                </a:lnTo>
                <a:lnTo>
                  <a:pt x="6392" y="2740"/>
                </a:lnTo>
                <a:lnTo>
                  <a:pt x="6395" y="2742"/>
                </a:lnTo>
                <a:lnTo>
                  <a:pt x="6398" y="2743"/>
                </a:lnTo>
                <a:lnTo>
                  <a:pt x="6404" y="2742"/>
                </a:lnTo>
                <a:lnTo>
                  <a:pt x="6409" y="2739"/>
                </a:lnTo>
                <a:lnTo>
                  <a:pt x="6413" y="2735"/>
                </a:lnTo>
                <a:lnTo>
                  <a:pt x="6416" y="2732"/>
                </a:lnTo>
                <a:lnTo>
                  <a:pt x="6419" y="2730"/>
                </a:lnTo>
                <a:lnTo>
                  <a:pt x="6421" y="2730"/>
                </a:lnTo>
                <a:lnTo>
                  <a:pt x="6424" y="2730"/>
                </a:lnTo>
                <a:lnTo>
                  <a:pt x="6428" y="2730"/>
                </a:lnTo>
                <a:lnTo>
                  <a:pt x="6436" y="2732"/>
                </a:lnTo>
                <a:lnTo>
                  <a:pt x="6442" y="2732"/>
                </a:lnTo>
                <a:lnTo>
                  <a:pt x="6445" y="2732"/>
                </a:lnTo>
                <a:lnTo>
                  <a:pt x="6447" y="2733"/>
                </a:lnTo>
                <a:lnTo>
                  <a:pt x="6449" y="2735"/>
                </a:lnTo>
                <a:lnTo>
                  <a:pt x="6451" y="2739"/>
                </a:lnTo>
                <a:lnTo>
                  <a:pt x="6452" y="2741"/>
                </a:lnTo>
                <a:lnTo>
                  <a:pt x="6455" y="2743"/>
                </a:lnTo>
                <a:lnTo>
                  <a:pt x="6456" y="2743"/>
                </a:lnTo>
                <a:lnTo>
                  <a:pt x="6457" y="2743"/>
                </a:lnTo>
                <a:lnTo>
                  <a:pt x="6458" y="2744"/>
                </a:lnTo>
                <a:lnTo>
                  <a:pt x="6458" y="2745"/>
                </a:lnTo>
                <a:lnTo>
                  <a:pt x="6458" y="2747"/>
                </a:lnTo>
                <a:lnTo>
                  <a:pt x="6457" y="2751"/>
                </a:lnTo>
                <a:lnTo>
                  <a:pt x="6456" y="2759"/>
                </a:lnTo>
                <a:lnTo>
                  <a:pt x="6458" y="2763"/>
                </a:lnTo>
                <a:lnTo>
                  <a:pt x="6457" y="2764"/>
                </a:lnTo>
                <a:lnTo>
                  <a:pt x="6455" y="2766"/>
                </a:lnTo>
                <a:lnTo>
                  <a:pt x="6451" y="2769"/>
                </a:lnTo>
                <a:lnTo>
                  <a:pt x="6444" y="2774"/>
                </a:lnTo>
                <a:lnTo>
                  <a:pt x="6428" y="2785"/>
                </a:lnTo>
                <a:lnTo>
                  <a:pt x="6414" y="2794"/>
                </a:lnTo>
                <a:lnTo>
                  <a:pt x="6403" y="2800"/>
                </a:lnTo>
                <a:lnTo>
                  <a:pt x="6399" y="2803"/>
                </a:lnTo>
                <a:lnTo>
                  <a:pt x="6400" y="2810"/>
                </a:lnTo>
                <a:lnTo>
                  <a:pt x="6404" y="2822"/>
                </a:lnTo>
                <a:lnTo>
                  <a:pt x="6413" y="2837"/>
                </a:lnTo>
                <a:lnTo>
                  <a:pt x="6420" y="2851"/>
                </a:lnTo>
                <a:lnTo>
                  <a:pt x="6422" y="2861"/>
                </a:lnTo>
                <a:lnTo>
                  <a:pt x="6425" y="2874"/>
                </a:lnTo>
                <a:lnTo>
                  <a:pt x="6427" y="2881"/>
                </a:lnTo>
                <a:lnTo>
                  <a:pt x="6429" y="2887"/>
                </a:lnTo>
                <a:lnTo>
                  <a:pt x="6433" y="2893"/>
                </a:lnTo>
                <a:lnTo>
                  <a:pt x="6436" y="2898"/>
                </a:lnTo>
                <a:lnTo>
                  <a:pt x="6443" y="2903"/>
                </a:lnTo>
                <a:lnTo>
                  <a:pt x="6451" y="2907"/>
                </a:lnTo>
                <a:lnTo>
                  <a:pt x="6455" y="2909"/>
                </a:lnTo>
                <a:lnTo>
                  <a:pt x="6457" y="2912"/>
                </a:lnTo>
                <a:lnTo>
                  <a:pt x="6458" y="2918"/>
                </a:lnTo>
                <a:lnTo>
                  <a:pt x="6457" y="2924"/>
                </a:lnTo>
                <a:lnTo>
                  <a:pt x="6452" y="2937"/>
                </a:lnTo>
                <a:lnTo>
                  <a:pt x="6449" y="2947"/>
                </a:lnTo>
                <a:lnTo>
                  <a:pt x="6449" y="2953"/>
                </a:lnTo>
                <a:lnTo>
                  <a:pt x="6449" y="2957"/>
                </a:lnTo>
                <a:lnTo>
                  <a:pt x="6443" y="2967"/>
                </a:lnTo>
                <a:lnTo>
                  <a:pt x="6428" y="2985"/>
                </a:lnTo>
                <a:lnTo>
                  <a:pt x="6420" y="2995"/>
                </a:lnTo>
                <a:lnTo>
                  <a:pt x="6413" y="3006"/>
                </a:lnTo>
                <a:lnTo>
                  <a:pt x="6407" y="3014"/>
                </a:lnTo>
                <a:lnTo>
                  <a:pt x="6405" y="3020"/>
                </a:lnTo>
                <a:lnTo>
                  <a:pt x="6402" y="3031"/>
                </a:lnTo>
                <a:lnTo>
                  <a:pt x="6397" y="3041"/>
                </a:lnTo>
                <a:lnTo>
                  <a:pt x="6391" y="3052"/>
                </a:lnTo>
                <a:lnTo>
                  <a:pt x="6383" y="3060"/>
                </a:lnTo>
                <a:lnTo>
                  <a:pt x="6375" y="3070"/>
                </a:lnTo>
                <a:lnTo>
                  <a:pt x="6363" y="3080"/>
                </a:lnTo>
                <a:lnTo>
                  <a:pt x="6351" y="3092"/>
                </a:lnTo>
                <a:lnTo>
                  <a:pt x="6337" y="3103"/>
                </a:lnTo>
                <a:lnTo>
                  <a:pt x="6329" y="3108"/>
                </a:lnTo>
                <a:lnTo>
                  <a:pt x="6318" y="3114"/>
                </a:lnTo>
                <a:lnTo>
                  <a:pt x="6307" y="3120"/>
                </a:lnTo>
                <a:lnTo>
                  <a:pt x="6294" y="3125"/>
                </a:lnTo>
                <a:lnTo>
                  <a:pt x="6271" y="3135"/>
                </a:lnTo>
                <a:lnTo>
                  <a:pt x="6258" y="3140"/>
                </a:lnTo>
                <a:lnTo>
                  <a:pt x="6246" y="3143"/>
                </a:lnTo>
                <a:lnTo>
                  <a:pt x="6232" y="3144"/>
                </a:lnTo>
                <a:lnTo>
                  <a:pt x="6218" y="3146"/>
                </a:lnTo>
                <a:lnTo>
                  <a:pt x="6209" y="3149"/>
                </a:lnTo>
                <a:lnTo>
                  <a:pt x="6202" y="3151"/>
                </a:lnTo>
                <a:lnTo>
                  <a:pt x="6192" y="3152"/>
                </a:lnTo>
                <a:lnTo>
                  <a:pt x="6186" y="3153"/>
                </a:lnTo>
                <a:lnTo>
                  <a:pt x="6183" y="3154"/>
                </a:lnTo>
                <a:lnTo>
                  <a:pt x="6182" y="3156"/>
                </a:lnTo>
                <a:lnTo>
                  <a:pt x="6181" y="3157"/>
                </a:lnTo>
                <a:lnTo>
                  <a:pt x="6181" y="3158"/>
                </a:lnTo>
                <a:lnTo>
                  <a:pt x="6182" y="3160"/>
                </a:lnTo>
                <a:lnTo>
                  <a:pt x="6187" y="3170"/>
                </a:lnTo>
                <a:lnTo>
                  <a:pt x="6194" y="3186"/>
                </a:lnTo>
                <a:lnTo>
                  <a:pt x="6196" y="3194"/>
                </a:lnTo>
                <a:lnTo>
                  <a:pt x="6197" y="3203"/>
                </a:lnTo>
                <a:lnTo>
                  <a:pt x="6197" y="3206"/>
                </a:lnTo>
                <a:lnTo>
                  <a:pt x="6196" y="3209"/>
                </a:lnTo>
                <a:lnTo>
                  <a:pt x="6196" y="3212"/>
                </a:lnTo>
                <a:lnTo>
                  <a:pt x="6194" y="3215"/>
                </a:lnTo>
                <a:lnTo>
                  <a:pt x="6189" y="3218"/>
                </a:lnTo>
                <a:lnTo>
                  <a:pt x="6182" y="3222"/>
                </a:lnTo>
                <a:lnTo>
                  <a:pt x="6175" y="3223"/>
                </a:lnTo>
                <a:lnTo>
                  <a:pt x="6167" y="3224"/>
                </a:lnTo>
                <a:lnTo>
                  <a:pt x="6159" y="3223"/>
                </a:lnTo>
                <a:lnTo>
                  <a:pt x="6154" y="3220"/>
                </a:lnTo>
                <a:lnTo>
                  <a:pt x="6151" y="3219"/>
                </a:lnTo>
                <a:lnTo>
                  <a:pt x="6150" y="3217"/>
                </a:lnTo>
                <a:lnTo>
                  <a:pt x="6148" y="3216"/>
                </a:lnTo>
                <a:lnTo>
                  <a:pt x="6148" y="3214"/>
                </a:lnTo>
                <a:lnTo>
                  <a:pt x="6150" y="3209"/>
                </a:lnTo>
                <a:lnTo>
                  <a:pt x="6154" y="3203"/>
                </a:lnTo>
                <a:lnTo>
                  <a:pt x="6159" y="3195"/>
                </a:lnTo>
                <a:lnTo>
                  <a:pt x="6165" y="3188"/>
                </a:lnTo>
                <a:lnTo>
                  <a:pt x="6172" y="3181"/>
                </a:lnTo>
                <a:lnTo>
                  <a:pt x="6177" y="3174"/>
                </a:lnTo>
                <a:lnTo>
                  <a:pt x="6178" y="3171"/>
                </a:lnTo>
                <a:lnTo>
                  <a:pt x="6179" y="3169"/>
                </a:lnTo>
                <a:lnTo>
                  <a:pt x="6179" y="3166"/>
                </a:lnTo>
                <a:lnTo>
                  <a:pt x="6179" y="3165"/>
                </a:lnTo>
                <a:lnTo>
                  <a:pt x="6173" y="3156"/>
                </a:lnTo>
                <a:lnTo>
                  <a:pt x="6170" y="3153"/>
                </a:lnTo>
                <a:lnTo>
                  <a:pt x="6161" y="3151"/>
                </a:lnTo>
                <a:lnTo>
                  <a:pt x="6149" y="3149"/>
                </a:lnTo>
                <a:lnTo>
                  <a:pt x="6143" y="3151"/>
                </a:lnTo>
                <a:lnTo>
                  <a:pt x="6137" y="3157"/>
                </a:lnTo>
                <a:lnTo>
                  <a:pt x="6131" y="3164"/>
                </a:lnTo>
                <a:lnTo>
                  <a:pt x="6125" y="3170"/>
                </a:lnTo>
                <a:lnTo>
                  <a:pt x="6109" y="3185"/>
                </a:lnTo>
                <a:lnTo>
                  <a:pt x="6096" y="3197"/>
                </a:lnTo>
                <a:lnTo>
                  <a:pt x="6092" y="3204"/>
                </a:lnTo>
                <a:lnTo>
                  <a:pt x="6086" y="3212"/>
                </a:lnTo>
                <a:lnTo>
                  <a:pt x="6083" y="3216"/>
                </a:lnTo>
                <a:lnTo>
                  <a:pt x="6080" y="3219"/>
                </a:lnTo>
                <a:lnTo>
                  <a:pt x="6079" y="3223"/>
                </a:lnTo>
                <a:lnTo>
                  <a:pt x="6080" y="3225"/>
                </a:lnTo>
                <a:lnTo>
                  <a:pt x="6087" y="3230"/>
                </a:lnTo>
                <a:lnTo>
                  <a:pt x="6097" y="3237"/>
                </a:lnTo>
                <a:lnTo>
                  <a:pt x="6108" y="3244"/>
                </a:lnTo>
                <a:lnTo>
                  <a:pt x="6112" y="3247"/>
                </a:lnTo>
                <a:lnTo>
                  <a:pt x="6119" y="3253"/>
                </a:lnTo>
                <a:lnTo>
                  <a:pt x="6130" y="3262"/>
                </a:lnTo>
                <a:lnTo>
                  <a:pt x="6140" y="3277"/>
                </a:lnTo>
                <a:lnTo>
                  <a:pt x="6160" y="3306"/>
                </a:lnTo>
                <a:lnTo>
                  <a:pt x="6171" y="3322"/>
                </a:lnTo>
                <a:lnTo>
                  <a:pt x="6180" y="3336"/>
                </a:lnTo>
                <a:lnTo>
                  <a:pt x="6183" y="3341"/>
                </a:lnTo>
                <a:lnTo>
                  <a:pt x="6185" y="3346"/>
                </a:lnTo>
                <a:lnTo>
                  <a:pt x="6186" y="3349"/>
                </a:lnTo>
                <a:lnTo>
                  <a:pt x="6186" y="3351"/>
                </a:lnTo>
                <a:lnTo>
                  <a:pt x="6182" y="3356"/>
                </a:lnTo>
                <a:lnTo>
                  <a:pt x="6176" y="3359"/>
                </a:lnTo>
                <a:lnTo>
                  <a:pt x="6172" y="3362"/>
                </a:lnTo>
                <a:lnTo>
                  <a:pt x="6167" y="3365"/>
                </a:lnTo>
                <a:lnTo>
                  <a:pt x="6163" y="3370"/>
                </a:lnTo>
                <a:lnTo>
                  <a:pt x="6160" y="3378"/>
                </a:lnTo>
                <a:lnTo>
                  <a:pt x="6154" y="3385"/>
                </a:lnTo>
                <a:lnTo>
                  <a:pt x="6145" y="3394"/>
                </a:lnTo>
                <a:lnTo>
                  <a:pt x="6135" y="3403"/>
                </a:lnTo>
                <a:lnTo>
                  <a:pt x="6122" y="3412"/>
                </a:lnTo>
                <a:lnTo>
                  <a:pt x="6098" y="3428"/>
                </a:lnTo>
                <a:lnTo>
                  <a:pt x="6079" y="3437"/>
                </a:lnTo>
                <a:lnTo>
                  <a:pt x="6068" y="3444"/>
                </a:lnTo>
                <a:lnTo>
                  <a:pt x="6058" y="3448"/>
                </a:lnTo>
                <a:lnTo>
                  <a:pt x="6054" y="3448"/>
                </a:lnTo>
                <a:lnTo>
                  <a:pt x="6052" y="3448"/>
                </a:lnTo>
                <a:lnTo>
                  <a:pt x="6052" y="3446"/>
                </a:lnTo>
                <a:lnTo>
                  <a:pt x="6053" y="3443"/>
                </a:lnTo>
                <a:lnTo>
                  <a:pt x="6056" y="3434"/>
                </a:lnTo>
                <a:lnTo>
                  <a:pt x="6058" y="3427"/>
                </a:lnTo>
                <a:lnTo>
                  <a:pt x="6057" y="3423"/>
                </a:lnTo>
                <a:lnTo>
                  <a:pt x="6055" y="3417"/>
                </a:lnTo>
                <a:lnTo>
                  <a:pt x="6052" y="3413"/>
                </a:lnTo>
                <a:lnTo>
                  <a:pt x="6046" y="3408"/>
                </a:lnTo>
                <a:lnTo>
                  <a:pt x="6030" y="3393"/>
                </a:lnTo>
                <a:lnTo>
                  <a:pt x="6012" y="3376"/>
                </a:lnTo>
                <a:lnTo>
                  <a:pt x="6003" y="3368"/>
                </a:lnTo>
                <a:lnTo>
                  <a:pt x="5995" y="3362"/>
                </a:lnTo>
                <a:lnTo>
                  <a:pt x="5991" y="3360"/>
                </a:lnTo>
                <a:lnTo>
                  <a:pt x="5987" y="3359"/>
                </a:lnTo>
                <a:lnTo>
                  <a:pt x="5984" y="3359"/>
                </a:lnTo>
                <a:lnTo>
                  <a:pt x="5981" y="3360"/>
                </a:lnTo>
                <a:lnTo>
                  <a:pt x="5976" y="3362"/>
                </a:lnTo>
                <a:lnTo>
                  <a:pt x="5969" y="3362"/>
                </a:lnTo>
                <a:lnTo>
                  <a:pt x="5963" y="3361"/>
                </a:lnTo>
                <a:lnTo>
                  <a:pt x="5957" y="3360"/>
                </a:lnTo>
                <a:lnTo>
                  <a:pt x="5953" y="3360"/>
                </a:lnTo>
                <a:lnTo>
                  <a:pt x="5950" y="3360"/>
                </a:lnTo>
                <a:lnTo>
                  <a:pt x="5948" y="3361"/>
                </a:lnTo>
                <a:lnTo>
                  <a:pt x="5947" y="3363"/>
                </a:lnTo>
                <a:lnTo>
                  <a:pt x="5947" y="3365"/>
                </a:lnTo>
                <a:lnTo>
                  <a:pt x="5948" y="3368"/>
                </a:lnTo>
                <a:lnTo>
                  <a:pt x="5950" y="3373"/>
                </a:lnTo>
                <a:lnTo>
                  <a:pt x="5948" y="3376"/>
                </a:lnTo>
                <a:lnTo>
                  <a:pt x="5946" y="3377"/>
                </a:lnTo>
                <a:lnTo>
                  <a:pt x="5944" y="3378"/>
                </a:lnTo>
                <a:lnTo>
                  <a:pt x="5942" y="3378"/>
                </a:lnTo>
                <a:lnTo>
                  <a:pt x="5941" y="3380"/>
                </a:lnTo>
                <a:lnTo>
                  <a:pt x="5942" y="3384"/>
                </a:lnTo>
                <a:lnTo>
                  <a:pt x="5946" y="3390"/>
                </a:lnTo>
                <a:lnTo>
                  <a:pt x="5953" y="3398"/>
                </a:lnTo>
                <a:lnTo>
                  <a:pt x="5958" y="3402"/>
                </a:lnTo>
                <a:lnTo>
                  <a:pt x="5964" y="3405"/>
                </a:lnTo>
                <a:lnTo>
                  <a:pt x="5968" y="3406"/>
                </a:lnTo>
                <a:lnTo>
                  <a:pt x="5973" y="3408"/>
                </a:lnTo>
                <a:lnTo>
                  <a:pt x="5975" y="3409"/>
                </a:lnTo>
                <a:lnTo>
                  <a:pt x="5975" y="3412"/>
                </a:lnTo>
                <a:lnTo>
                  <a:pt x="5973" y="3417"/>
                </a:lnTo>
                <a:lnTo>
                  <a:pt x="5963" y="3428"/>
                </a:lnTo>
                <a:lnTo>
                  <a:pt x="5955" y="3435"/>
                </a:lnTo>
                <a:lnTo>
                  <a:pt x="5952" y="3439"/>
                </a:lnTo>
                <a:lnTo>
                  <a:pt x="5951" y="3444"/>
                </a:lnTo>
                <a:lnTo>
                  <a:pt x="5952" y="3448"/>
                </a:lnTo>
                <a:lnTo>
                  <a:pt x="5955" y="3454"/>
                </a:lnTo>
                <a:lnTo>
                  <a:pt x="5963" y="3466"/>
                </a:lnTo>
                <a:lnTo>
                  <a:pt x="5970" y="3477"/>
                </a:lnTo>
                <a:lnTo>
                  <a:pt x="5979" y="3488"/>
                </a:lnTo>
                <a:lnTo>
                  <a:pt x="5992" y="3499"/>
                </a:lnTo>
                <a:lnTo>
                  <a:pt x="6010" y="3511"/>
                </a:lnTo>
                <a:lnTo>
                  <a:pt x="6026" y="3520"/>
                </a:lnTo>
                <a:lnTo>
                  <a:pt x="6033" y="3525"/>
                </a:lnTo>
                <a:lnTo>
                  <a:pt x="6039" y="3532"/>
                </a:lnTo>
                <a:lnTo>
                  <a:pt x="6041" y="3535"/>
                </a:lnTo>
                <a:lnTo>
                  <a:pt x="6042" y="3539"/>
                </a:lnTo>
                <a:lnTo>
                  <a:pt x="6042" y="3543"/>
                </a:lnTo>
                <a:lnTo>
                  <a:pt x="6042" y="3548"/>
                </a:lnTo>
                <a:lnTo>
                  <a:pt x="6041" y="3569"/>
                </a:lnTo>
                <a:lnTo>
                  <a:pt x="6042" y="3588"/>
                </a:lnTo>
                <a:lnTo>
                  <a:pt x="6044" y="3603"/>
                </a:lnTo>
                <a:lnTo>
                  <a:pt x="6045" y="3608"/>
                </a:lnTo>
                <a:lnTo>
                  <a:pt x="6039" y="3604"/>
                </a:lnTo>
                <a:lnTo>
                  <a:pt x="6024" y="3599"/>
                </a:lnTo>
                <a:lnTo>
                  <a:pt x="6018" y="3597"/>
                </a:lnTo>
                <a:lnTo>
                  <a:pt x="6012" y="3597"/>
                </a:lnTo>
                <a:lnTo>
                  <a:pt x="6010" y="3598"/>
                </a:lnTo>
                <a:lnTo>
                  <a:pt x="6009" y="3600"/>
                </a:lnTo>
                <a:lnTo>
                  <a:pt x="6009" y="3603"/>
                </a:lnTo>
                <a:lnTo>
                  <a:pt x="6010" y="3607"/>
                </a:lnTo>
                <a:lnTo>
                  <a:pt x="6013" y="3615"/>
                </a:lnTo>
                <a:lnTo>
                  <a:pt x="6018" y="3623"/>
                </a:lnTo>
                <a:lnTo>
                  <a:pt x="6023" y="3628"/>
                </a:lnTo>
                <a:lnTo>
                  <a:pt x="6028" y="3633"/>
                </a:lnTo>
                <a:lnTo>
                  <a:pt x="6036" y="3641"/>
                </a:lnTo>
                <a:lnTo>
                  <a:pt x="6043" y="3646"/>
                </a:lnTo>
                <a:lnTo>
                  <a:pt x="6049" y="3653"/>
                </a:lnTo>
                <a:lnTo>
                  <a:pt x="6060" y="3663"/>
                </a:lnTo>
                <a:lnTo>
                  <a:pt x="6070" y="3673"/>
                </a:lnTo>
                <a:lnTo>
                  <a:pt x="6079" y="3683"/>
                </a:lnTo>
                <a:lnTo>
                  <a:pt x="6082" y="3685"/>
                </a:lnTo>
                <a:lnTo>
                  <a:pt x="6085" y="3686"/>
                </a:lnTo>
                <a:lnTo>
                  <a:pt x="6087" y="3687"/>
                </a:lnTo>
                <a:lnTo>
                  <a:pt x="6090" y="3687"/>
                </a:lnTo>
                <a:lnTo>
                  <a:pt x="6096" y="3687"/>
                </a:lnTo>
                <a:lnTo>
                  <a:pt x="6103" y="3686"/>
                </a:lnTo>
                <a:lnTo>
                  <a:pt x="6109" y="3685"/>
                </a:lnTo>
                <a:lnTo>
                  <a:pt x="6115" y="3685"/>
                </a:lnTo>
                <a:lnTo>
                  <a:pt x="6117" y="3685"/>
                </a:lnTo>
                <a:lnTo>
                  <a:pt x="6119" y="3685"/>
                </a:lnTo>
                <a:lnTo>
                  <a:pt x="6122" y="3686"/>
                </a:lnTo>
                <a:lnTo>
                  <a:pt x="6123" y="3688"/>
                </a:lnTo>
                <a:lnTo>
                  <a:pt x="6134" y="3698"/>
                </a:lnTo>
                <a:lnTo>
                  <a:pt x="6148" y="3709"/>
                </a:lnTo>
                <a:lnTo>
                  <a:pt x="6154" y="3715"/>
                </a:lnTo>
                <a:lnTo>
                  <a:pt x="6158" y="3720"/>
                </a:lnTo>
                <a:lnTo>
                  <a:pt x="6159" y="3722"/>
                </a:lnTo>
                <a:lnTo>
                  <a:pt x="6160" y="3724"/>
                </a:lnTo>
                <a:lnTo>
                  <a:pt x="6160" y="3727"/>
                </a:lnTo>
                <a:lnTo>
                  <a:pt x="6160" y="3728"/>
                </a:lnTo>
                <a:lnTo>
                  <a:pt x="6157" y="3730"/>
                </a:lnTo>
                <a:lnTo>
                  <a:pt x="6154" y="3731"/>
                </a:lnTo>
                <a:lnTo>
                  <a:pt x="6150" y="3731"/>
                </a:lnTo>
                <a:lnTo>
                  <a:pt x="6145" y="3729"/>
                </a:lnTo>
                <a:lnTo>
                  <a:pt x="6136" y="3723"/>
                </a:lnTo>
                <a:lnTo>
                  <a:pt x="6125" y="3718"/>
                </a:lnTo>
                <a:lnTo>
                  <a:pt x="6118" y="3715"/>
                </a:lnTo>
                <a:lnTo>
                  <a:pt x="6111" y="3712"/>
                </a:lnTo>
                <a:lnTo>
                  <a:pt x="6104" y="3711"/>
                </a:lnTo>
                <a:lnTo>
                  <a:pt x="6096" y="3710"/>
                </a:lnTo>
                <a:lnTo>
                  <a:pt x="6090" y="3711"/>
                </a:lnTo>
                <a:lnTo>
                  <a:pt x="6086" y="3713"/>
                </a:lnTo>
                <a:lnTo>
                  <a:pt x="6084" y="3714"/>
                </a:lnTo>
                <a:lnTo>
                  <a:pt x="6084" y="3717"/>
                </a:lnTo>
                <a:lnTo>
                  <a:pt x="6084" y="3719"/>
                </a:lnTo>
                <a:lnTo>
                  <a:pt x="6084" y="3722"/>
                </a:lnTo>
                <a:lnTo>
                  <a:pt x="6087" y="3730"/>
                </a:lnTo>
                <a:lnTo>
                  <a:pt x="6092" y="3737"/>
                </a:lnTo>
                <a:lnTo>
                  <a:pt x="6097" y="3743"/>
                </a:lnTo>
                <a:lnTo>
                  <a:pt x="6104" y="3750"/>
                </a:lnTo>
                <a:lnTo>
                  <a:pt x="6116" y="3760"/>
                </a:lnTo>
                <a:lnTo>
                  <a:pt x="6127" y="3767"/>
                </a:lnTo>
                <a:lnTo>
                  <a:pt x="6132" y="3769"/>
                </a:lnTo>
                <a:lnTo>
                  <a:pt x="6137" y="3771"/>
                </a:lnTo>
                <a:lnTo>
                  <a:pt x="6143" y="3772"/>
                </a:lnTo>
                <a:lnTo>
                  <a:pt x="6150" y="3772"/>
                </a:lnTo>
                <a:lnTo>
                  <a:pt x="6166" y="3772"/>
                </a:lnTo>
                <a:lnTo>
                  <a:pt x="6185" y="3773"/>
                </a:lnTo>
                <a:lnTo>
                  <a:pt x="6209" y="3777"/>
                </a:lnTo>
                <a:lnTo>
                  <a:pt x="6238" y="3783"/>
                </a:lnTo>
                <a:lnTo>
                  <a:pt x="6264" y="3789"/>
                </a:lnTo>
                <a:lnTo>
                  <a:pt x="6286" y="3795"/>
                </a:lnTo>
                <a:lnTo>
                  <a:pt x="6298" y="3798"/>
                </a:lnTo>
                <a:lnTo>
                  <a:pt x="6316" y="3803"/>
                </a:lnTo>
                <a:lnTo>
                  <a:pt x="6337" y="3808"/>
                </a:lnTo>
                <a:lnTo>
                  <a:pt x="6362" y="3813"/>
                </a:lnTo>
                <a:lnTo>
                  <a:pt x="6387" y="3818"/>
                </a:lnTo>
                <a:lnTo>
                  <a:pt x="6413" y="3821"/>
                </a:lnTo>
                <a:lnTo>
                  <a:pt x="6424" y="3822"/>
                </a:lnTo>
                <a:lnTo>
                  <a:pt x="6436" y="3822"/>
                </a:lnTo>
                <a:lnTo>
                  <a:pt x="6446" y="3821"/>
                </a:lnTo>
                <a:lnTo>
                  <a:pt x="6456" y="3819"/>
                </a:lnTo>
                <a:lnTo>
                  <a:pt x="6484" y="3812"/>
                </a:lnTo>
                <a:lnTo>
                  <a:pt x="6505" y="3807"/>
                </a:lnTo>
                <a:lnTo>
                  <a:pt x="6512" y="3806"/>
                </a:lnTo>
                <a:lnTo>
                  <a:pt x="6518" y="3806"/>
                </a:lnTo>
                <a:lnTo>
                  <a:pt x="6524" y="3807"/>
                </a:lnTo>
                <a:lnTo>
                  <a:pt x="6529" y="3809"/>
                </a:lnTo>
                <a:lnTo>
                  <a:pt x="6532" y="3809"/>
                </a:lnTo>
                <a:lnTo>
                  <a:pt x="6535" y="3809"/>
                </a:lnTo>
                <a:lnTo>
                  <a:pt x="6539" y="3809"/>
                </a:lnTo>
                <a:lnTo>
                  <a:pt x="6544" y="3808"/>
                </a:lnTo>
                <a:lnTo>
                  <a:pt x="6553" y="3804"/>
                </a:lnTo>
                <a:lnTo>
                  <a:pt x="6564" y="3800"/>
                </a:lnTo>
                <a:lnTo>
                  <a:pt x="6573" y="3796"/>
                </a:lnTo>
                <a:lnTo>
                  <a:pt x="6582" y="3793"/>
                </a:lnTo>
                <a:lnTo>
                  <a:pt x="6586" y="3791"/>
                </a:lnTo>
                <a:lnTo>
                  <a:pt x="6589" y="3790"/>
                </a:lnTo>
                <a:lnTo>
                  <a:pt x="6591" y="3790"/>
                </a:lnTo>
                <a:lnTo>
                  <a:pt x="6593" y="3791"/>
                </a:lnTo>
                <a:lnTo>
                  <a:pt x="6595" y="3793"/>
                </a:lnTo>
                <a:lnTo>
                  <a:pt x="6598" y="3793"/>
                </a:lnTo>
                <a:lnTo>
                  <a:pt x="6602" y="3793"/>
                </a:lnTo>
                <a:lnTo>
                  <a:pt x="6609" y="3793"/>
                </a:lnTo>
                <a:lnTo>
                  <a:pt x="6621" y="3790"/>
                </a:lnTo>
                <a:lnTo>
                  <a:pt x="6636" y="3788"/>
                </a:lnTo>
                <a:lnTo>
                  <a:pt x="6648" y="3787"/>
                </a:lnTo>
                <a:lnTo>
                  <a:pt x="6659" y="3787"/>
                </a:lnTo>
                <a:lnTo>
                  <a:pt x="6663" y="3787"/>
                </a:lnTo>
                <a:lnTo>
                  <a:pt x="6665" y="3788"/>
                </a:lnTo>
                <a:lnTo>
                  <a:pt x="6666" y="3790"/>
                </a:lnTo>
                <a:lnTo>
                  <a:pt x="6664" y="3794"/>
                </a:lnTo>
                <a:lnTo>
                  <a:pt x="6660" y="3800"/>
                </a:lnTo>
                <a:lnTo>
                  <a:pt x="6656" y="3804"/>
                </a:lnTo>
                <a:lnTo>
                  <a:pt x="6652" y="3807"/>
                </a:lnTo>
                <a:lnTo>
                  <a:pt x="6647" y="3810"/>
                </a:lnTo>
                <a:lnTo>
                  <a:pt x="6643" y="3811"/>
                </a:lnTo>
                <a:lnTo>
                  <a:pt x="6639" y="3812"/>
                </a:lnTo>
                <a:lnTo>
                  <a:pt x="6633" y="3812"/>
                </a:lnTo>
                <a:lnTo>
                  <a:pt x="6626" y="3813"/>
                </a:lnTo>
                <a:lnTo>
                  <a:pt x="6612" y="3811"/>
                </a:lnTo>
                <a:lnTo>
                  <a:pt x="6596" y="3810"/>
                </a:lnTo>
                <a:lnTo>
                  <a:pt x="6588" y="3810"/>
                </a:lnTo>
                <a:lnTo>
                  <a:pt x="6579" y="3811"/>
                </a:lnTo>
                <a:lnTo>
                  <a:pt x="6570" y="3815"/>
                </a:lnTo>
                <a:lnTo>
                  <a:pt x="6560" y="3819"/>
                </a:lnTo>
                <a:lnTo>
                  <a:pt x="6537" y="3832"/>
                </a:lnTo>
                <a:lnTo>
                  <a:pt x="6510" y="3846"/>
                </a:lnTo>
                <a:lnTo>
                  <a:pt x="6498" y="3852"/>
                </a:lnTo>
                <a:lnTo>
                  <a:pt x="6487" y="3856"/>
                </a:lnTo>
                <a:lnTo>
                  <a:pt x="6479" y="3859"/>
                </a:lnTo>
                <a:lnTo>
                  <a:pt x="6474" y="3859"/>
                </a:lnTo>
                <a:lnTo>
                  <a:pt x="6465" y="3851"/>
                </a:lnTo>
                <a:lnTo>
                  <a:pt x="6446" y="3840"/>
                </a:lnTo>
                <a:lnTo>
                  <a:pt x="6436" y="3834"/>
                </a:lnTo>
                <a:lnTo>
                  <a:pt x="6425" y="3831"/>
                </a:lnTo>
                <a:lnTo>
                  <a:pt x="6420" y="3830"/>
                </a:lnTo>
                <a:lnTo>
                  <a:pt x="6415" y="3830"/>
                </a:lnTo>
                <a:lnTo>
                  <a:pt x="6411" y="3831"/>
                </a:lnTo>
                <a:lnTo>
                  <a:pt x="6406" y="3833"/>
                </a:lnTo>
                <a:lnTo>
                  <a:pt x="6397" y="3838"/>
                </a:lnTo>
                <a:lnTo>
                  <a:pt x="6387" y="3840"/>
                </a:lnTo>
                <a:lnTo>
                  <a:pt x="6377" y="3841"/>
                </a:lnTo>
                <a:lnTo>
                  <a:pt x="6365" y="3841"/>
                </a:lnTo>
                <a:lnTo>
                  <a:pt x="6346" y="3839"/>
                </a:lnTo>
                <a:lnTo>
                  <a:pt x="6331" y="3835"/>
                </a:lnTo>
                <a:lnTo>
                  <a:pt x="6311" y="3831"/>
                </a:lnTo>
                <a:lnTo>
                  <a:pt x="6279" y="3825"/>
                </a:lnTo>
                <a:lnTo>
                  <a:pt x="6260" y="3822"/>
                </a:lnTo>
                <a:lnTo>
                  <a:pt x="6242" y="3819"/>
                </a:lnTo>
                <a:lnTo>
                  <a:pt x="6225" y="3818"/>
                </a:lnTo>
                <a:lnTo>
                  <a:pt x="6211" y="3818"/>
                </a:lnTo>
                <a:lnTo>
                  <a:pt x="6198" y="3817"/>
                </a:lnTo>
                <a:lnTo>
                  <a:pt x="6184" y="3815"/>
                </a:lnTo>
                <a:lnTo>
                  <a:pt x="6171" y="3812"/>
                </a:lnTo>
                <a:lnTo>
                  <a:pt x="6158" y="3809"/>
                </a:lnTo>
                <a:lnTo>
                  <a:pt x="6135" y="3803"/>
                </a:lnTo>
                <a:lnTo>
                  <a:pt x="6120" y="3799"/>
                </a:lnTo>
                <a:lnTo>
                  <a:pt x="6107" y="3794"/>
                </a:lnTo>
                <a:lnTo>
                  <a:pt x="6088" y="3784"/>
                </a:lnTo>
                <a:lnTo>
                  <a:pt x="6071" y="3776"/>
                </a:lnTo>
                <a:lnTo>
                  <a:pt x="6064" y="3772"/>
                </a:lnTo>
                <a:lnTo>
                  <a:pt x="6053" y="3761"/>
                </a:lnTo>
                <a:lnTo>
                  <a:pt x="6029" y="3735"/>
                </a:lnTo>
                <a:lnTo>
                  <a:pt x="6002" y="3707"/>
                </a:lnTo>
                <a:lnTo>
                  <a:pt x="5983" y="3686"/>
                </a:lnTo>
                <a:lnTo>
                  <a:pt x="5967" y="3666"/>
                </a:lnTo>
                <a:lnTo>
                  <a:pt x="5946" y="3641"/>
                </a:lnTo>
                <a:lnTo>
                  <a:pt x="5938" y="3629"/>
                </a:lnTo>
                <a:lnTo>
                  <a:pt x="5931" y="3623"/>
                </a:lnTo>
                <a:lnTo>
                  <a:pt x="5929" y="3621"/>
                </a:lnTo>
                <a:lnTo>
                  <a:pt x="5926" y="3622"/>
                </a:lnTo>
                <a:lnTo>
                  <a:pt x="5926" y="3624"/>
                </a:lnTo>
                <a:lnTo>
                  <a:pt x="5926" y="3627"/>
                </a:lnTo>
                <a:lnTo>
                  <a:pt x="5931" y="3639"/>
                </a:lnTo>
                <a:lnTo>
                  <a:pt x="5937" y="3649"/>
                </a:lnTo>
                <a:lnTo>
                  <a:pt x="5944" y="3661"/>
                </a:lnTo>
                <a:lnTo>
                  <a:pt x="5951" y="3669"/>
                </a:lnTo>
                <a:lnTo>
                  <a:pt x="5955" y="3676"/>
                </a:lnTo>
                <a:lnTo>
                  <a:pt x="5958" y="3680"/>
                </a:lnTo>
                <a:lnTo>
                  <a:pt x="5956" y="3681"/>
                </a:lnTo>
                <a:lnTo>
                  <a:pt x="5950" y="3676"/>
                </a:lnTo>
                <a:lnTo>
                  <a:pt x="5930" y="3662"/>
                </a:lnTo>
                <a:lnTo>
                  <a:pt x="5912" y="3647"/>
                </a:lnTo>
                <a:lnTo>
                  <a:pt x="5904" y="3640"/>
                </a:lnTo>
                <a:lnTo>
                  <a:pt x="5899" y="3631"/>
                </a:lnTo>
                <a:lnTo>
                  <a:pt x="5897" y="3628"/>
                </a:lnTo>
                <a:lnTo>
                  <a:pt x="5896" y="3625"/>
                </a:lnTo>
                <a:lnTo>
                  <a:pt x="5896" y="3622"/>
                </a:lnTo>
                <a:lnTo>
                  <a:pt x="5897" y="3619"/>
                </a:lnTo>
                <a:lnTo>
                  <a:pt x="5902" y="3606"/>
                </a:lnTo>
                <a:lnTo>
                  <a:pt x="5904" y="3593"/>
                </a:lnTo>
                <a:lnTo>
                  <a:pt x="5904" y="3588"/>
                </a:lnTo>
                <a:lnTo>
                  <a:pt x="5903" y="3584"/>
                </a:lnTo>
                <a:lnTo>
                  <a:pt x="5901" y="3580"/>
                </a:lnTo>
                <a:lnTo>
                  <a:pt x="5897" y="3577"/>
                </a:lnTo>
                <a:lnTo>
                  <a:pt x="5887" y="3575"/>
                </a:lnTo>
                <a:lnTo>
                  <a:pt x="5876" y="3574"/>
                </a:lnTo>
                <a:lnTo>
                  <a:pt x="5871" y="3573"/>
                </a:lnTo>
                <a:lnTo>
                  <a:pt x="5867" y="3570"/>
                </a:lnTo>
                <a:lnTo>
                  <a:pt x="5865" y="3567"/>
                </a:lnTo>
                <a:lnTo>
                  <a:pt x="5864" y="3563"/>
                </a:lnTo>
                <a:lnTo>
                  <a:pt x="5864" y="3551"/>
                </a:lnTo>
                <a:lnTo>
                  <a:pt x="5863" y="3538"/>
                </a:lnTo>
                <a:lnTo>
                  <a:pt x="5862" y="3533"/>
                </a:lnTo>
                <a:lnTo>
                  <a:pt x="5859" y="3526"/>
                </a:lnTo>
                <a:lnTo>
                  <a:pt x="5857" y="3522"/>
                </a:lnTo>
                <a:lnTo>
                  <a:pt x="5853" y="3518"/>
                </a:lnTo>
                <a:lnTo>
                  <a:pt x="5846" y="3511"/>
                </a:lnTo>
                <a:lnTo>
                  <a:pt x="5843" y="3505"/>
                </a:lnTo>
                <a:lnTo>
                  <a:pt x="5843" y="3503"/>
                </a:lnTo>
                <a:lnTo>
                  <a:pt x="5844" y="3501"/>
                </a:lnTo>
                <a:lnTo>
                  <a:pt x="5845" y="3500"/>
                </a:lnTo>
                <a:lnTo>
                  <a:pt x="5847" y="3500"/>
                </a:lnTo>
                <a:lnTo>
                  <a:pt x="5859" y="3502"/>
                </a:lnTo>
                <a:lnTo>
                  <a:pt x="5879" y="3509"/>
                </a:lnTo>
                <a:lnTo>
                  <a:pt x="5898" y="3515"/>
                </a:lnTo>
                <a:lnTo>
                  <a:pt x="5910" y="3520"/>
                </a:lnTo>
                <a:lnTo>
                  <a:pt x="5918" y="3527"/>
                </a:lnTo>
                <a:lnTo>
                  <a:pt x="5932" y="3540"/>
                </a:lnTo>
                <a:lnTo>
                  <a:pt x="5947" y="3554"/>
                </a:lnTo>
                <a:lnTo>
                  <a:pt x="5962" y="3564"/>
                </a:lnTo>
                <a:lnTo>
                  <a:pt x="5974" y="3573"/>
                </a:lnTo>
                <a:lnTo>
                  <a:pt x="5983" y="3581"/>
                </a:lnTo>
                <a:lnTo>
                  <a:pt x="5986" y="3583"/>
                </a:lnTo>
                <a:lnTo>
                  <a:pt x="5988" y="3583"/>
                </a:lnTo>
                <a:lnTo>
                  <a:pt x="5989" y="3580"/>
                </a:lnTo>
                <a:lnTo>
                  <a:pt x="5987" y="3575"/>
                </a:lnTo>
                <a:lnTo>
                  <a:pt x="5984" y="3567"/>
                </a:lnTo>
                <a:lnTo>
                  <a:pt x="5981" y="3561"/>
                </a:lnTo>
                <a:lnTo>
                  <a:pt x="5977" y="3556"/>
                </a:lnTo>
                <a:lnTo>
                  <a:pt x="5973" y="3551"/>
                </a:lnTo>
                <a:lnTo>
                  <a:pt x="5968" y="3544"/>
                </a:lnTo>
                <a:lnTo>
                  <a:pt x="5963" y="3538"/>
                </a:lnTo>
                <a:lnTo>
                  <a:pt x="5958" y="3530"/>
                </a:lnTo>
                <a:lnTo>
                  <a:pt x="5953" y="3519"/>
                </a:lnTo>
                <a:lnTo>
                  <a:pt x="5940" y="3494"/>
                </a:lnTo>
                <a:lnTo>
                  <a:pt x="5926" y="3470"/>
                </a:lnTo>
                <a:lnTo>
                  <a:pt x="5916" y="3451"/>
                </a:lnTo>
                <a:lnTo>
                  <a:pt x="5912" y="3444"/>
                </a:lnTo>
                <a:lnTo>
                  <a:pt x="5909" y="3421"/>
                </a:lnTo>
                <a:lnTo>
                  <a:pt x="5911" y="3416"/>
                </a:lnTo>
                <a:lnTo>
                  <a:pt x="5915" y="3406"/>
                </a:lnTo>
                <a:lnTo>
                  <a:pt x="5917" y="3401"/>
                </a:lnTo>
                <a:lnTo>
                  <a:pt x="5917" y="3395"/>
                </a:lnTo>
                <a:lnTo>
                  <a:pt x="5917" y="3393"/>
                </a:lnTo>
                <a:lnTo>
                  <a:pt x="5916" y="3391"/>
                </a:lnTo>
                <a:lnTo>
                  <a:pt x="5914" y="3390"/>
                </a:lnTo>
                <a:lnTo>
                  <a:pt x="5912" y="3389"/>
                </a:lnTo>
                <a:lnTo>
                  <a:pt x="5909" y="3388"/>
                </a:lnTo>
                <a:lnTo>
                  <a:pt x="5908" y="3387"/>
                </a:lnTo>
                <a:lnTo>
                  <a:pt x="5906" y="3385"/>
                </a:lnTo>
                <a:lnTo>
                  <a:pt x="5904" y="3383"/>
                </a:lnTo>
                <a:lnTo>
                  <a:pt x="5904" y="3378"/>
                </a:lnTo>
                <a:lnTo>
                  <a:pt x="5904" y="3372"/>
                </a:lnTo>
                <a:lnTo>
                  <a:pt x="5907" y="3366"/>
                </a:lnTo>
                <a:lnTo>
                  <a:pt x="5909" y="3361"/>
                </a:lnTo>
                <a:lnTo>
                  <a:pt x="5911" y="3357"/>
                </a:lnTo>
                <a:lnTo>
                  <a:pt x="5914" y="3355"/>
                </a:lnTo>
                <a:lnTo>
                  <a:pt x="5915" y="3354"/>
                </a:lnTo>
                <a:lnTo>
                  <a:pt x="5915" y="3352"/>
                </a:lnTo>
                <a:lnTo>
                  <a:pt x="5916" y="3349"/>
                </a:lnTo>
                <a:lnTo>
                  <a:pt x="5915" y="3347"/>
                </a:lnTo>
                <a:lnTo>
                  <a:pt x="5914" y="3340"/>
                </a:lnTo>
                <a:lnTo>
                  <a:pt x="5912" y="3333"/>
                </a:lnTo>
                <a:lnTo>
                  <a:pt x="5907" y="3317"/>
                </a:lnTo>
                <a:lnTo>
                  <a:pt x="5901" y="3305"/>
                </a:lnTo>
                <a:lnTo>
                  <a:pt x="5901" y="3300"/>
                </a:lnTo>
                <a:lnTo>
                  <a:pt x="5902" y="3292"/>
                </a:lnTo>
                <a:lnTo>
                  <a:pt x="5906" y="3281"/>
                </a:lnTo>
                <a:lnTo>
                  <a:pt x="5908" y="3272"/>
                </a:lnTo>
                <a:lnTo>
                  <a:pt x="5909" y="3263"/>
                </a:lnTo>
                <a:lnTo>
                  <a:pt x="5909" y="3258"/>
                </a:lnTo>
                <a:lnTo>
                  <a:pt x="5907" y="3257"/>
                </a:lnTo>
                <a:lnTo>
                  <a:pt x="5904" y="3258"/>
                </a:lnTo>
                <a:lnTo>
                  <a:pt x="5901" y="3260"/>
                </a:lnTo>
                <a:lnTo>
                  <a:pt x="5896" y="3263"/>
                </a:lnTo>
                <a:lnTo>
                  <a:pt x="5877" y="3281"/>
                </a:lnTo>
                <a:lnTo>
                  <a:pt x="5862" y="3297"/>
                </a:lnTo>
                <a:lnTo>
                  <a:pt x="5858" y="3300"/>
                </a:lnTo>
                <a:lnTo>
                  <a:pt x="5855" y="3302"/>
                </a:lnTo>
                <a:lnTo>
                  <a:pt x="5852" y="3303"/>
                </a:lnTo>
                <a:lnTo>
                  <a:pt x="5849" y="3303"/>
                </a:lnTo>
                <a:lnTo>
                  <a:pt x="5846" y="3303"/>
                </a:lnTo>
                <a:lnTo>
                  <a:pt x="5844" y="3301"/>
                </a:lnTo>
                <a:lnTo>
                  <a:pt x="5841" y="3299"/>
                </a:lnTo>
                <a:lnTo>
                  <a:pt x="5837" y="3295"/>
                </a:lnTo>
                <a:lnTo>
                  <a:pt x="5835" y="3291"/>
                </a:lnTo>
                <a:lnTo>
                  <a:pt x="5834" y="3285"/>
                </a:lnTo>
                <a:lnTo>
                  <a:pt x="5834" y="3281"/>
                </a:lnTo>
                <a:lnTo>
                  <a:pt x="5834" y="3276"/>
                </a:lnTo>
                <a:lnTo>
                  <a:pt x="5836" y="3266"/>
                </a:lnTo>
                <a:lnTo>
                  <a:pt x="5840" y="3255"/>
                </a:lnTo>
                <a:lnTo>
                  <a:pt x="5842" y="3246"/>
                </a:lnTo>
                <a:lnTo>
                  <a:pt x="5844" y="3237"/>
                </a:lnTo>
                <a:lnTo>
                  <a:pt x="5844" y="3234"/>
                </a:lnTo>
                <a:lnTo>
                  <a:pt x="5843" y="3231"/>
                </a:lnTo>
                <a:lnTo>
                  <a:pt x="5842" y="3228"/>
                </a:lnTo>
                <a:lnTo>
                  <a:pt x="5838" y="3227"/>
                </a:lnTo>
                <a:lnTo>
                  <a:pt x="5825" y="3218"/>
                </a:lnTo>
                <a:lnTo>
                  <a:pt x="5809" y="3209"/>
                </a:lnTo>
                <a:lnTo>
                  <a:pt x="5803" y="3204"/>
                </a:lnTo>
                <a:lnTo>
                  <a:pt x="5798" y="3198"/>
                </a:lnTo>
                <a:lnTo>
                  <a:pt x="5793" y="3193"/>
                </a:lnTo>
                <a:lnTo>
                  <a:pt x="5792" y="3189"/>
                </a:lnTo>
                <a:lnTo>
                  <a:pt x="5791" y="3178"/>
                </a:lnTo>
                <a:lnTo>
                  <a:pt x="5789" y="3160"/>
                </a:lnTo>
                <a:lnTo>
                  <a:pt x="5787" y="3151"/>
                </a:lnTo>
                <a:lnTo>
                  <a:pt x="5785" y="3145"/>
                </a:lnTo>
                <a:lnTo>
                  <a:pt x="5783" y="3142"/>
                </a:lnTo>
                <a:lnTo>
                  <a:pt x="5782" y="3140"/>
                </a:lnTo>
                <a:lnTo>
                  <a:pt x="5780" y="3139"/>
                </a:lnTo>
                <a:lnTo>
                  <a:pt x="5779" y="3139"/>
                </a:lnTo>
                <a:lnTo>
                  <a:pt x="5763" y="3139"/>
                </a:lnTo>
                <a:lnTo>
                  <a:pt x="5740" y="3139"/>
                </a:lnTo>
                <a:lnTo>
                  <a:pt x="5728" y="3140"/>
                </a:lnTo>
                <a:lnTo>
                  <a:pt x="5718" y="3141"/>
                </a:lnTo>
                <a:lnTo>
                  <a:pt x="5710" y="3142"/>
                </a:lnTo>
                <a:lnTo>
                  <a:pt x="5705" y="3143"/>
                </a:lnTo>
                <a:lnTo>
                  <a:pt x="5692" y="3154"/>
                </a:lnTo>
                <a:lnTo>
                  <a:pt x="5668" y="3174"/>
                </a:lnTo>
                <a:lnTo>
                  <a:pt x="5641" y="3197"/>
                </a:lnTo>
                <a:lnTo>
                  <a:pt x="5624" y="3215"/>
                </a:lnTo>
                <a:lnTo>
                  <a:pt x="5606" y="3234"/>
                </a:lnTo>
                <a:lnTo>
                  <a:pt x="5582" y="3258"/>
                </a:lnTo>
                <a:lnTo>
                  <a:pt x="5560" y="3281"/>
                </a:lnTo>
                <a:lnTo>
                  <a:pt x="5548" y="3293"/>
                </a:lnTo>
                <a:lnTo>
                  <a:pt x="5543" y="3296"/>
                </a:lnTo>
                <a:lnTo>
                  <a:pt x="5535" y="3299"/>
                </a:lnTo>
                <a:lnTo>
                  <a:pt x="5530" y="3302"/>
                </a:lnTo>
                <a:lnTo>
                  <a:pt x="5527" y="3305"/>
                </a:lnTo>
                <a:lnTo>
                  <a:pt x="5524" y="3312"/>
                </a:lnTo>
                <a:lnTo>
                  <a:pt x="5524" y="3320"/>
                </a:lnTo>
                <a:lnTo>
                  <a:pt x="5524" y="3329"/>
                </a:lnTo>
                <a:lnTo>
                  <a:pt x="5523" y="3338"/>
                </a:lnTo>
                <a:lnTo>
                  <a:pt x="5522" y="3347"/>
                </a:lnTo>
                <a:lnTo>
                  <a:pt x="5521" y="3355"/>
                </a:lnTo>
                <a:lnTo>
                  <a:pt x="5518" y="3368"/>
                </a:lnTo>
                <a:lnTo>
                  <a:pt x="5515" y="3378"/>
                </a:lnTo>
                <a:lnTo>
                  <a:pt x="5514" y="3389"/>
                </a:lnTo>
                <a:lnTo>
                  <a:pt x="5512" y="3407"/>
                </a:lnTo>
                <a:lnTo>
                  <a:pt x="5511" y="3417"/>
                </a:lnTo>
                <a:lnTo>
                  <a:pt x="5508" y="3426"/>
                </a:lnTo>
                <a:lnTo>
                  <a:pt x="5506" y="3430"/>
                </a:lnTo>
                <a:lnTo>
                  <a:pt x="5504" y="3434"/>
                </a:lnTo>
                <a:lnTo>
                  <a:pt x="5502" y="3437"/>
                </a:lnTo>
                <a:lnTo>
                  <a:pt x="5499" y="3439"/>
                </a:lnTo>
                <a:lnTo>
                  <a:pt x="5487" y="3449"/>
                </a:lnTo>
                <a:lnTo>
                  <a:pt x="5478" y="3456"/>
                </a:lnTo>
                <a:lnTo>
                  <a:pt x="5473" y="3458"/>
                </a:lnTo>
                <a:lnTo>
                  <a:pt x="5469" y="3460"/>
                </a:lnTo>
                <a:lnTo>
                  <a:pt x="5464" y="3461"/>
                </a:lnTo>
                <a:lnTo>
                  <a:pt x="5460" y="3460"/>
                </a:lnTo>
                <a:lnTo>
                  <a:pt x="5457" y="3457"/>
                </a:lnTo>
                <a:lnTo>
                  <a:pt x="5453" y="3452"/>
                </a:lnTo>
                <a:lnTo>
                  <a:pt x="5450" y="3445"/>
                </a:lnTo>
                <a:lnTo>
                  <a:pt x="5446" y="3436"/>
                </a:lnTo>
                <a:lnTo>
                  <a:pt x="5438" y="3415"/>
                </a:lnTo>
                <a:lnTo>
                  <a:pt x="5430" y="3393"/>
                </a:lnTo>
                <a:lnTo>
                  <a:pt x="5421" y="3370"/>
                </a:lnTo>
                <a:lnTo>
                  <a:pt x="5413" y="3344"/>
                </a:lnTo>
                <a:lnTo>
                  <a:pt x="5410" y="3333"/>
                </a:lnTo>
                <a:lnTo>
                  <a:pt x="5406" y="3323"/>
                </a:lnTo>
                <a:lnTo>
                  <a:pt x="5402" y="3315"/>
                </a:lnTo>
                <a:lnTo>
                  <a:pt x="5397" y="3310"/>
                </a:lnTo>
                <a:lnTo>
                  <a:pt x="5389" y="3303"/>
                </a:lnTo>
                <a:lnTo>
                  <a:pt x="5381" y="3297"/>
                </a:lnTo>
                <a:lnTo>
                  <a:pt x="5377" y="3294"/>
                </a:lnTo>
                <a:lnTo>
                  <a:pt x="5375" y="3291"/>
                </a:lnTo>
                <a:lnTo>
                  <a:pt x="5373" y="3286"/>
                </a:lnTo>
                <a:lnTo>
                  <a:pt x="5372" y="3281"/>
                </a:lnTo>
                <a:lnTo>
                  <a:pt x="5370" y="3262"/>
                </a:lnTo>
                <a:lnTo>
                  <a:pt x="5366" y="3236"/>
                </a:lnTo>
                <a:lnTo>
                  <a:pt x="5362" y="3212"/>
                </a:lnTo>
                <a:lnTo>
                  <a:pt x="5360" y="3197"/>
                </a:lnTo>
                <a:lnTo>
                  <a:pt x="5361" y="3188"/>
                </a:lnTo>
                <a:lnTo>
                  <a:pt x="5363" y="3173"/>
                </a:lnTo>
                <a:lnTo>
                  <a:pt x="5364" y="3166"/>
                </a:lnTo>
                <a:lnTo>
                  <a:pt x="5363" y="3161"/>
                </a:lnTo>
                <a:lnTo>
                  <a:pt x="5363" y="3159"/>
                </a:lnTo>
                <a:lnTo>
                  <a:pt x="5362" y="3157"/>
                </a:lnTo>
                <a:lnTo>
                  <a:pt x="5361" y="3157"/>
                </a:lnTo>
                <a:lnTo>
                  <a:pt x="5360" y="3157"/>
                </a:lnTo>
                <a:lnTo>
                  <a:pt x="5348" y="3159"/>
                </a:lnTo>
                <a:lnTo>
                  <a:pt x="5330" y="3161"/>
                </a:lnTo>
                <a:lnTo>
                  <a:pt x="5314" y="3161"/>
                </a:lnTo>
                <a:lnTo>
                  <a:pt x="5306" y="3161"/>
                </a:lnTo>
                <a:lnTo>
                  <a:pt x="5302" y="3156"/>
                </a:lnTo>
                <a:lnTo>
                  <a:pt x="5293" y="3143"/>
                </a:lnTo>
                <a:lnTo>
                  <a:pt x="5282" y="3129"/>
                </a:lnTo>
                <a:lnTo>
                  <a:pt x="5276" y="3120"/>
                </a:lnTo>
                <a:lnTo>
                  <a:pt x="5273" y="3115"/>
                </a:lnTo>
                <a:lnTo>
                  <a:pt x="5265" y="3107"/>
                </a:lnTo>
                <a:lnTo>
                  <a:pt x="5256" y="3099"/>
                </a:lnTo>
                <a:lnTo>
                  <a:pt x="5244" y="3088"/>
                </a:lnTo>
                <a:lnTo>
                  <a:pt x="5233" y="3079"/>
                </a:lnTo>
                <a:lnTo>
                  <a:pt x="5220" y="3071"/>
                </a:lnTo>
                <a:lnTo>
                  <a:pt x="5215" y="3067"/>
                </a:lnTo>
                <a:lnTo>
                  <a:pt x="5209" y="3065"/>
                </a:lnTo>
                <a:lnTo>
                  <a:pt x="5205" y="3063"/>
                </a:lnTo>
                <a:lnTo>
                  <a:pt x="5199" y="3062"/>
                </a:lnTo>
                <a:lnTo>
                  <a:pt x="5191" y="3062"/>
                </a:lnTo>
                <a:lnTo>
                  <a:pt x="5179" y="3063"/>
                </a:lnTo>
                <a:lnTo>
                  <a:pt x="5168" y="3064"/>
                </a:lnTo>
                <a:lnTo>
                  <a:pt x="5156" y="3066"/>
                </a:lnTo>
                <a:lnTo>
                  <a:pt x="5145" y="3069"/>
                </a:lnTo>
                <a:lnTo>
                  <a:pt x="5134" y="3070"/>
                </a:lnTo>
                <a:lnTo>
                  <a:pt x="5127" y="3070"/>
                </a:lnTo>
                <a:lnTo>
                  <a:pt x="5122" y="3070"/>
                </a:lnTo>
                <a:lnTo>
                  <a:pt x="5106" y="3067"/>
                </a:lnTo>
                <a:lnTo>
                  <a:pt x="5078" y="3066"/>
                </a:lnTo>
                <a:lnTo>
                  <a:pt x="5062" y="3065"/>
                </a:lnTo>
                <a:lnTo>
                  <a:pt x="5048" y="3063"/>
                </a:lnTo>
                <a:lnTo>
                  <a:pt x="5043" y="3062"/>
                </a:lnTo>
                <a:lnTo>
                  <a:pt x="5039" y="3061"/>
                </a:lnTo>
                <a:lnTo>
                  <a:pt x="5035" y="3059"/>
                </a:lnTo>
                <a:lnTo>
                  <a:pt x="5033" y="3057"/>
                </a:lnTo>
                <a:lnTo>
                  <a:pt x="5023" y="3045"/>
                </a:lnTo>
                <a:lnTo>
                  <a:pt x="5012" y="3032"/>
                </a:lnTo>
                <a:lnTo>
                  <a:pt x="5006" y="3026"/>
                </a:lnTo>
                <a:lnTo>
                  <a:pt x="5000" y="3021"/>
                </a:lnTo>
                <a:lnTo>
                  <a:pt x="4998" y="3019"/>
                </a:lnTo>
                <a:lnTo>
                  <a:pt x="4996" y="3018"/>
                </a:lnTo>
                <a:lnTo>
                  <a:pt x="4994" y="3018"/>
                </a:lnTo>
                <a:lnTo>
                  <a:pt x="4993" y="3019"/>
                </a:lnTo>
                <a:lnTo>
                  <a:pt x="4987" y="3025"/>
                </a:lnTo>
                <a:lnTo>
                  <a:pt x="4979" y="3030"/>
                </a:lnTo>
                <a:lnTo>
                  <a:pt x="4975" y="3031"/>
                </a:lnTo>
                <a:lnTo>
                  <a:pt x="4971" y="3032"/>
                </a:lnTo>
                <a:lnTo>
                  <a:pt x="4966" y="3031"/>
                </a:lnTo>
                <a:lnTo>
                  <a:pt x="4960" y="3029"/>
                </a:lnTo>
                <a:lnTo>
                  <a:pt x="4938" y="3014"/>
                </a:lnTo>
                <a:lnTo>
                  <a:pt x="4902" y="2989"/>
                </a:lnTo>
                <a:lnTo>
                  <a:pt x="4866" y="2965"/>
                </a:lnTo>
                <a:lnTo>
                  <a:pt x="4848" y="2951"/>
                </a:lnTo>
                <a:lnTo>
                  <a:pt x="4842" y="2947"/>
                </a:lnTo>
                <a:lnTo>
                  <a:pt x="4835" y="2944"/>
                </a:lnTo>
                <a:lnTo>
                  <a:pt x="4831" y="2943"/>
                </a:lnTo>
                <a:lnTo>
                  <a:pt x="4827" y="2942"/>
                </a:lnTo>
                <a:lnTo>
                  <a:pt x="4824" y="2942"/>
                </a:lnTo>
                <a:lnTo>
                  <a:pt x="4822" y="2943"/>
                </a:lnTo>
                <a:lnTo>
                  <a:pt x="4819" y="2946"/>
                </a:lnTo>
                <a:lnTo>
                  <a:pt x="4818" y="2950"/>
                </a:lnTo>
                <a:lnTo>
                  <a:pt x="4818" y="2954"/>
                </a:lnTo>
                <a:lnTo>
                  <a:pt x="4819" y="2959"/>
                </a:lnTo>
                <a:lnTo>
                  <a:pt x="4826" y="2969"/>
                </a:lnTo>
                <a:lnTo>
                  <a:pt x="4834" y="2983"/>
                </a:lnTo>
                <a:lnTo>
                  <a:pt x="4840" y="2992"/>
                </a:lnTo>
                <a:lnTo>
                  <a:pt x="4850" y="3008"/>
                </a:lnTo>
                <a:lnTo>
                  <a:pt x="4861" y="3023"/>
                </a:lnTo>
                <a:lnTo>
                  <a:pt x="4868" y="3033"/>
                </a:lnTo>
                <a:lnTo>
                  <a:pt x="4870" y="3035"/>
                </a:lnTo>
                <a:lnTo>
                  <a:pt x="4875" y="3035"/>
                </a:lnTo>
                <a:lnTo>
                  <a:pt x="4878" y="3035"/>
                </a:lnTo>
                <a:lnTo>
                  <a:pt x="4882" y="3035"/>
                </a:lnTo>
                <a:lnTo>
                  <a:pt x="4886" y="3035"/>
                </a:lnTo>
                <a:lnTo>
                  <a:pt x="4890" y="3036"/>
                </a:lnTo>
                <a:lnTo>
                  <a:pt x="4893" y="3038"/>
                </a:lnTo>
                <a:lnTo>
                  <a:pt x="4897" y="3042"/>
                </a:lnTo>
                <a:lnTo>
                  <a:pt x="4898" y="3048"/>
                </a:lnTo>
                <a:lnTo>
                  <a:pt x="4898" y="3053"/>
                </a:lnTo>
                <a:lnTo>
                  <a:pt x="4898" y="3058"/>
                </a:lnTo>
                <a:lnTo>
                  <a:pt x="4897" y="3063"/>
                </a:lnTo>
                <a:lnTo>
                  <a:pt x="4895" y="3069"/>
                </a:lnTo>
                <a:lnTo>
                  <a:pt x="4895" y="3073"/>
                </a:lnTo>
                <a:lnTo>
                  <a:pt x="4898" y="3078"/>
                </a:lnTo>
                <a:lnTo>
                  <a:pt x="4901" y="3083"/>
                </a:lnTo>
                <a:lnTo>
                  <a:pt x="4905" y="3087"/>
                </a:lnTo>
                <a:lnTo>
                  <a:pt x="4908" y="3088"/>
                </a:lnTo>
                <a:lnTo>
                  <a:pt x="4912" y="3088"/>
                </a:lnTo>
                <a:lnTo>
                  <a:pt x="4915" y="3087"/>
                </a:lnTo>
                <a:lnTo>
                  <a:pt x="4919" y="3085"/>
                </a:lnTo>
                <a:lnTo>
                  <a:pt x="4922" y="3083"/>
                </a:lnTo>
                <a:lnTo>
                  <a:pt x="4925" y="3081"/>
                </a:lnTo>
                <a:lnTo>
                  <a:pt x="4929" y="3081"/>
                </a:lnTo>
                <a:lnTo>
                  <a:pt x="4937" y="3080"/>
                </a:lnTo>
                <a:lnTo>
                  <a:pt x="4948" y="3078"/>
                </a:lnTo>
                <a:lnTo>
                  <a:pt x="4956" y="3075"/>
                </a:lnTo>
                <a:lnTo>
                  <a:pt x="4963" y="3071"/>
                </a:lnTo>
                <a:lnTo>
                  <a:pt x="4969" y="3063"/>
                </a:lnTo>
                <a:lnTo>
                  <a:pt x="4977" y="3053"/>
                </a:lnTo>
                <a:lnTo>
                  <a:pt x="4982" y="3048"/>
                </a:lnTo>
                <a:lnTo>
                  <a:pt x="4987" y="3043"/>
                </a:lnTo>
                <a:lnTo>
                  <a:pt x="4989" y="3042"/>
                </a:lnTo>
                <a:lnTo>
                  <a:pt x="4991" y="3041"/>
                </a:lnTo>
                <a:lnTo>
                  <a:pt x="4993" y="3041"/>
                </a:lnTo>
                <a:lnTo>
                  <a:pt x="4994" y="3042"/>
                </a:lnTo>
                <a:lnTo>
                  <a:pt x="4999" y="3045"/>
                </a:lnTo>
                <a:lnTo>
                  <a:pt x="5003" y="3048"/>
                </a:lnTo>
                <a:lnTo>
                  <a:pt x="5006" y="3050"/>
                </a:lnTo>
                <a:lnTo>
                  <a:pt x="5008" y="3052"/>
                </a:lnTo>
                <a:lnTo>
                  <a:pt x="5009" y="3054"/>
                </a:lnTo>
                <a:lnTo>
                  <a:pt x="5010" y="3058"/>
                </a:lnTo>
                <a:lnTo>
                  <a:pt x="5012" y="3066"/>
                </a:lnTo>
                <a:lnTo>
                  <a:pt x="5013" y="3074"/>
                </a:lnTo>
                <a:lnTo>
                  <a:pt x="5014" y="3079"/>
                </a:lnTo>
                <a:lnTo>
                  <a:pt x="5016" y="3081"/>
                </a:lnTo>
                <a:lnTo>
                  <a:pt x="5022" y="3083"/>
                </a:lnTo>
                <a:lnTo>
                  <a:pt x="5034" y="3088"/>
                </a:lnTo>
                <a:lnTo>
                  <a:pt x="5046" y="3095"/>
                </a:lnTo>
                <a:lnTo>
                  <a:pt x="5056" y="3101"/>
                </a:lnTo>
                <a:lnTo>
                  <a:pt x="5064" y="3106"/>
                </a:lnTo>
                <a:lnTo>
                  <a:pt x="5072" y="3112"/>
                </a:lnTo>
                <a:lnTo>
                  <a:pt x="5076" y="3114"/>
                </a:lnTo>
                <a:lnTo>
                  <a:pt x="5078" y="3116"/>
                </a:lnTo>
                <a:lnTo>
                  <a:pt x="5080" y="3118"/>
                </a:lnTo>
                <a:lnTo>
                  <a:pt x="5082" y="3120"/>
                </a:lnTo>
                <a:lnTo>
                  <a:pt x="5081" y="3125"/>
                </a:lnTo>
                <a:lnTo>
                  <a:pt x="5080" y="3132"/>
                </a:lnTo>
                <a:lnTo>
                  <a:pt x="5077" y="3143"/>
                </a:lnTo>
                <a:lnTo>
                  <a:pt x="5073" y="3154"/>
                </a:lnTo>
                <a:lnTo>
                  <a:pt x="5068" y="3165"/>
                </a:lnTo>
                <a:lnTo>
                  <a:pt x="5064" y="3174"/>
                </a:lnTo>
                <a:lnTo>
                  <a:pt x="5062" y="3179"/>
                </a:lnTo>
                <a:lnTo>
                  <a:pt x="5060" y="3181"/>
                </a:lnTo>
                <a:lnTo>
                  <a:pt x="5058" y="3183"/>
                </a:lnTo>
                <a:lnTo>
                  <a:pt x="5056" y="3184"/>
                </a:lnTo>
                <a:lnTo>
                  <a:pt x="5048" y="3183"/>
                </a:lnTo>
                <a:lnTo>
                  <a:pt x="5039" y="3182"/>
                </a:lnTo>
                <a:lnTo>
                  <a:pt x="5035" y="3182"/>
                </a:lnTo>
                <a:lnTo>
                  <a:pt x="5032" y="3183"/>
                </a:lnTo>
                <a:lnTo>
                  <a:pt x="5031" y="3184"/>
                </a:lnTo>
                <a:lnTo>
                  <a:pt x="5031" y="3185"/>
                </a:lnTo>
                <a:lnTo>
                  <a:pt x="5030" y="3187"/>
                </a:lnTo>
                <a:lnTo>
                  <a:pt x="5031" y="3188"/>
                </a:lnTo>
                <a:lnTo>
                  <a:pt x="5035" y="3196"/>
                </a:lnTo>
                <a:lnTo>
                  <a:pt x="5039" y="3203"/>
                </a:lnTo>
                <a:lnTo>
                  <a:pt x="5040" y="3206"/>
                </a:lnTo>
                <a:lnTo>
                  <a:pt x="5040" y="3208"/>
                </a:lnTo>
                <a:lnTo>
                  <a:pt x="5039" y="3211"/>
                </a:lnTo>
                <a:lnTo>
                  <a:pt x="5036" y="3214"/>
                </a:lnTo>
                <a:lnTo>
                  <a:pt x="5026" y="3220"/>
                </a:lnTo>
                <a:lnTo>
                  <a:pt x="5015" y="3226"/>
                </a:lnTo>
                <a:lnTo>
                  <a:pt x="5010" y="3229"/>
                </a:lnTo>
                <a:lnTo>
                  <a:pt x="5004" y="3232"/>
                </a:lnTo>
                <a:lnTo>
                  <a:pt x="4999" y="3236"/>
                </a:lnTo>
                <a:lnTo>
                  <a:pt x="4996" y="3239"/>
                </a:lnTo>
                <a:lnTo>
                  <a:pt x="4991" y="3244"/>
                </a:lnTo>
                <a:lnTo>
                  <a:pt x="4984" y="3249"/>
                </a:lnTo>
                <a:lnTo>
                  <a:pt x="4974" y="3253"/>
                </a:lnTo>
                <a:lnTo>
                  <a:pt x="4963" y="3258"/>
                </a:lnTo>
                <a:lnTo>
                  <a:pt x="4950" y="3263"/>
                </a:lnTo>
                <a:lnTo>
                  <a:pt x="4936" y="3271"/>
                </a:lnTo>
                <a:lnTo>
                  <a:pt x="4923" y="3278"/>
                </a:lnTo>
                <a:lnTo>
                  <a:pt x="4908" y="3285"/>
                </a:lnTo>
                <a:lnTo>
                  <a:pt x="4877" y="3304"/>
                </a:lnTo>
                <a:lnTo>
                  <a:pt x="4843" y="3322"/>
                </a:lnTo>
                <a:lnTo>
                  <a:pt x="4814" y="3335"/>
                </a:lnTo>
                <a:lnTo>
                  <a:pt x="4798" y="3341"/>
                </a:lnTo>
                <a:lnTo>
                  <a:pt x="4784" y="3345"/>
                </a:lnTo>
                <a:lnTo>
                  <a:pt x="4763" y="3349"/>
                </a:lnTo>
                <a:lnTo>
                  <a:pt x="4752" y="3350"/>
                </a:lnTo>
                <a:lnTo>
                  <a:pt x="4743" y="3350"/>
                </a:lnTo>
                <a:lnTo>
                  <a:pt x="4738" y="3349"/>
                </a:lnTo>
                <a:lnTo>
                  <a:pt x="4735" y="3347"/>
                </a:lnTo>
                <a:lnTo>
                  <a:pt x="4732" y="3345"/>
                </a:lnTo>
                <a:lnTo>
                  <a:pt x="4731" y="3343"/>
                </a:lnTo>
                <a:lnTo>
                  <a:pt x="4722" y="3322"/>
                </a:lnTo>
                <a:lnTo>
                  <a:pt x="4709" y="3294"/>
                </a:lnTo>
                <a:lnTo>
                  <a:pt x="4696" y="3268"/>
                </a:lnTo>
                <a:lnTo>
                  <a:pt x="4691" y="3257"/>
                </a:lnTo>
                <a:lnTo>
                  <a:pt x="4681" y="3248"/>
                </a:lnTo>
                <a:lnTo>
                  <a:pt x="4657" y="3225"/>
                </a:lnTo>
                <a:lnTo>
                  <a:pt x="4645" y="3211"/>
                </a:lnTo>
                <a:lnTo>
                  <a:pt x="4635" y="3197"/>
                </a:lnTo>
                <a:lnTo>
                  <a:pt x="4630" y="3191"/>
                </a:lnTo>
                <a:lnTo>
                  <a:pt x="4627" y="3185"/>
                </a:lnTo>
                <a:lnTo>
                  <a:pt x="4626" y="3180"/>
                </a:lnTo>
                <a:lnTo>
                  <a:pt x="4626" y="3174"/>
                </a:lnTo>
                <a:lnTo>
                  <a:pt x="4627" y="3165"/>
                </a:lnTo>
                <a:lnTo>
                  <a:pt x="4628" y="3157"/>
                </a:lnTo>
                <a:lnTo>
                  <a:pt x="4628" y="3148"/>
                </a:lnTo>
                <a:lnTo>
                  <a:pt x="4627" y="3140"/>
                </a:lnTo>
                <a:lnTo>
                  <a:pt x="4625" y="3132"/>
                </a:lnTo>
                <a:lnTo>
                  <a:pt x="4623" y="3125"/>
                </a:lnTo>
                <a:lnTo>
                  <a:pt x="4619" y="3119"/>
                </a:lnTo>
                <a:lnTo>
                  <a:pt x="4614" y="3113"/>
                </a:lnTo>
                <a:lnTo>
                  <a:pt x="4606" y="3105"/>
                </a:lnTo>
                <a:lnTo>
                  <a:pt x="4598" y="3093"/>
                </a:lnTo>
                <a:lnTo>
                  <a:pt x="4589" y="3078"/>
                </a:lnTo>
                <a:lnTo>
                  <a:pt x="4579" y="3061"/>
                </a:lnTo>
                <a:lnTo>
                  <a:pt x="4561" y="3030"/>
                </a:lnTo>
                <a:lnTo>
                  <a:pt x="4552" y="3012"/>
                </a:lnTo>
                <a:lnTo>
                  <a:pt x="4547" y="2999"/>
                </a:lnTo>
                <a:lnTo>
                  <a:pt x="4541" y="2982"/>
                </a:lnTo>
                <a:lnTo>
                  <a:pt x="4536" y="2963"/>
                </a:lnTo>
                <a:lnTo>
                  <a:pt x="4531" y="2950"/>
                </a:lnTo>
                <a:lnTo>
                  <a:pt x="4530" y="2949"/>
                </a:lnTo>
                <a:lnTo>
                  <a:pt x="4529" y="2949"/>
                </a:lnTo>
                <a:lnTo>
                  <a:pt x="4528" y="2949"/>
                </a:lnTo>
                <a:lnTo>
                  <a:pt x="4528" y="2950"/>
                </a:lnTo>
                <a:lnTo>
                  <a:pt x="4526" y="2954"/>
                </a:lnTo>
                <a:lnTo>
                  <a:pt x="4525" y="2960"/>
                </a:lnTo>
                <a:lnTo>
                  <a:pt x="4524" y="2973"/>
                </a:lnTo>
                <a:lnTo>
                  <a:pt x="4524" y="2983"/>
                </a:lnTo>
                <a:lnTo>
                  <a:pt x="4522" y="2986"/>
                </a:lnTo>
                <a:lnTo>
                  <a:pt x="4521" y="2987"/>
                </a:lnTo>
                <a:lnTo>
                  <a:pt x="4519" y="2987"/>
                </a:lnTo>
                <a:lnTo>
                  <a:pt x="4516" y="2986"/>
                </a:lnTo>
                <a:lnTo>
                  <a:pt x="4511" y="2983"/>
                </a:lnTo>
                <a:lnTo>
                  <a:pt x="4506" y="2977"/>
                </a:lnTo>
                <a:lnTo>
                  <a:pt x="4502" y="2971"/>
                </a:lnTo>
                <a:lnTo>
                  <a:pt x="4494" y="2964"/>
                </a:lnTo>
                <a:lnTo>
                  <a:pt x="4489" y="2959"/>
                </a:lnTo>
                <a:lnTo>
                  <a:pt x="4486" y="2957"/>
                </a:lnTo>
                <a:lnTo>
                  <a:pt x="4493" y="2972"/>
                </a:lnTo>
                <a:lnTo>
                  <a:pt x="4503" y="2987"/>
                </a:lnTo>
                <a:lnTo>
                  <a:pt x="4505" y="2990"/>
                </a:lnTo>
                <a:lnTo>
                  <a:pt x="4508" y="2993"/>
                </a:lnTo>
                <a:lnTo>
                  <a:pt x="4511" y="2998"/>
                </a:lnTo>
                <a:lnTo>
                  <a:pt x="4514" y="3006"/>
                </a:lnTo>
                <a:lnTo>
                  <a:pt x="4518" y="3017"/>
                </a:lnTo>
                <a:lnTo>
                  <a:pt x="4522" y="3031"/>
                </a:lnTo>
                <a:lnTo>
                  <a:pt x="4528" y="3043"/>
                </a:lnTo>
                <a:lnTo>
                  <a:pt x="4532" y="3053"/>
                </a:lnTo>
                <a:lnTo>
                  <a:pt x="4538" y="3066"/>
                </a:lnTo>
                <a:lnTo>
                  <a:pt x="4548" y="3088"/>
                </a:lnTo>
                <a:lnTo>
                  <a:pt x="4557" y="3109"/>
                </a:lnTo>
                <a:lnTo>
                  <a:pt x="4562" y="3119"/>
                </a:lnTo>
                <a:lnTo>
                  <a:pt x="4564" y="3125"/>
                </a:lnTo>
                <a:lnTo>
                  <a:pt x="4569" y="3136"/>
                </a:lnTo>
                <a:lnTo>
                  <a:pt x="4573" y="3150"/>
                </a:lnTo>
                <a:lnTo>
                  <a:pt x="4577" y="3165"/>
                </a:lnTo>
                <a:lnTo>
                  <a:pt x="4583" y="3183"/>
                </a:lnTo>
                <a:lnTo>
                  <a:pt x="4592" y="3204"/>
                </a:lnTo>
                <a:lnTo>
                  <a:pt x="4600" y="3224"/>
                </a:lnTo>
                <a:lnTo>
                  <a:pt x="4607" y="3235"/>
                </a:lnTo>
                <a:lnTo>
                  <a:pt x="4619" y="3242"/>
                </a:lnTo>
                <a:lnTo>
                  <a:pt x="4639" y="3253"/>
                </a:lnTo>
                <a:lnTo>
                  <a:pt x="4648" y="3258"/>
                </a:lnTo>
                <a:lnTo>
                  <a:pt x="4657" y="3263"/>
                </a:lnTo>
                <a:lnTo>
                  <a:pt x="4660" y="3266"/>
                </a:lnTo>
                <a:lnTo>
                  <a:pt x="4662" y="3269"/>
                </a:lnTo>
                <a:lnTo>
                  <a:pt x="4663" y="3271"/>
                </a:lnTo>
                <a:lnTo>
                  <a:pt x="4664" y="3273"/>
                </a:lnTo>
                <a:lnTo>
                  <a:pt x="4662" y="3280"/>
                </a:lnTo>
                <a:lnTo>
                  <a:pt x="4661" y="3289"/>
                </a:lnTo>
                <a:lnTo>
                  <a:pt x="4662" y="3293"/>
                </a:lnTo>
                <a:lnTo>
                  <a:pt x="4663" y="3297"/>
                </a:lnTo>
                <a:lnTo>
                  <a:pt x="4665" y="3300"/>
                </a:lnTo>
                <a:lnTo>
                  <a:pt x="4668" y="3303"/>
                </a:lnTo>
                <a:lnTo>
                  <a:pt x="4672" y="3307"/>
                </a:lnTo>
                <a:lnTo>
                  <a:pt x="4677" y="3313"/>
                </a:lnTo>
                <a:lnTo>
                  <a:pt x="4680" y="3320"/>
                </a:lnTo>
                <a:lnTo>
                  <a:pt x="4684" y="3327"/>
                </a:lnTo>
                <a:lnTo>
                  <a:pt x="4690" y="3344"/>
                </a:lnTo>
                <a:lnTo>
                  <a:pt x="4696" y="3358"/>
                </a:lnTo>
                <a:lnTo>
                  <a:pt x="4703" y="3369"/>
                </a:lnTo>
                <a:lnTo>
                  <a:pt x="4710" y="3381"/>
                </a:lnTo>
                <a:lnTo>
                  <a:pt x="4715" y="3386"/>
                </a:lnTo>
                <a:lnTo>
                  <a:pt x="4721" y="3389"/>
                </a:lnTo>
                <a:lnTo>
                  <a:pt x="4728" y="3390"/>
                </a:lnTo>
                <a:lnTo>
                  <a:pt x="4735" y="3390"/>
                </a:lnTo>
                <a:lnTo>
                  <a:pt x="4749" y="3388"/>
                </a:lnTo>
                <a:lnTo>
                  <a:pt x="4772" y="3384"/>
                </a:lnTo>
                <a:lnTo>
                  <a:pt x="4799" y="3379"/>
                </a:lnTo>
                <a:lnTo>
                  <a:pt x="4829" y="3374"/>
                </a:lnTo>
                <a:lnTo>
                  <a:pt x="4858" y="3370"/>
                </a:lnTo>
                <a:lnTo>
                  <a:pt x="4881" y="3369"/>
                </a:lnTo>
                <a:lnTo>
                  <a:pt x="4890" y="3370"/>
                </a:lnTo>
                <a:lnTo>
                  <a:pt x="4897" y="3371"/>
                </a:lnTo>
                <a:lnTo>
                  <a:pt x="4899" y="3372"/>
                </a:lnTo>
                <a:lnTo>
                  <a:pt x="4900" y="3374"/>
                </a:lnTo>
                <a:lnTo>
                  <a:pt x="4901" y="3377"/>
                </a:lnTo>
                <a:lnTo>
                  <a:pt x="4901" y="3379"/>
                </a:lnTo>
                <a:lnTo>
                  <a:pt x="4891" y="3407"/>
                </a:lnTo>
                <a:lnTo>
                  <a:pt x="4877" y="3447"/>
                </a:lnTo>
                <a:lnTo>
                  <a:pt x="4868" y="3468"/>
                </a:lnTo>
                <a:lnTo>
                  <a:pt x="4860" y="3487"/>
                </a:lnTo>
                <a:lnTo>
                  <a:pt x="4853" y="3502"/>
                </a:lnTo>
                <a:lnTo>
                  <a:pt x="4845" y="3513"/>
                </a:lnTo>
                <a:lnTo>
                  <a:pt x="4826" y="3531"/>
                </a:lnTo>
                <a:lnTo>
                  <a:pt x="4802" y="3552"/>
                </a:lnTo>
                <a:lnTo>
                  <a:pt x="4776" y="3574"/>
                </a:lnTo>
                <a:lnTo>
                  <a:pt x="4755" y="3593"/>
                </a:lnTo>
                <a:lnTo>
                  <a:pt x="4729" y="3620"/>
                </a:lnTo>
                <a:lnTo>
                  <a:pt x="4693" y="3656"/>
                </a:lnTo>
                <a:lnTo>
                  <a:pt x="4675" y="3675"/>
                </a:lnTo>
                <a:lnTo>
                  <a:pt x="4660" y="3693"/>
                </a:lnTo>
                <a:lnTo>
                  <a:pt x="4647" y="3708"/>
                </a:lnTo>
                <a:lnTo>
                  <a:pt x="4640" y="3719"/>
                </a:lnTo>
                <a:lnTo>
                  <a:pt x="4638" y="3723"/>
                </a:lnTo>
                <a:lnTo>
                  <a:pt x="4637" y="3728"/>
                </a:lnTo>
                <a:lnTo>
                  <a:pt x="4636" y="3733"/>
                </a:lnTo>
                <a:lnTo>
                  <a:pt x="4636" y="3737"/>
                </a:lnTo>
                <a:lnTo>
                  <a:pt x="4636" y="3747"/>
                </a:lnTo>
                <a:lnTo>
                  <a:pt x="4637" y="3757"/>
                </a:lnTo>
                <a:lnTo>
                  <a:pt x="4638" y="3766"/>
                </a:lnTo>
                <a:lnTo>
                  <a:pt x="4639" y="3776"/>
                </a:lnTo>
                <a:lnTo>
                  <a:pt x="4640" y="3784"/>
                </a:lnTo>
                <a:lnTo>
                  <a:pt x="4639" y="3793"/>
                </a:lnTo>
                <a:lnTo>
                  <a:pt x="4636" y="3804"/>
                </a:lnTo>
                <a:lnTo>
                  <a:pt x="4634" y="3813"/>
                </a:lnTo>
                <a:lnTo>
                  <a:pt x="4633" y="3818"/>
                </a:lnTo>
                <a:lnTo>
                  <a:pt x="4633" y="3820"/>
                </a:lnTo>
                <a:lnTo>
                  <a:pt x="4634" y="3823"/>
                </a:lnTo>
                <a:lnTo>
                  <a:pt x="4635" y="3825"/>
                </a:lnTo>
                <a:lnTo>
                  <a:pt x="4640" y="3834"/>
                </a:lnTo>
                <a:lnTo>
                  <a:pt x="4649" y="3851"/>
                </a:lnTo>
                <a:lnTo>
                  <a:pt x="4655" y="3861"/>
                </a:lnTo>
                <a:lnTo>
                  <a:pt x="4658" y="3870"/>
                </a:lnTo>
                <a:lnTo>
                  <a:pt x="4661" y="3878"/>
                </a:lnTo>
                <a:lnTo>
                  <a:pt x="4661" y="3886"/>
                </a:lnTo>
                <a:lnTo>
                  <a:pt x="4659" y="3911"/>
                </a:lnTo>
                <a:lnTo>
                  <a:pt x="4652" y="3950"/>
                </a:lnTo>
                <a:lnTo>
                  <a:pt x="4648" y="3969"/>
                </a:lnTo>
                <a:lnTo>
                  <a:pt x="4644" y="3985"/>
                </a:lnTo>
                <a:lnTo>
                  <a:pt x="4641" y="3998"/>
                </a:lnTo>
                <a:lnTo>
                  <a:pt x="4637" y="4005"/>
                </a:lnTo>
                <a:lnTo>
                  <a:pt x="4622" y="4016"/>
                </a:lnTo>
                <a:lnTo>
                  <a:pt x="4597" y="4032"/>
                </a:lnTo>
                <a:lnTo>
                  <a:pt x="4584" y="4042"/>
                </a:lnTo>
                <a:lnTo>
                  <a:pt x="4573" y="4050"/>
                </a:lnTo>
                <a:lnTo>
                  <a:pt x="4563" y="4058"/>
                </a:lnTo>
                <a:lnTo>
                  <a:pt x="4558" y="4063"/>
                </a:lnTo>
                <a:lnTo>
                  <a:pt x="4550" y="4072"/>
                </a:lnTo>
                <a:lnTo>
                  <a:pt x="4539" y="4081"/>
                </a:lnTo>
                <a:lnTo>
                  <a:pt x="4535" y="4086"/>
                </a:lnTo>
                <a:lnTo>
                  <a:pt x="4531" y="4090"/>
                </a:lnTo>
                <a:lnTo>
                  <a:pt x="4529" y="4095"/>
                </a:lnTo>
                <a:lnTo>
                  <a:pt x="4529" y="4101"/>
                </a:lnTo>
                <a:lnTo>
                  <a:pt x="4531" y="4105"/>
                </a:lnTo>
                <a:lnTo>
                  <a:pt x="4534" y="4109"/>
                </a:lnTo>
                <a:lnTo>
                  <a:pt x="4537" y="4112"/>
                </a:lnTo>
                <a:lnTo>
                  <a:pt x="4540" y="4115"/>
                </a:lnTo>
                <a:lnTo>
                  <a:pt x="4543" y="4119"/>
                </a:lnTo>
                <a:lnTo>
                  <a:pt x="4547" y="4123"/>
                </a:lnTo>
                <a:lnTo>
                  <a:pt x="4548" y="4127"/>
                </a:lnTo>
                <a:lnTo>
                  <a:pt x="4548" y="4132"/>
                </a:lnTo>
                <a:lnTo>
                  <a:pt x="4544" y="4149"/>
                </a:lnTo>
                <a:lnTo>
                  <a:pt x="4538" y="4172"/>
                </a:lnTo>
                <a:lnTo>
                  <a:pt x="4535" y="4183"/>
                </a:lnTo>
                <a:lnTo>
                  <a:pt x="4532" y="4194"/>
                </a:lnTo>
                <a:lnTo>
                  <a:pt x="4528" y="4201"/>
                </a:lnTo>
                <a:lnTo>
                  <a:pt x="4524" y="4205"/>
                </a:lnTo>
                <a:lnTo>
                  <a:pt x="4515" y="4211"/>
                </a:lnTo>
                <a:lnTo>
                  <a:pt x="4505" y="4216"/>
                </a:lnTo>
                <a:lnTo>
                  <a:pt x="4499" y="4219"/>
                </a:lnTo>
                <a:lnTo>
                  <a:pt x="4495" y="4222"/>
                </a:lnTo>
                <a:lnTo>
                  <a:pt x="4493" y="4226"/>
                </a:lnTo>
                <a:lnTo>
                  <a:pt x="4492" y="4232"/>
                </a:lnTo>
                <a:lnTo>
                  <a:pt x="4492" y="4241"/>
                </a:lnTo>
                <a:lnTo>
                  <a:pt x="4491" y="4249"/>
                </a:lnTo>
                <a:lnTo>
                  <a:pt x="4489" y="4258"/>
                </a:lnTo>
                <a:lnTo>
                  <a:pt x="4485" y="4266"/>
                </a:lnTo>
                <a:lnTo>
                  <a:pt x="4480" y="4275"/>
                </a:lnTo>
                <a:lnTo>
                  <a:pt x="4474" y="4283"/>
                </a:lnTo>
                <a:lnTo>
                  <a:pt x="4468" y="4292"/>
                </a:lnTo>
                <a:lnTo>
                  <a:pt x="4460" y="4305"/>
                </a:lnTo>
                <a:lnTo>
                  <a:pt x="4450" y="4322"/>
                </a:lnTo>
                <a:lnTo>
                  <a:pt x="4441" y="4339"/>
                </a:lnTo>
                <a:lnTo>
                  <a:pt x="4431" y="4355"/>
                </a:lnTo>
                <a:lnTo>
                  <a:pt x="4423" y="4369"/>
                </a:lnTo>
                <a:lnTo>
                  <a:pt x="4419" y="4375"/>
                </a:lnTo>
                <a:lnTo>
                  <a:pt x="4411" y="4383"/>
                </a:lnTo>
                <a:lnTo>
                  <a:pt x="4402" y="4392"/>
                </a:lnTo>
                <a:lnTo>
                  <a:pt x="4393" y="4400"/>
                </a:lnTo>
                <a:lnTo>
                  <a:pt x="4381" y="4409"/>
                </a:lnTo>
                <a:lnTo>
                  <a:pt x="4370" y="4416"/>
                </a:lnTo>
                <a:lnTo>
                  <a:pt x="4357" y="4422"/>
                </a:lnTo>
                <a:lnTo>
                  <a:pt x="4345" y="4426"/>
                </a:lnTo>
                <a:lnTo>
                  <a:pt x="4321" y="4431"/>
                </a:lnTo>
                <a:lnTo>
                  <a:pt x="4296" y="4434"/>
                </a:lnTo>
                <a:lnTo>
                  <a:pt x="4285" y="4435"/>
                </a:lnTo>
                <a:lnTo>
                  <a:pt x="4273" y="4437"/>
                </a:lnTo>
                <a:lnTo>
                  <a:pt x="4263" y="4439"/>
                </a:lnTo>
                <a:lnTo>
                  <a:pt x="4253" y="4443"/>
                </a:lnTo>
                <a:lnTo>
                  <a:pt x="4238" y="4448"/>
                </a:lnTo>
                <a:lnTo>
                  <a:pt x="4223" y="4453"/>
                </a:lnTo>
                <a:lnTo>
                  <a:pt x="4212" y="4455"/>
                </a:lnTo>
                <a:lnTo>
                  <a:pt x="4205" y="4457"/>
                </a:lnTo>
                <a:lnTo>
                  <a:pt x="4202" y="4458"/>
                </a:lnTo>
                <a:lnTo>
                  <a:pt x="4198" y="4459"/>
                </a:lnTo>
                <a:lnTo>
                  <a:pt x="4192" y="4459"/>
                </a:lnTo>
                <a:lnTo>
                  <a:pt x="4187" y="4458"/>
                </a:lnTo>
                <a:lnTo>
                  <a:pt x="4182" y="4456"/>
                </a:lnTo>
                <a:lnTo>
                  <a:pt x="4178" y="4454"/>
                </a:lnTo>
                <a:lnTo>
                  <a:pt x="4174" y="4452"/>
                </a:lnTo>
                <a:lnTo>
                  <a:pt x="4171" y="4447"/>
                </a:lnTo>
                <a:lnTo>
                  <a:pt x="4159" y="4430"/>
                </a:lnTo>
                <a:lnTo>
                  <a:pt x="4149" y="4417"/>
                </a:lnTo>
                <a:close/>
              </a:path>
            </a:pathLst>
          </a:custGeom>
          <a:gradFill flip="none" rotWithShape="1">
            <a:gsLst>
              <a:gs pos="100000">
                <a:schemeClr val="bg1">
                  <a:lumMod val="65000"/>
                </a:schemeClr>
              </a:gs>
              <a:gs pos="0">
                <a:schemeClr val="bg1">
                  <a:lumMod val="90000"/>
                </a:schemeClr>
              </a:gs>
            </a:gsLst>
            <a:path path="circle">
              <a:fillToRect l="50000" t="50000" r="50000" b="50000"/>
            </a:path>
            <a:tileRect/>
          </a:gradFill>
          <a:ln w="3175">
            <a:solidFill>
              <a:schemeClr val="bg1">
                <a:lumMod val="75000"/>
              </a:schemeClr>
            </a:solidFill>
          </a:ln>
          <a:effectLst>
            <a:outerShdw dist="25400" dir="5400000" algn="t" rotWithShape="0">
              <a:prstClr val="black">
                <a:alpha val="7000"/>
              </a:prstClr>
            </a:outerShdw>
          </a:effectLst>
          <a:scene3d>
            <a:camera prst="orthographicFront"/>
            <a:lightRig rig="threePt" dir="t"/>
          </a:scene3d>
          <a:sp3d/>
        </p:spPr>
        <p:txBody>
          <a:bodyPr vert="horz" wrap="square" lIns="91440" tIns="45720" rIns="91440" bIns="45720" numCol="1" anchor="t" anchorCtr="0" compatLnSpc="1">
            <a:prstTxWarp prst="textNoShape">
              <a:avLst/>
            </a:prstTxWarp>
          </a:bodyPr>
          <a:lstStyle/>
          <a:p>
            <a:endParaRPr lang="en-US" sz="1000" dirty="0">
              <a:solidFill>
                <a:srgbClr val="000000"/>
              </a:solidFill>
            </a:endParaRPr>
          </a:p>
        </p:txBody>
      </p:sp>
      <p:grpSp>
        <p:nvGrpSpPr>
          <p:cNvPr id="12" name="Group 71"/>
          <p:cNvGrpSpPr>
            <a:grpSpLocks/>
          </p:cNvGrpSpPr>
          <p:nvPr userDrawn="1"/>
        </p:nvGrpSpPr>
        <p:grpSpPr bwMode="auto">
          <a:xfrm>
            <a:off x="1672646" y="2205286"/>
            <a:ext cx="374388" cy="524967"/>
            <a:chOff x="4212399" y="2500313"/>
            <a:chExt cx="975551" cy="1435364"/>
          </a:xfrm>
        </p:grpSpPr>
        <p:grpSp>
          <p:nvGrpSpPr>
            <p:cNvPr id="13" name="Group 72"/>
            <p:cNvGrpSpPr>
              <a:grpSpLocks/>
            </p:cNvGrpSpPr>
            <p:nvPr/>
          </p:nvGrpSpPr>
          <p:grpSpPr bwMode="auto">
            <a:xfrm>
              <a:off x="4212399" y="3437110"/>
              <a:ext cx="498086" cy="498567"/>
              <a:chOff x="5627209" y="1515183"/>
              <a:chExt cx="498086" cy="498567"/>
            </a:xfrm>
          </p:grpSpPr>
          <p:sp>
            <p:nvSpPr>
              <p:cNvPr id="18" name="Oval 17"/>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sz="1000">
                  <a:solidFill>
                    <a:srgbClr val="000000"/>
                  </a:solidFill>
                </a:endParaRPr>
              </a:p>
            </p:txBody>
          </p:sp>
          <p:sp>
            <p:nvSpPr>
              <p:cNvPr id="19" name="Oval 18"/>
              <p:cNvSpPr/>
              <p:nvPr/>
            </p:nvSpPr>
            <p:spPr>
              <a:xfrm>
                <a:off x="5765213" y="1650145"/>
                <a:ext cx="228422" cy="228642"/>
              </a:xfrm>
              <a:prstGeom prst="ellipse">
                <a:avLst/>
              </a:prstGeom>
              <a:solidFill>
                <a:srgbClr val="CE2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grpSp>
        <p:sp>
          <p:nvSpPr>
            <p:cNvPr id="14"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sz="1000">
                <a:solidFill>
                  <a:srgbClr val="000000"/>
                </a:solidFill>
              </a:endParaRPr>
            </a:p>
          </p:txBody>
        </p:sp>
        <p:grpSp>
          <p:nvGrpSpPr>
            <p:cNvPr id="15" name="Group 133"/>
            <p:cNvGrpSpPr>
              <a:grpSpLocks/>
            </p:cNvGrpSpPr>
            <p:nvPr/>
          </p:nvGrpSpPr>
          <p:grpSpPr bwMode="auto">
            <a:xfrm flipH="1">
              <a:off x="4436064" y="2500313"/>
              <a:ext cx="650367" cy="1241653"/>
              <a:chOff x="7000949" y="2143116"/>
              <a:chExt cx="999336" cy="1834351"/>
            </a:xfrm>
          </p:grpSpPr>
          <p:sp>
            <p:nvSpPr>
              <p:cNvPr id="16" name="Freeform 57"/>
              <p:cNvSpPr>
                <a:spLocks/>
              </p:cNvSpPr>
              <p:nvPr/>
            </p:nvSpPr>
            <p:spPr bwMode="auto">
              <a:xfrm>
                <a:off x="7000949" y="2143116"/>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CE202A">
                      <a:shade val="30000"/>
                      <a:satMod val="115000"/>
                    </a:srgbClr>
                  </a:gs>
                  <a:gs pos="83000">
                    <a:srgbClr val="CE202A">
                      <a:shade val="100000"/>
                      <a:satMod val="115000"/>
                    </a:srgb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sp>
            <p:nvSpPr>
              <p:cNvPr id="17" name="Oval 16"/>
              <p:cNvSpPr/>
              <p:nvPr/>
            </p:nvSpPr>
            <p:spPr>
              <a:xfrm flipV="1">
                <a:off x="7128300" y="2206820"/>
                <a:ext cx="687491" cy="623788"/>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000">
                  <a:solidFill>
                    <a:srgbClr val="000000"/>
                  </a:solidFill>
                  <a:cs typeface="Arial" charset="0"/>
                </a:endParaRPr>
              </a:p>
            </p:txBody>
          </p:sp>
        </p:grpSp>
      </p:grpSp>
      <p:grpSp>
        <p:nvGrpSpPr>
          <p:cNvPr id="20" name="Group 71"/>
          <p:cNvGrpSpPr>
            <a:grpSpLocks/>
          </p:cNvGrpSpPr>
          <p:nvPr userDrawn="1"/>
        </p:nvGrpSpPr>
        <p:grpSpPr bwMode="auto">
          <a:xfrm>
            <a:off x="4495801" y="2585411"/>
            <a:ext cx="370733" cy="493352"/>
            <a:chOff x="4212399" y="2500313"/>
            <a:chExt cx="975551" cy="1435364"/>
          </a:xfrm>
        </p:grpSpPr>
        <p:grpSp>
          <p:nvGrpSpPr>
            <p:cNvPr id="21" name="Group 72"/>
            <p:cNvGrpSpPr>
              <a:grpSpLocks/>
            </p:cNvGrpSpPr>
            <p:nvPr/>
          </p:nvGrpSpPr>
          <p:grpSpPr bwMode="auto">
            <a:xfrm>
              <a:off x="4212399" y="3437110"/>
              <a:ext cx="498086" cy="498567"/>
              <a:chOff x="5627209" y="1515183"/>
              <a:chExt cx="498086" cy="498567"/>
            </a:xfrm>
          </p:grpSpPr>
          <p:sp>
            <p:nvSpPr>
              <p:cNvPr id="26" name="Oval 25"/>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sz="1000">
                  <a:solidFill>
                    <a:srgbClr val="000000"/>
                  </a:solidFill>
                </a:endParaRPr>
              </a:p>
            </p:txBody>
          </p:sp>
          <p:sp>
            <p:nvSpPr>
              <p:cNvPr id="27" name="Oval 26"/>
              <p:cNvSpPr/>
              <p:nvPr/>
            </p:nvSpPr>
            <p:spPr>
              <a:xfrm>
                <a:off x="5765213" y="1650145"/>
                <a:ext cx="228422" cy="228642"/>
              </a:xfrm>
              <a:prstGeom prst="ellipse">
                <a:avLst/>
              </a:prstGeom>
              <a:solidFill>
                <a:srgbClr val="F0B7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grpSp>
        <p:sp>
          <p:nvSpPr>
            <p:cNvPr id="22"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sz="1000">
                <a:solidFill>
                  <a:srgbClr val="000000"/>
                </a:solidFill>
              </a:endParaRPr>
            </a:p>
          </p:txBody>
        </p:sp>
        <p:grpSp>
          <p:nvGrpSpPr>
            <p:cNvPr id="23" name="Group 133"/>
            <p:cNvGrpSpPr>
              <a:grpSpLocks/>
            </p:cNvGrpSpPr>
            <p:nvPr/>
          </p:nvGrpSpPr>
          <p:grpSpPr bwMode="auto">
            <a:xfrm flipH="1">
              <a:off x="4436064" y="2500313"/>
              <a:ext cx="650367" cy="1241653"/>
              <a:chOff x="7000949" y="2143116"/>
              <a:chExt cx="999336" cy="1834351"/>
            </a:xfrm>
          </p:grpSpPr>
          <p:sp>
            <p:nvSpPr>
              <p:cNvPr id="24" name="Freeform 57"/>
              <p:cNvSpPr>
                <a:spLocks/>
              </p:cNvSpPr>
              <p:nvPr/>
            </p:nvSpPr>
            <p:spPr bwMode="auto">
              <a:xfrm>
                <a:off x="7000949" y="2143116"/>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ED9901">
                      <a:lumMod val="87000"/>
                    </a:srgbClr>
                  </a:gs>
                  <a:gs pos="100000">
                    <a:srgbClr val="F0B71F">
                      <a:shade val="100000"/>
                      <a:satMod val="115000"/>
                    </a:srgb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sp>
            <p:nvSpPr>
              <p:cNvPr id="25" name="Oval 24"/>
              <p:cNvSpPr/>
              <p:nvPr/>
            </p:nvSpPr>
            <p:spPr>
              <a:xfrm flipV="1">
                <a:off x="7128300" y="2206820"/>
                <a:ext cx="687491" cy="623788"/>
              </a:xfrm>
              <a:prstGeom prst="ellipse">
                <a:avLst/>
              </a:prstGeom>
              <a:gradFill>
                <a:gsLst>
                  <a:gs pos="0">
                    <a:schemeClr val="bg1">
                      <a:alpha val="0"/>
                    </a:schemeClr>
                  </a:gs>
                  <a:gs pos="100000">
                    <a:schemeClr val="bg1">
                      <a:alpha val="35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000">
                  <a:solidFill>
                    <a:srgbClr val="000000"/>
                  </a:solidFill>
                  <a:cs typeface="Arial" charset="0"/>
                </a:endParaRPr>
              </a:p>
            </p:txBody>
          </p:sp>
        </p:grpSp>
      </p:grpSp>
      <p:sp>
        <p:nvSpPr>
          <p:cNvPr id="28" name="TextBox 27"/>
          <p:cNvSpPr txBox="1"/>
          <p:nvPr userDrawn="1">
            <p:custDataLst>
              <p:tags r:id="rId1"/>
            </p:custDataLst>
          </p:nvPr>
        </p:nvSpPr>
        <p:spPr>
          <a:xfrm>
            <a:off x="6581777" y="1215063"/>
            <a:ext cx="2409825" cy="3185487"/>
          </a:xfrm>
          <a:prstGeom prst="rect">
            <a:avLst/>
          </a:prstGeom>
          <a:noFill/>
          <a:effectLst>
            <a:reflection stA="0" endPos="65000" dist="50800" dir="5400000" sy="-100000" algn="bl" rotWithShape="0"/>
          </a:effectLst>
        </p:spPr>
        <p:txBody>
          <a:bodyPr wrap="square" lIns="0" tIns="0" rIns="0" bIns="0" rtlCol="0" anchor="b">
            <a:spAutoFit/>
          </a:bodyPr>
          <a:lstStyle/>
          <a:p>
            <a:r>
              <a:rPr lang="en-US" sz="900" b="1" dirty="0">
                <a:solidFill>
                  <a:srgbClr val="292929"/>
                </a:solidFill>
              </a:rPr>
              <a:t>Bangalore – Corporate &amp; Development Centre</a:t>
            </a:r>
          </a:p>
          <a:p>
            <a:r>
              <a:rPr lang="en-US" sz="900" dirty="0">
                <a:solidFill>
                  <a:srgbClr val="292929"/>
                </a:solidFill>
              </a:rPr>
              <a:t>#196, Bannerghatta Road, Arekere Gate</a:t>
            </a:r>
          </a:p>
          <a:p>
            <a:r>
              <a:rPr lang="en-US" sz="900" dirty="0">
                <a:solidFill>
                  <a:srgbClr val="292929"/>
                </a:solidFill>
              </a:rPr>
              <a:t>Bangalore 560 076.</a:t>
            </a:r>
          </a:p>
          <a:p>
            <a:r>
              <a:rPr lang="en-US" sz="900" dirty="0">
                <a:solidFill>
                  <a:srgbClr val="292929"/>
                </a:solidFill>
              </a:rPr>
              <a:t>Phone: +91 80 4034 3000</a:t>
            </a:r>
          </a:p>
          <a:p>
            <a:endParaRPr lang="en-US" sz="900" dirty="0">
              <a:solidFill>
                <a:srgbClr val="292929"/>
              </a:solidFill>
            </a:endParaRPr>
          </a:p>
          <a:p>
            <a:r>
              <a:rPr lang="en-US" sz="900" b="1" dirty="0">
                <a:solidFill>
                  <a:srgbClr val="292929"/>
                </a:solidFill>
              </a:rPr>
              <a:t>Bangalore – Design and Development </a:t>
            </a:r>
          </a:p>
          <a:p>
            <a:r>
              <a:rPr lang="en-US" sz="900" b="1" dirty="0">
                <a:solidFill>
                  <a:srgbClr val="292929"/>
                </a:solidFill>
              </a:rPr>
              <a:t>Centre 2</a:t>
            </a:r>
          </a:p>
          <a:p>
            <a:r>
              <a:rPr lang="en-US" sz="900" dirty="0">
                <a:solidFill>
                  <a:srgbClr val="292929"/>
                </a:solidFill>
              </a:rPr>
              <a:t>No.25, Level-5,</a:t>
            </a:r>
          </a:p>
          <a:p>
            <a:r>
              <a:rPr lang="en-US" sz="900" dirty="0">
                <a:solidFill>
                  <a:srgbClr val="292929"/>
                </a:solidFill>
              </a:rPr>
              <a:t>Shankaranarayana Building,</a:t>
            </a:r>
          </a:p>
          <a:p>
            <a:r>
              <a:rPr lang="en-US" sz="900" dirty="0">
                <a:solidFill>
                  <a:srgbClr val="292929"/>
                </a:solidFill>
              </a:rPr>
              <a:t>M.G. Road, Bangalore-560001</a:t>
            </a:r>
          </a:p>
          <a:p>
            <a:r>
              <a:rPr lang="en-US" sz="900" dirty="0">
                <a:solidFill>
                  <a:srgbClr val="292929"/>
                </a:solidFill>
              </a:rPr>
              <a:t>Phone: +91 80 42 41 42 41</a:t>
            </a:r>
          </a:p>
          <a:p>
            <a:endParaRPr lang="en-US" sz="900" dirty="0">
              <a:solidFill>
                <a:srgbClr val="292929"/>
              </a:solidFill>
              <a:effectLst>
                <a:outerShdw blurRad="38100" dist="38100" dir="2700000" algn="tl">
                  <a:srgbClr val="000000">
                    <a:alpha val="43137"/>
                  </a:srgbClr>
                </a:outerShdw>
              </a:effectLst>
            </a:endParaRPr>
          </a:p>
          <a:p>
            <a:r>
              <a:rPr lang="en-US" sz="900" b="1" dirty="0">
                <a:solidFill>
                  <a:srgbClr val="292929"/>
                </a:solidFill>
              </a:rPr>
              <a:t>Chennai -  Design and Development Center 3</a:t>
            </a:r>
          </a:p>
          <a:p>
            <a:r>
              <a:rPr lang="en-US" sz="900" dirty="0">
                <a:solidFill>
                  <a:srgbClr val="292929"/>
                </a:solidFill>
              </a:rPr>
              <a:t>1st &amp; 2nd Floor, ESPEE IT Park,</a:t>
            </a:r>
          </a:p>
          <a:p>
            <a:r>
              <a:rPr lang="en-US" sz="900" dirty="0">
                <a:solidFill>
                  <a:srgbClr val="292929"/>
                </a:solidFill>
              </a:rPr>
              <a:t>Plot No.5, Jawaharlal Nehru Road,</a:t>
            </a:r>
          </a:p>
          <a:p>
            <a:r>
              <a:rPr lang="en-US" sz="900" dirty="0">
                <a:solidFill>
                  <a:srgbClr val="292929"/>
                </a:solidFill>
              </a:rPr>
              <a:t>Ekkatuthangal, Chennai - 600 032, </a:t>
            </a:r>
          </a:p>
          <a:p>
            <a:r>
              <a:rPr lang="en-US" sz="900" dirty="0">
                <a:solidFill>
                  <a:srgbClr val="292929"/>
                </a:solidFill>
              </a:rPr>
              <a:t>Phone: +91 44 4595 9100/01/02/03</a:t>
            </a:r>
          </a:p>
          <a:p>
            <a:endParaRPr lang="en-US" sz="900" dirty="0">
              <a:solidFill>
                <a:srgbClr val="292929"/>
              </a:solidFill>
            </a:endParaRPr>
          </a:p>
          <a:p>
            <a:r>
              <a:rPr lang="en-US" sz="900" b="1" dirty="0">
                <a:solidFill>
                  <a:srgbClr val="292929"/>
                </a:solidFill>
              </a:rPr>
              <a:t>Mysore – Embbedded Engineering and Development Centre</a:t>
            </a:r>
          </a:p>
          <a:p>
            <a:r>
              <a:rPr lang="en-US" sz="900" dirty="0">
                <a:solidFill>
                  <a:srgbClr val="292929"/>
                </a:solidFill>
              </a:rPr>
              <a:t>64-C1, Hootagalli Industrial Area, </a:t>
            </a:r>
          </a:p>
          <a:p>
            <a:r>
              <a:rPr lang="en-US" sz="900" dirty="0">
                <a:solidFill>
                  <a:srgbClr val="292929"/>
                </a:solidFill>
              </a:rPr>
              <a:t>Kasaba Hobli, Mysore - 570 018.</a:t>
            </a:r>
          </a:p>
          <a:p>
            <a:r>
              <a:rPr lang="en-US" sz="900" dirty="0">
                <a:solidFill>
                  <a:srgbClr val="292929"/>
                </a:solidFill>
              </a:rPr>
              <a:t>Phone: +91 0821 2404 900</a:t>
            </a:r>
          </a:p>
        </p:txBody>
      </p:sp>
      <p:sp>
        <p:nvSpPr>
          <p:cNvPr id="29" name="TextBox 28"/>
          <p:cNvSpPr txBox="1"/>
          <p:nvPr userDrawn="1">
            <p:custDataLst>
              <p:tags r:id="rId2"/>
            </p:custDataLst>
          </p:nvPr>
        </p:nvSpPr>
        <p:spPr>
          <a:xfrm>
            <a:off x="6629400" y="1003312"/>
            <a:ext cx="647700" cy="153888"/>
          </a:xfrm>
          <a:prstGeom prst="rect">
            <a:avLst/>
          </a:prstGeom>
          <a:noFill/>
          <a:effectLst>
            <a:reflection stA="0" endPos="65000" dist="50800" dir="5400000" sy="-100000" algn="bl" rotWithShape="0"/>
          </a:effectLst>
        </p:spPr>
        <p:txBody>
          <a:bodyPr wrap="square" lIns="0" tIns="0" rIns="0" bIns="0" rtlCol="0" anchor="b">
            <a:spAutoFit/>
          </a:bodyPr>
          <a:lstStyle/>
          <a:p>
            <a:r>
              <a:rPr lang="en-US" sz="1000" b="1" dirty="0">
                <a:solidFill>
                  <a:srgbClr val="292929"/>
                </a:solidFill>
              </a:rPr>
              <a:t>INDIA</a:t>
            </a:r>
          </a:p>
        </p:txBody>
      </p:sp>
      <p:grpSp>
        <p:nvGrpSpPr>
          <p:cNvPr id="30" name="Group 71"/>
          <p:cNvGrpSpPr>
            <a:grpSpLocks/>
          </p:cNvGrpSpPr>
          <p:nvPr userDrawn="1"/>
        </p:nvGrpSpPr>
        <p:grpSpPr bwMode="auto">
          <a:xfrm>
            <a:off x="2581706" y="3799772"/>
            <a:ext cx="222441" cy="318626"/>
            <a:chOff x="4212399" y="2500322"/>
            <a:chExt cx="975551" cy="1435355"/>
          </a:xfrm>
          <a:effectLst>
            <a:reflection stA="0" endPos="65000" dist="50800" dir="5400000" sy="-100000" algn="bl" rotWithShape="0"/>
          </a:effectLst>
        </p:grpSpPr>
        <p:grpSp>
          <p:nvGrpSpPr>
            <p:cNvPr id="31" name="Group 72"/>
            <p:cNvGrpSpPr>
              <a:grpSpLocks/>
            </p:cNvGrpSpPr>
            <p:nvPr/>
          </p:nvGrpSpPr>
          <p:grpSpPr bwMode="auto">
            <a:xfrm>
              <a:off x="4212399" y="3437110"/>
              <a:ext cx="498086" cy="498567"/>
              <a:chOff x="5627209" y="1515183"/>
              <a:chExt cx="498086" cy="498567"/>
            </a:xfrm>
          </p:grpSpPr>
          <p:sp>
            <p:nvSpPr>
              <p:cNvPr id="36" name="Oval 35"/>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sz="1000">
                  <a:solidFill>
                    <a:srgbClr val="000000"/>
                  </a:solidFill>
                </a:endParaRPr>
              </a:p>
            </p:txBody>
          </p:sp>
          <p:sp>
            <p:nvSpPr>
              <p:cNvPr id="37" name="Oval 36"/>
              <p:cNvSpPr/>
              <p:nvPr/>
            </p:nvSpPr>
            <p:spPr>
              <a:xfrm>
                <a:off x="5765213" y="1650145"/>
                <a:ext cx="228422" cy="228642"/>
              </a:xfrm>
              <a:prstGeom prst="ellipse">
                <a:avLst/>
              </a:prstGeom>
              <a:solidFill>
                <a:srgbClr val="2A9B1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grpSp>
        <p:sp>
          <p:nvSpPr>
            <p:cNvPr id="32"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sz="1000">
                <a:solidFill>
                  <a:srgbClr val="000000"/>
                </a:solidFill>
              </a:endParaRPr>
            </a:p>
          </p:txBody>
        </p:sp>
        <p:grpSp>
          <p:nvGrpSpPr>
            <p:cNvPr id="33" name="Group 133"/>
            <p:cNvGrpSpPr>
              <a:grpSpLocks/>
            </p:cNvGrpSpPr>
            <p:nvPr/>
          </p:nvGrpSpPr>
          <p:grpSpPr bwMode="auto">
            <a:xfrm flipH="1">
              <a:off x="4436064" y="2500322"/>
              <a:ext cx="650367" cy="1241657"/>
              <a:chOff x="7000949" y="2143129"/>
              <a:chExt cx="999336" cy="1834357"/>
            </a:xfrm>
          </p:grpSpPr>
          <p:sp>
            <p:nvSpPr>
              <p:cNvPr id="34" name="Freeform 57"/>
              <p:cNvSpPr>
                <a:spLocks/>
              </p:cNvSpPr>
              <p:nvPr/>
            </p:nvSpPr>
            <p:spPr bwMode="auto">
              <a:xfrm>
                <a:off x="7000949" y="2143129"/>
                <a:ext cx="999336" cy="1834357"/>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2A9B18">
                      <a:shade val="30000"/>
                      <a:satMod val="115000"/>
                    </a:srgbClr>
                  </a:gs>
                  <a:gs pos="100000">
                    <a:srgbClr val="2A9B18">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sp>
            <p:nvSpPr>
              <p:cNvPr id="35" name="Oval 34"/>
              <p:cNvSpPr/>
              <p:nvPr/>
            </p:nvSpPr>
            <p:spPr>
              <a:xfrm flipV="1">
                <a:off x="7128299" y="2206819"/>
                <a:ext cx="687489" cy="623787"/>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000">
                  <a:solidFill>
                    <a:srgbClr val="000000"/>
                  </a:solidFill>
                  <a:cs typeface="Arial" charset="0"/>
                </a:endParaRPr>
              </a:p>
            </p:txBody>
          </p:sp>
        </p:grpSp>
      </p:grpSp>
      <p:sp>
        <p:nvSpPr>
          <p:cNvPr id="38" name="TextBox 37"/>
          <p:cNvSpPr txBox="1"/>
          <p:nvPr userDrawn="1">
            <p:custDataLst>
              <p:tags r:id="rId3"/>
            </p:custDataLst>
          </p:nvPr>
        </p:nvSpPr>
        <p:spPr>
          <a:xfrm>
            <a:off x="2597557" y="4171950"/>
            <a:ext cx="1669643" cy="415498"/>
          </a:xfrm>
          <a:prstGeom prst="rect">
            <a:avLst/>
          </a:prstGeom>
          <a:noFill/>
          <a:effectLst>
            <a:reflection stA="0" endPos="65000" dist="50800" dir="5400000" sy="-100000" algn="bl" rotWithShape="0"/>
          </a:effectLst>
        </p:spPr>
        <p:txBody>
          <a:bodyPr wrap="square" lIns="0" tIns="0" rIns="0" bIns="0" rtlCol="0" anchor="b">
            <a:spAutoFit/>
          </a:bodyPr>
          <a:lstStyle/>
          <a:p>
            <a:r>
              <a:rPr lang="fr-FR" sz="900" dirty="0">
                <a:solidFill>
                  <a:srgbClr val="292929"/>
                </a:solidFill>
              </a:rPr>
              <a:t>40 avenue André Morizet,</a:t>
            </a:r>
          </a:p>
          <a:p>
            <a:r>
              <a:rPr lang="fr-FR" sz="900" dirty="0">
                <a:solidFill>
                  <a:srgbClr val="292929"/>
                </a:solidFill>
              </a:rPr>
              <a:t>92514 Boulogne-Billancourt,</a:t>
            </a:r>
          </a:p>
          <a:p>
            <a:r>
              <a:rPr lang="fr-FR" sz="900" dirty="0">
                <a:solidFill>
                  <a:srgbClr val="292929"/>
                </a:solidFill>
              </a:rPr>
              <a:t>Phone : +33 (0)1 46 08 70 00</a:t>
            </a:r>
            <a:endParaRPr lang="en-US" sz="900" dirty="0">
              <a:solidFill>
                <a:srgbClr val="292929"/>
              </a:solidFill>
            </a:endParaRPr>
          </a:p>
        </p:txBody>
      </p:sp>
      <p:sp>
        <p:nvSpPr>
          <p:cNvPr id="39" name="TextBox 38"/>
          <p:cNvSpPr txBox="1"/>
          <p:nvPr userDrawn="1">
            <p:custDataLst>
              <p:tags r:id="rId4"/>
            </p:custDataLst>
          </p:nvPr>
        </p:nvSpPr>
        <p:spPr>
          <a:xfrm>
            <a:off x="2810306" y="4004919"/>
            <a:ext cx="647700" cy="138499"/>
          </a:xfrm>
          <a:prstGeom prst="rect">
            <a:avLst/>
          </a:prstGeom>
          <a:noFill/>
          <a:effectLst>
            <a:reflection stA="0" endPos="65000" dist="50800" dir="5400000" sy="-100000" algn="bl" rotWithShape="0"/>
          </a:effectLst>
        </p:spPr>
        <p:txBody>
          <a:bodyPr wrap="square" lIns="0" tIns="0" rIns="0" bIns="0" rtlCol="0" anchor="b">
            <a:spAutoFit/>
          </a:bodyPr>
          <a:lstStyle/>
          <a:p>
            <a:r>
              <a:rPr lang="en-US" sz="900" b="1" dirty="0">
                <a:solidFill>
                  <a:srgbClr val="292929"/>
                </a:solidFill>
              </a:rPr>
              <a:t>France</a:t>
            </a:r>
          </a:p>
        </p:txBody>
      </p:sp>
      <p:grpSp>
        <p:nvGrpSpPr>
          <p:cNvPr id="40" name="Group 71"/>
          <p:cNvGrpSpPr>
            <a:grpSpLocks/>
          </p:cNvGrpSpPr>
          <p:nvPr userDrawn="1"/>
        </p:nvGrpSpPr>
        <p:grpSpPr bwMode="auto">
          <a:xfrm>
            <a:off x="481295" y="2495550"/>
            <a:ext cx="224489" cy="329981"/>
            <a:chOff x="4212399" y="2500313"/>
            <a:chExt cx="975551" cy="1435364"/>
          </a:xfrm>
          <a:effectLst>
            <a:reflection stA="0" endPos="65000" dist="50800" dir="5400000" sy="-100000" algn="bl" rotWithShape="0"/>
          </a:effectLst>
        </p:grpSpPr>
        <p:grpSp>
          <p:nvGrpSpPr>
            <p:cNvPr id="41" name="Group 72"/>
            <p:cNvGrpSpPr>
              <a:grpSpLocks/>
            </p:cNvGrpSpPr>
            <p:nvPr/>
          </p:nvGrpSpPr>
          <p:grpSpPr bwMode="auto">
            <a:xfrm>
              <a:off x="4212399" y="3437110"/>
              <a:ext cx="498086" cy="498567"/>
              <a:chOff x="5627209" y="1515183"/>
              <a:chExt cx="498086" cy="498567"/>
            </a:xfrm>
          </p:grpSpPr>
          <p:sp>
            <p:nvSpPr>
              <p:cNvPr id="46" name="Oval 45"/>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sz="1000">
                  <a:solidFill>
                    <a:srgbClr val="000000"/>
                  </a:solidFill>
                </a:endParaRPr>
              </a:p>
            </p:txBody>
          </p:sp>
          <p:sp>
            <p:nvSpPr>
              <p:cNvPr id="47" name="Oval 46"/>
              <p:cNvSpPr/>
              <p:nvPr/>
            </p:nvSpPr>
            <p:spPr>
              <a:xfrm>
                <a:off x="5765213" y="1650145"/>
                <a:ext cx="228422" cy="228642"/>
              </a:xfrm>
              <a:prstGeom prst="ellipse">
                <a:avLst/>
              </a:prstGeom>
              <a:solidFill>
                <a:srgbClr val="CE2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grpSp>
        <p:sp>
          <p:nvSpPr>
            <p:cNvPr id="42"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sz="1000">
                <a:solidFill>
                  <a:srgbClr val="000000"/>
                </a:solidFill>
              </a:endParaRPr>
            </a:p>
          </p:txBody>
        </p:sp>
        <p:grpSp>
          <p:nvGrpSpPr>
            <p:cNvPr id="43" name="Group 133"/>
            <p:cNvGrpSpPr>
              <a:grpSpLocks/>
            </p:cNvGrpSpPr>
            <p:nvPr/>
          </p:nvGrpSpPr>
          <p:grpSpPr bwMode="auto">
            <a:xfrm flipH="1">
              <a:off x="4436064" y="2500313"/>
              <a:ext cx="650367" cy="1241653"/>
              <a:chOff x="7000949" y="2143116"/>
              <a:chExt cx="999336" cy="1834351"/>
            </a:xfrm>
          </p:grpSpPr>
          <p:sp>
            <p:nvSpPr>
              <p:cNvPr id="44" name="Freeform 57"/>
              <p:cNvSpPr>
                <a:spLocks/>
              </p:cNvSpPr>
              <p:nvPr/>
            </p:nvSpPr>
            <p:spPr bwMode="auto">
              <a:xfrm>
                <a:off x="7000949" y="2143116"/>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CE202A">
                      <a:shade val="30000"/>
                      <a:satMod val="115000"/>
                    </a:srgbClr>
                  </a:gs>
                  <a:gs pos="83000">
                    <a:srgbClr val="CE202A">
                      <a:shade val="100000"/>
                      <a:satMod val="115000"/>
                    </a:srgb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sp>
            <p:nvSpPr>
              <p:cNvPr id="45" name="Oval 44"/>
              <p:cNvSpPr/>
              <p:nvPr/>
            </p:nvSpPr>
            <p:spPr>
              <a:xfrm flipV="1">
                <a:off x="7128300" y="2206820"/>
                <a:ext cx="687491" cy="623788"/>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000">
                  <a:solidFill>
                    <a:srgbClr val="000000"/>
                  </a:solidFill>
                  <a:cs typeface="Arial" charset="0"/>
                </a:endParaRPr>
              </a:p>
            </p:txBody>
          </p:sp>
        </p:grpSp>
      </p:grpSp>
      <p:sp>
        <p:nvSpPr>
          <p:cNvPr id="48" name="TextBox 47"/>
          <p:cNvSpPr txBox="1"/>
          <p:nvPr userDrawn="1">
            <p:custDataLst>
              <p:tags r:id="rId5"/>
            </p:custDataLst>
          </p:nvPr>
        </p:nvSpPr>
        <p:spPr>
          <a:xfrm>
            <a:off x="723900" y="2663338"/>
            <a:ext cx="647700" cy="138499"/>
          </a:xfrm>
          <a:prstGeom prst="rect">
            <a:avLst/>
          </a:prstGeom>
          <a:noFill/>
          <a:effectLst>
            <a:reflection stA="0" endPos="65000" dist="50800" dir="5400000" sy="-100000" algn="bl" rotWithShape="0"/>
          </a:effectLst>
        </p:spPr>
        <p:txBody>
          <a:bodyPr wrap="square" lIns="0" tIns="0" rIns="0" bIns="0" rtlCol="0" anchor="b">
            <a:spAutoFit/>
          </a:bodyPr>
          <a:lstStyle/>
          <a:p>
            <a:r>
              <a:rPr lang="en-US" sz="900" b="1" dirty="0">
                <a:solidFill>
                  <a:srgbClr val="292929"/>
                </a:solidFill>
              </a:rPr>
              <a:t>USA</a:t>
            </a:r>
          </a:p>
        </p:txBody>
      </p:sp>
      <p:sp>
        <p:nvSpPr>
          <p:cNvPr id="49" name="TextBox 48"/>
          <p:cNvSpPr txBox="1"/>
          <p:nvPr userDrawn="1">
            <p:custDataLst>
              <p:tags r:id="rId6"/>
            </p:custDataLst>
          </p:nvPr>
        </p:nvSpPr>
        <p:spPr>
          <a:xfrm>
            <a:off x="488054" y="2890957"/>
            <a:ext cx="1493146" cy="1661993"/>
          </a:xfrm>
          <a:prstGeom prst="rect">
            <a:avLst/>
          </a:prstGeom>
          <a:noFill/>
          <a:effectLst>
            <a:reflection stA="0" endPos="65000" dist="50800" dir="5400000" sy="-100000" algn="bl" rotWithShape="0"/>
          </a:effectLst>
        </p:spPr>
        <p:txBody>
          <a:bodyPr wrap="square" lIns="0" tIns="0" rIns="0" bIns="0" rtlCol="0" anchor="b">
            <a:spAutoFit/>
          </a:bodyPr>
          <a:lstStyle/>
          <a:p>
            <a:r>
              <a:rPr lang="fr-FR" sz="900" b="1" dirty="0">
                <a:solidFill>
                  <a:srgbClr val="292929"/>
                </a:solidFill>
              </a:rPr>
              <a:t>Head Office</a:t>
            </a:r>
          </a:p>
          <a:p>
            <a:r>
              <a:rPr lang="fr-FR" sz="900" dirty="0">
                <a:solidFill>
                  <a:srgbClr val="292929"/>
                </a:solidFill>
              </a:rPr>
              <a:t>2903, Bunker Hill Lane,</a:t>
            </a:r>
            <a:br>
              <a:rPr lang="fr-FR" sz="900" dirty="0">
                <a:solidFill>
                  <a:srgbClr val="292929"/>
                </a:solidFill>
              </a:rPr>
            </a:br>
            <a:r>
              <a:rPr lang="fr-FR" sz="900" dirty="0">
                <a:solidFill>
                  <a:srgbClr val="292929"/>
                </a:solidFill>
              </a:rPr>
              <a:t>Suite 107,</a:t>
            </a:r>
            <a:br>
              <a:rPr lang="fr-FR" sz="900" dirty="0">
                <a:solidFill>
                  <a:srgbClr val="292929"/>
                </a:solidFill>
              </a:rPr>
            </a:br>
            <a:r>
              <a:rPr lang="fr-FR" sz="900" dirty="0">
                <a:solidFill>
                  <a:srgbClr val="292929"/>
                </a:solidFill>
              </a:rPr>
              <a:t>Santa Clara, CA 95054.</a:t>
            </a:r>
            <a:br>
              <a:rPr lang="fr-FR" sz="900" dirty="0">
                <a:solidFill>
                  <a:srgbClr val="292929"/>
                </a:solidFill>
              </a:rPr>
            </a:br>
            <a:r>
              <a:rPr lang="fr-FR" sz="900" dirty="0">
                <a:solidFill>
                  <a:srgbClr val="292929"/>
                </a:solidFill>
              </a:rPr>
              <a:t>Phone: +1 (408) 755 3000</a:t>
            </a:r>
            <a:br>
              <a:rPr lang="fr-FR" sz="900" dirty="0">
                <a:solidFill>
                  <a:srgbClr val="292929"/>
                </a:solidFill>
              </a:rPr>
            </a:br>
            <a:r>
              <a:rPr lang="fr-FR" sz="900" dirty="0">
                <a:solidFill>
                  <a:srgbClr val="292929"/>
                </a:solidFill>
              </a:rPr>
              <a:t>Fax : +1 (925) 249 3031</a:t>
            </a:r>
          </a:p>
          <a:p>
            <a:endParaRPr lang="fr-FR" sz="900" b="1" dirty="0">
              <a:solidFill>
                <a:srgbClr val="292929"/>
              </a:solidFill>
            </a:endParaRPr>
          </a:p>
          <a:p>
            <a:r>
              <a:rPr lang="fr-FR" sz="900" b="1" dirty="0">
                <a:solidFill>
                  <a:srgbClr val="292929"/>
                </a:solidFill>
              </a:rPr>
              <a:t>Design Centre</a:t>
            </a:r>
          </a:p>
          <a:p>
            <a:r>
              <a:rPr lang="fr-FR" sz="900" dirty="0">
                <a:solidFill>
                  <a:srgbClr val="292929"/>
                </a:solidFill>
              </a:rPr>
              <a:t>2 Clock Tower Place,</a:t>
            </a:r>
            <a:br>
              <a:rPr lang="fr-FR" sz="900" dirty="0">
                <a:solidFill>
                  <a:srgbClr val="292929"/>
                </a:solidFill>
              </a:rPr>
            </a:br>
            <a:r>
              <a:rPr lang="fr-FR" sz="900" dirty="0">
                <a:solidFill>
                  <a:srgbClr val="292929"/>
                </a:solidFill>
              </a:rPr>
              <a:t>Suite 430, Maynard,</a:t>
            </a:r>
            <a:br>
              <a:rPr lang="fr-FR" sz="900" dirty="0">
                <a:solidFill>
                  <a:srgbClr val="292929"/>
                </a:solidFill>
              </a:rPr>
            </a:br>
            <a:r>
              <a:rPr lang="fr-FR" sz="900" dirty="0">
                <a:solidFill>
                  <a:srgbClr val="292929"/>
                </a:solidFill>
              </a:rPr>
              <a:t>MA 01754, USA</a:t>
            </a:r>
            <a:br>
              <a:rPr lang="fr-FR" sz="900" dirty="0">
                <a:solidFill>
                  <a:srgbClr val="292929"/>
                </a:solidFill>
              </a:rPr>
            </a:br>
            <a:r>
              <a:rPr lang="fr-FR" sz="900" dirty="0">
                <a:solidFill>
                  <a:srgbClr val="292929"/>
                </a:solidFill>
              </a:rPr>
              <a:t>Phone: +1 (978) 938 4640</a:t>
            </a:r>
          </a:p>
        </p:txBody>
      </p:sp>
      <p:grpSp>
        <p:nvGrpSpPr>
          <p:cNvPr id="50" name="Group 71"/>
          <p:cNvGrpSpPr>
            <a:grpSpLocks/>
          </p:cNvGrpSpPr>
          <p:nvPr userDrawn="1"/>
        </p:nvGrpSpPr>
        <p:grpSpPr bwMode="auto">
          <a:xfrm rot="21112517">
            <a:off x="3448591" y="2016311"/>
            <a:ext cx="352537" cy="481574"/>
            <a:chOff x="4212399" y="2500313"/>
            <a:chExt cx="975551" cy="1435364"/>
          </a:xfrm>
        </p:grpSpPr>
        <p:grpSp>
          <p:nvGrpSpPr>
            <p:cNvPr id="51" name="Group 72"/>
            <p:cNvGrpSpPr>
              <a:grpSpLocks/>
            </p:cNvGrpSpPr>
            <p:nvPr/>
          </p:nvGrpSpPr>
          <p:grpSpPr bwMode="auto">
            <a:xfrm>
              <a:off x="4212399" y="3437110"/>
              <a:ext cx="498086" cy="498567"/>
              <a:chOff x="5627209" y="1515183"/>
              <a:chExt cx="498086" cy="498567"/>
            </a:xfrm>
          </p:grpSpPr>
          <p:sp>
            <p:nvSpPr>
              <p:cNvPr id="56" name="Oval 55"/>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sz="1000">
                  <a:solidFill>
                    <a:srgbClr val="000000"/>
                  </a:solidFill>
                </a:endParaRPr>
              </a:p>
            </p:txBody>
          </p:sp>
          <p:sp>
            <p:nvSpPr>
              <p:cNvPr id="57" name="Oval 56"/>
              <p:cNvSpPr/>
              <p:nvPr/>
            </p:nvSpPr>
            <p:spPr>
              <a:xfrm>
                <a:off x="5765213" y="1650145"/>
                <a:ext cx="228422" cy="228642"/>
              </a:xfrm>
              <a:prstGeom prst="ellipse">
                <a:avLst/>
              </a:prstGeom>
              <a:solidFill>
                <a:srgbClr val="2A9B1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grpSp>
        <p:sp>
          <p:nvSpPr>
            <p:cNvPr id="52"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sz="1000">
                <a:solidFill>
                  <a:srgbClr val="000000"/>
                </a:solidFill>
              </a:endParaRPr>
            </a:p>
          </p:txBody>
        </p:sp>
        <p:grpSp>
          <p:nvGrpSpPr>
            <p:cNvPr id="53" name="Group 133"/>
            <p:cNvGrpSpPr>
              <a:grpSpLocks/>
            </p:cNvGrpSpPr>
            <p:nvPr/>
          </p:nvGrpSpPr>
          <p:grpSpPr bwMode="auto">
            <a:xfrm flipH="1">
              <a:off x="4436064" y="2500313"/>
              <a:ext cx="650367" cy="1241653"/>
              <a:chOff x="7000949" y="2143116"/>
              <a:chExt cx="999336" cy="1834351"/>
            </a:xfrm>
          </p:grpSpPr>
          <p:sp>
            <p:nvSpPr>
              <p:cNvPr id="54" name="Freeform 57"/>
              <p:cNvSpPr>
                <a:spLocks/>
              </p:cNvSpPr>
              <p:nvPr/>
            </p:nvSpPr>
            <p:spPr bwMode="auto">
              <a:xfrm>
                <a:off x="7000949" y="2143116"/>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2A9B18">
                      <a:shade val="30000"/>
                      <a:satMod val="115000"/>
                    </a:srgbClr>
                  </a:gs>
                  <a:gs pos="100000">
                    <a:srgbClr val="2A9B18">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sp>
            <p:nvSpPr>
              <p:cNvPr id="55" name="Oval 54"/>
              <p:cNvSpPr/>
              <p:nvPr/>
            </p:nvSpPr>
            <p:spPr>
              <a:xfrm flipV="1">
                <a:off x="7128300" y="2206820"/>
                <a:ext cx="687491" cy="623788"/>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000">
                  <a:solidFill>
                    <a:srgbClr val="000000"/>
                  </a:solidFill>
                  <a:cs typeface="Arial" charset="0"/>
                </a:endParaRPr>
              </a:p>
            </p:txBody>
          </p:sp>
        </p:grpSp>
      </p:grpSp>
      <p:grpSp>
        <p:nvGrpSpPr>
          <p:cNvPr id="58" name="Group 71"/>
          <p:cNvGrpSpPr>
            <a:grpSpLocks/>
          </p:cNvGrpSpPr>
          <p:nvPr userDrawn="1"/>
        </p:nvGrpSpPr>
        <p:grpSpPr bwMode="auto">
          <a:xfrm>
            <a:off x="4343400" y="3784933"/>
            <a:ext cx="228600" cy="327448"/>
            <a:chOff x="4212392" y="2500322"/>
            <a:chExt cx="975554" cy="1435355"/>
          </a:xfrm>
          <a:effectLst>
            <a:reflection stA="0" endPos="65000" dist="50800" dir="5400000" sy="-100000" algn="bl" rotWithShape="0"/>
          </a:effectLst>
        </p:grpSpPr>
        <p:grpSp>
          <p:nvGrpSpPr>
            <p:cNvPr id="59" name="Group 72"/>
            <p:cNvGrpSpPr>
              <a:grpSpLocks/>
            </p:cNvGrpSpPr>
            <p:nvPr/>
          </p:nvGrpSpPr>
          <p:grpSpPr bwMode="auto">
            <a:xfrm>
              <a:off x="4212392" y="3437111"/>
              <a:ext cx="498085" cy="498566"/>
              <a:chOff x="5627209" y="1515183"/>
              <a:chExt cx="498086" cy="498567"/>
            </a:xfrm>
          </p:grpSpPr>
          <p:sp>
            <p:nvSpPr>
              <p:cNvPr id="64" name="Oval 63"/>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sz="1000">
                  <a:solidFill>
                    <a:srgbClr val="000000"/>
                  </a:solidFill>
                </a:endParaRPr>
              </a:p>
            </p:txBody>
          </p:sp>
          <p:sp>
            <p:nvSpPr>
              <p:cNvPr id="65" name="Oval 64"/>
              <p:cNvSpPr/>
              <p:nvPr/>
            </p:nvSpPr>
            <p:spPr>
              <a:xfrm>
                <a:off x="5765213" y="1650145"/>
                <a:ext cx="228422" cy="228642"/>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grpSp>
        <p:sp>
          <p:nvSpPr>
            <p:cNvPr id="60" name="Freeform 57"/>
            <p:cNvSpPr>
              <a:spLocks/>
            </p:cNvSpPr>
            <p:nvPr/>
          </p:nvSpPr>
          <p:spPr bwMode="auto">
            <a:xfrm rot="15813706" flipH="1" flipV="1">
              <a:off x="4658804" y="3157253"/>
              <a:ext cx="255635" cy="802648"/>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sz="1000">
                <a:solidFill>
                  <a:srgbClr val="000000"/>
                </a:solidFill>
              </a:endParaRPr>
            </a:p>
          </p:txBody>
        </p:sp>
        <p:grpSp>
          <p:nvGrpSpPr>
            <p:cNvPr id="61" name="Group 133"/>
            <p:cNvGrpSpPr>
              <a:grpSpLocks/>
            </p:cNvGrpSpPr>
            <p:nvPr/>
          </p:nvGrpSpPr>
          <p:grpSpPr bwMode="auto">
            <a:xfrm flipH="1">
              <a:off x="4436063" y="2500322"/>
              <a:ext cx="650367" cy="1241659"/>
              <a:chOff x="7000949" y="2143129"/>
              <a:chExt cx="999336" cy="1834357"/>
            </a:xfrm>
          </p:grpSpPr>
          <p:sp>
            <p:nvSpPr>
              <p:cNvPr id="62" name="Freeform 57"/>
              <p:cNvSpPr>
                <a:spLocks/>
              </p:cNvSpPr>
              <p:nvPr/>
            </p:nvSpPr>
            <p:spPr bwMode="auto">
              <a:xfrm>
                <a:off x="7000949" y="2143129"/>
                <a:ext cx="999336" cy="1834357"/>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sp>
            <p:nvSpPr>
              <p:cNvPr id="63" name="Oval 62"/>
              <p:cNvSpPr/>
              <p:nvPr/>
            </p:nvSpPr>
            <p:spPr>
              <a:xfrm flipV="1">
                <a:off x="7128299" y="2206819"/>
                <a:ext cx="687489" cy="623787"/>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000">
                  <a:solidFill>
                    <a:srgbClr val="000000"/>
                  </a:solidFill>
                  <a:cs typeface="Arial" charset="0"/>
                </a:endParaRPr>
              </a:p>
            </p:txBody>
          </p:sp>
        </p:grpSp>
      </p:grpSp>
      <p:sp>
        <p:nvSpPr>
          <p:cNvPr id="66" name="TextBox 65"/>
          <p:cNvSpPr txBox="1"/>
          <p:nvPr userDrawn="1">
            <p:custDataLst>
              <p:tags r:id="rId7"/>
            </p:custDataLst>
          </p:nvPr>
        </p:nvSpPr>
        <p:spPr>
          <a:xfrm>
            <a:off x="4350157" y="4213652"/>
            <a:ext cx="1517243" cy="415498"/>
          </a:xfrm>
          <a:prstGeom prst="rect">
            <a:avLst/>
          </a:prstGeom>
          <a:noFill/>
          <a:effectLst>
            <a:reflection stA="0" endPos="65000" dist="50800" dir="5400000" sy="-100000" algn="bl" rotWithShape="0"/>
          </a:effectLst>
        </p:spPr>
        <p:txBody>
          <a:bodyPr wrap="square" lIns="0" tIns="0" rIns="0" bIns="0" rtlCol="0" anchor="b">
            <a:spAutoFit/>
          </a:bodyPr>
          <a:lstStyle/>
          <a:p>
            <a:r>
              <a:rPr lang="en-IN" sz="900" dirty="0">
                <a:solidFill>
                  <a:srgbClr val="292929"/>
                </a:solidFill>
              </a:rPr>
              <a:t>22- 24, Homecroft Road</a:t>
            </a:r>
          </a:p>
          <a:p>
            <a:r>
              <a:rPr lang="en-IN" sz="900" dirty="0">
                <a:solidFill>
                  <a:srgbClr val="292929"/>
                </a:solidFill>
              </a:rPr>
              <a:t>Suite 4, Elco House</a:t>
            </a:r>
          </a:p>
          <a:p>
            <a:r>
              <a:rPr lang="en-IN" sz="900" dirty="0">
                <a:solidFill>
                  <a:srgbClr val="292929"/>
                </a:solidFill>
              </a:rPr>
              <a:t>London England N22 5EL</a:t>
            </a:r>
          </a:p>
        </p:txBody>
      </p:sp>
      <p:sp>
        <p:nvSpPr>
          <p:cNvPr id="67" name="TextBox 66"/>
          <p:cNvSpPr txBox="1"/>
          <p:nvPr userDrawn="1">
            <p:custDataLst>
              <p:tags r:id="rId8"/>
            </p:custDataLst>
          </p:nvPr>
        </p:nvSpPr>
        <p:spPr>
          <a:xfrm>
            <a:off x="4562906" y="3979562"/>
            <a:ext cx="647700" cy="138499"/>
          </a:xfrm>
          <a:prstGeom prst="rect">
            <a:avLst/>
          </a:prstGeom>
          <a:noFill/>
          <a:effectLst>
            <a:reflection stA="0" endPos="65000" dist="50800" dir="5400000" sy="-100000" algn="bl" rotWithShape="0"/>
          </a:effectLst>
        </p:spPr>
        <p:txBody>
          <a:bodyPr wrap="square" lIns="0" tIns="0" rIns="0" bIns="0" rtlCol="0" anchor="b">
            <a:spAutoFit/>
          </a:bodyPr>
          <a:lstStyle/>
          <a:p>
            <a:r>
              <a:rPr lang="en-US" sz="900" b="1" dirty="0">
                <a:solidFill>
                  <a:srgbClr val="292929"/>
                </a:solidFill>
              </a:rPr>
              <a:t>UK</a:t>
            </a:r>
          </a:p>
        </p:txBody>
      </p:sp>
      <p:grpSp>
        <p:nvGrpSpPr>
          <p:cNvPr id="68" name="Group 71"/>
          <p:cNvGrpSpPr>
            <a:grpSpLocks/>
          </p:cNvGrpSpPr>
          <p:nvPr userDrawn="1"/>
        </p:nvGrpSpPr>
        <p:grpSpPr bwMode="auto">
          <a:xfrm>
            <a:off x="3352800" y="1898268"/>
            <a:ext cx="317156" cy="444881"/>
            <a:chOff x="4212392" y="2500322"/>
            <a:chExt cx="975554" cy="1435355"/>
          </a:xfrm>
          <a:effectLst>
            <a:reflection stA="0" endPos="65000" dist="50800" dir="5400000" sy="-100000" algn="bl" rotWithShape="0"/>
          </a:effectLst>
        </p:grpSpPr>
        <p:grpSp>
          <p:nvGrpSpPr>
            <p:cNvPr id="69" name="Group 72"/>
            <p:cNvGrpSpPr>
              <a:grpSpLocks/>
            </p:cNvGrpSpPr>
            <p:nvPr/>
          </p:nvGrpSpPr>
          <p:grpSpPr bwMode="auto">
            <a:xfrm>
              <a:off x="4212392" y="3437111"/>
              <a:ext cx="498085" cy="498566"/>
              <a:chOff x="5627209" y="1515183"/>
              <a:chExt cx="498086" cy="498567"/>
            </a:xfrm>
          </p:grpSpPr>
          <p:sp>
            <p:nvSpPr>
              <p:cNvPr id="74" name="Oval 73"/>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sz="1000">
                  <a:solidFill>
                    <a:srgbClr val="000000"/>
                  </a:solidFill>
                </a:endParaRPr>
              </a:p>
            </p:txBody>
          </p:sp>
          <p:sp>
            <p:nvSpPr>
              <p:cNvPr id="75" name="Oval 74"/>
              <p:cNvSpPr/>
              <p:nvPr/>
            </p:nvSpPr>
            <p:spPr>
              <a:xfrm>
                <a:off x="5765213" y="1650145"/>
                <a:ext cx="228422" cy="228642"/>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grpSp>
        <p:sp>
          <p:nvSpPr>
            <p:cNvPr id="70" name="Freeform 57"/>
            <p:cNvSpPr>
              <a:spLocks/>
            </p:cNvSpPr>
            <p:nvPr/>
          </p:nvSpPr>
          <p:spPr bwMode="auto">
            <a:xfrm rot="15813706" flipH="1" flipV="1">
              <a:off x="4658804" y="3157253"/>
              <a:ext cx="255635" cy="802648"/>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sz="1000">
                <a:solidFill>
                  <a:srgbClr val="000000"/>
                </a:solidFill>
              </a:endParaRPr>
            </a:p>
          </p:txBody>
        </p:sp>
        <p:grpSp>
          <p:nvGrpSpPr>
            <p:cNvPr id="71" name="Group 133"/>
            <p:cNvGrpSpPr>
              <a:grpSpLocks/>
            </p:cNvGrpSpPr>
            <p:nvPr/>
          </p:nvGrpSpPr>
          <p:grpSpPr bwMode="auto">
            <a:xfrm flipH="1">
              <a:off x="4436063" y="2500322"/>
              <a:ext cx="650367" cy="1241659"/>
              <a:chOff x="7000949" y="2143129"/>
              <a:chExt cx="999336" cy="1834357"/>
            </a:xfrm>
          </p:grpSpPr>
          <p:sp>
            <p:nvSpPr>
              <p:cNvPr id="72" name="Freeform 57"/>
              <p:cNvSpPr>
                <a:spLocks/>
              </p:cNvSpPr>
              <p:nvPr/>
            </p:nvSpPr>
            <p:spPr bwMode="auto">
              <a:xfrm>
                <a:off x="7000949" y="2143129"/>
                <a:ext cx="999336" cy="1834357"/>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sp>
            <p:nvSpPr>
              <p:cNvPr id="73" name="Oval 72"/>
              <p:cNvSpPr/>
              <p:nvPr/>
            </p:nvSpPr>
            <p:spPr>
              <a:xfrm flipV="1">
                <a:off x="7128299" y="2206819"/>
                <a:ext cx="687489" cy="623787"/>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000">
                  <a:solidFill>
                    <a:srgbClr val="000000"/>
                  </a:solidFill>
                  <a:cs typeface="Arial" charset="0"/>
                </a:endParaRPr>
              </a:p>
            </p:txBody>
          </p:sp>
        </p:grpSp>
      </p:grpSp>
      <p:grpSp>
        <p:nvGrpSpPr>
          <p:cNvPr id="77" name="Group 71"/>
          <p:cNvGrpSpPr>
            <a:grpSpLocks/>
          </p:cNvGrpSpPr>
          <p:nvPr userDrawn="1"/>
        </p:nvGrpSpPr>
        <p:grpSpPr bwMode="auto">
          <a:xfrm>
            <a:off x="6426778" y="914520"/>
            <a:ext cx="202622" cy="269638"/>
            <a:chOff x="4212399" y="2500313"/>
            <a:chExt cx="975551" cy="1435364"/>
          </a:xfrm>
        </p:grpSpPr>
        <p:grpSp>
          <p:nvGrpSpPr>
            <p:cNvPr id="78" name="Group 72"/>
            <p:cNvGrpSpPr>
              <a:grpSpLocks/>
            </p:cNvGrpSpPr>
            <p:nvPr/>
          </p:nvGrpSpPr>
          <p:grpSpPr bwMode="auto">
            <a:xfrm>
              <a:off x="4212399" y="3437110"/>
              <a:ext cx="498086" cy="498567"/>
              <a:chOff x="5627209" y="1515183"/>
              <a:chExt cx="498086" cy="498567"/>
            </a:xfrm>
          </p:grpSpPr>
          <p:sp>
            <p:nvSpPr>
              <p:cNvPr id="83" name="Oval 82"/>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sz="1000">
                  <a:solidFill>
                    <a:srgbClr val="000000"/>
                  </a:solidFill>
                </a:endParaRPr>
              </a:p>
            </p:txBody>
          </p:sp>
          <p:sp>
            <p:nvSpPr>
              <p:cNvPr id="84" name="Oval 83"/>
              <p:cNvSpPr/>
              <p:nvPr/>
            </p:nvSpPr>
            <p:spPr>
              <a:xfrm>
                <a:off x="5765213" y="1650145"/>
                <a:ext cx="228422" cy="228642"/>
              </a:xfrm>
              <a:prstGeom prst="ellipse">
                <a:avLst/>
              </a:prstGeom>
              <a:solidFill>
                <a:srgbClr val="F0B7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grpSp>
        <p:sp>
          <p:nvSpPr>
            <p:cNvPr id="79"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sz="1000">
                <a:solidFill>
                  <a:srgbClr val="000000"/>
                </a:solidFill>
              </a:endParaRPr>
            </a:p>
          </p:txBody>
        </p:sp>
        <p:grpSp>
          <p:nvGrpSpPr>
            <p:cNvPr id="80" name="Group 133"/>
            <p:cNvGrpSpPr>
              <a:grpSpLocks/>
            </p:cNvGrpSpPr>
            <p:nvPr/>
          </p:nvGrpSpPr>
          <p:grpSpPr bwMode="auto">
            <a:xfrm flipH="1">
              <a:off x="4436064" y="2500313"/>
              <a:ext cx="650367" cy="1241653"/>
              <a:chOff x="7000949" y="2143116"/>
              <a:chExt cx="999336" cy="1834351"/>
            </a:xfrm>
          </p:grpSpPr>
          <p:sp>
            <p:nvSpPr>
              <p:cNvPr id="81" name="Freeform 57"/>
              <p:cNvSpPr>
                <a:spLocks/>
              </p:cNvSpPr>
              <p:nvPr/>
            </p:nvSpPr>
            <p:spPr bwMode="auto">
              <a:xfrm>
                <a:off x="7000949" y="2143116"/>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ED9901">
                      <a:lumMod val="87000"/>
                    </a:srgbClr>
                  </a:gs>
                  <a:gs pos="100000">
                    <a:srgbClr val="F0B71F">
                      <a:shade val="100000"/>
                      <a:satMod val="115000"/>
                    </a:srgb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sp>
            <p:nvSpPr>
              <p:cNvPr id="82" name="Oval 81"/>
              <p:cNvSpPr/>
              <p:nvPr/>
            </p:nvSpPr>
            <p:spPr>
              <a:xfrm flipV="1">
                <a:off x="7128300" y="2206820"/>
                <a:ext cx="687491" cy="623788"/>
              </a:xfrm>
              <a:prstGeom prst="ellipse">
                <a:avLst/>
              </a:prstGeom>
              <a:gradFill>
                <a:gsLst>
                  <a:gs pos="0">
                    <a:schemeClr val="bg1">
                      <a:alpha val="0"/>
                    </a:schemeClr>
                  </a:gs>
                  <a:gs pos="100000">
                    <a:schemeClr val="bg1">
                      <a:alpha val="35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000">
                  <a:solidFill>
                    <a:srgbClr val="000000"/>
                  </a:solidFill>
                  <a:cs typeface="Arial" charset="0"/>
                </a:endParaRPr>
              </a:p>
            </p:txBody>
          </p:sp>
        </p:grpSp>
      </p:grpSp>
      <p:sp>
        <p:nvSpPr>
          <p:cNvPr id="86" name="Title 1"/>
          <p:cNvSpPr>
            <a:spLocks noGrp="1"/>
          </p:cNvSpPr>
          <p:nvPr>
            <p:ph type="title"/>
          </p:nvPr>
        </p:nvSpPr>
        <p:spPr>
          <a:xfrm>
            <a:off x="457200" y="342900"/>
            <a:ext cx="5181600" cy="398463"/>
          </a:xfrm>
          <a:prstGeom prst="rect">
            <a:avLst/>
          </a:prstGeom>
        </p:spPr>
        <p:txBody>
          <a:bodyPr anchor="b">
            <a:noAutofit/>
          </a:bodyPr>
          <a:lstStyle>
            <a:lvl1pPr>
              <a:defRPr sz="2400"/>
            </a:lvl1pPr>
          </a:lstStyle>
          <a:p>
            <a:r>
              <a:rPr lang="en-US"/>
              <a:t>Click to edit Master title style</a:t>
            </a:r>
            <a:endParaRPr lang="en-IN"/>
          </a:p>
        </p:txBody>
      </p:sp>
    </p:spTree>
    <p:extLst>
      <p:ext uri="{BB962C8B-B14F-4D97-AF65-F5344CB8AC3E}">
        <p14:creationId xmlns:p14="http://schemas.microsoft.com/office/powerpoint/2010/main" val="1962325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342900"/>
            <a:ext cx="5181600" cy="398463"/>
          </a:xfrm>
          <a:prstGeom prst="rect">
            <a:avLst/>
          </a:prstGeom>
        </p:spPr>
        <p:txBody>
          <a:bodyPr anchor="b">
            <a:noAutofit/>
          </a:bodyPr>
          <a:lstStyle>
            <a:lvl1pPr>
              <a:defRPr sz="2400"/>
            </a:lvl1pPr>
          </a:lstStyle>
          <a:p>
            <a:r>
              <a:rPr lang="en-US"/>
              <a:t>Click to edit Master title style</a:t>
            </a:r>
            <a:endParaRPr lang="en-IN"/>
          </a:p>
        </p:txBody>
      </p:sp>
      <p:sp>
        <p:nvSpPr>
          <p:cNvPr id="3" name="Content Placeholder 2"/>
          <p:cNvSpPr>
            <a:spLocks noGrp="1"/>
          </p:cNvSpPr>
          <p:nvPr>
            <p:ph idx="1"/>
          </p:nvPr>
        </p:nvSpPr>
        <p:spPr>
          <a:xfrm>
            <a:off x="3887788" y="895350"/>
            <a:ext cx="4629150" cy="3500438"/>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Text Placeholder 3"/>
          <p:cNvSpPr>
            <a:spLocks noGrp="1"/>
          </p:cNvSpPr>
          <p:nvPr>
            <p:ph type="body" sz="half" idx="2"/>
          </p:nvPr>
        </p:nvSpPr>
        <p:spPr>
          <a:xfrm>
            <a:off x="457200" y="1543050"/>
            <a:ext cx="3122613"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cxnSp>
        <p:nvCxnSpPr>
          <p:cNvPr id="10" name="Straight Connector 9"/>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3"/>
          <p:cNvSpPr txBox="1">
            <a:spLocks/>
          </p:cNvSpPr>
          <p:nvPr userDrawn="1"/>
        </p:nvSpPr>
        <p:spPr>
          <a:xfrm>
            <a:off x="4038600" y="4863217"/>
            <a:ext cx="457200" cy="274637"/>
          </a:xfrm>
          <a:prstGeom prst="rect">
            <a:avLst/>
          </a:prstGeom>
        </p:spPr>
        <p:txBody>
          <a:bodyPr vert="horz" lIns="91440" tIns="45720" rIns="91440" bIns="45720" rtlCol="0" anchor="ctr"/>
          <a:lstStyle>
            <a:defPPr>
              <a:defRPr lang="en-US"/>
            </a:defPPr>
            <a:lvl1pPr marL="0" algn="ctr" defTabSz="914400" rtl="0" eaLnBrk="1" latinLnBrk="0" hangingPunct="1">
              <a:defRPr sz="8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C9E5A2-E050-4219-93F8-78B0C7250E7B}"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5431212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5467350" cy="477365"/>
          </a:xfrm>
          <a:prstGeom prst="rect">
            <a:avLst/>
          </a:prstGeom>
        </p:spPr>
        <p:txBody>
          <a:bodyPr/>
          <a:lstStyle/>
          <a:p>
            <a:r>
              <a:rPr lang="en-US"/>
              <a:t>Click to edit Master title style</a:t>
            </a:r>
            <a:endParaRPr lang="en-IN"/>
          </a:p>
        </p:txBody>
      </p:sp>
      <p:sp>
        <p:nvSpPr>
          <p:cNvPr id="3" name="Content Placeholder 2"/>
          <p:cNvSpPr>
            <a:spLocks noGrp="1"/>
          </p:cNvSpPr>
          <p:nvPr>
            <p:ph idx="1"/>
          </p:nvPr>
        </p:nvSpPr>
        <p:spPr>
          <a:xfrm>
            <a:off x="628650" y="971550"/>
            <a:ext cx="7886700" cy="36607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Slide Number Placeholder 3"/>
          <p:cNvSpPr txBox="1">
            <a:spLocks/>
          </p:cNvSpPr>
          <p:nvPr userDrawn="1"/>
        </p:nvSpPr>
        <p:spPr>
          <a:xfrm>
            <a:off x="4038600" y="4863217"/>
            <a:ext cx="457200" cy="274637"/>
          </a:xfrm>
          <a:prstGeom prst="rect">
            <a:avLst/>
          </a:prstGeom>
        </p:spPr>
        <p:txBody>
          <a:bodyPr vert="horz" lIns="91440" tIns="45720" rIns="91440" bIns="45720" rtlCol="0" anchor="ctr"/>
          <a:lstStyle>
            <a:defPPr>
              <a:defRPr lang="en-US"/>
            </a:defPPr>
            <a:lvl1pPr marL="0" algn="ctr" defTabSz="914400" rtl="0" eaLnBrk="1" latinLnBrk="0" hangingPunct="1">
              <a:defRPr sz="8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C9E5A2-E050-4219-93F8-78B0C7250E7B}" type="slidenum">
              <a:rPr lang="en-US" smtClean="0"/>
              <a:pPr/>
              <a:t>‹#›</a:t>
            </a:fld>
            <a:endParaRPr lang="en-US" dirty="0"/>
          </a:p>
        </p:txBody>
      </p:sp>
      <p:cxnSp>
        <p:nvCxnSpPr>
          <p:cNvPr id="9" name="Straight Connector 8"/>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09350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3887788" y="741363"/>
            <a:ext cx="4629150" cy="36544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a:xfrm>
            <a:off x="6421736" y="4230187"/>
            <a:ext cx="2057400" cy="274637"/>
          </a:xfrm>
          <a:prstGeom prst="rect">
            <a:avLst/>
          </a:prstGeom>
        </p:spPr>
        <p:txBody>
          <a:bodyPr/>
          <a:lstStyle/>
          <a:p>
            <a:fld id="{FDAD43D5-129F-4869-9B4F-0097813E4B0C}" type="slidenum">
              <a:rPr lang="en-IN" smtClean="0">
                <a:solidFill>
                  <a:prstClr val="black">
                    <a:tint val="75000"/>
                  </a:prstClr>
                </a:solidFill>
              </a:rPr>
              <a:pPr/>
              <a:t>‹#›</a:t>
            </a:fld>
            <a:endParaRPr lang="en-IN">
              <a:solidFill>
                <a:prstClr val="black">
                  <a:tint val="75000"/>
                </a:prstClr>
              </a:solidFill>
            </a:endParaRPr>
          </a:p>
        </p:txBody>
      </p:sp>
      <p:sp>
        <p:nvSpPr>
          <p:cNvPr id="9" name="Slide Number Placeholder 3"/>
          <p:cNvSpPr txBox="1">
            <a:spLocks/>
          </p:cNvSpPr>
          <p:nvPr userDrawn="1"/>
        </p:nvSpPr>
        <p:spPr>
          <a:xfrm>
            <a:off x="4038600" y="4863217"/>
            <a:ext cx="457200" cy="274637"/>
          </a:xfrm>
          <a:prstGeom prst="rect">
            <a:avLst/>
          </a:prstGeom>
        </p:spPr>
        <p:txBody>
          <a:bodyPr vert="horz" lIns="91440" tIns="45720" rIns="91440" bIns="45720" rtlCol="0" anchor="ctr"/>
          <a:lstStyle>
            <a:defPPr>
              <a:defRPr lang="en-US"/>
            </a:defPPr>
            <a:lvl1pPr marL="0" algn="ctr" defTabSz="914400" rtl="0" eaLnBrk="1" latinLnBrk="0" hangingPunct="1">
              <a:defRPr sz="8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C9E5A2-E050-4219-93F8-78B0C7250E7B}" type="slidenum">
              <a:rPr lang="en-US" smtClean="0">
                <a:solidFill>
                  <a:prstClr val="white">
                    <a:lumMod val="75000"/>
                  </a:prstClr>
                </a:solidFill>
              </a:rPr>
              <a:pPr/>
              <a:t>‹#›</a:t>
            </a:fld>
            <a:endParaRPr lang="en-US" dirty="0">
              <a:solidFill>
                <a:prstClr val="white">
                  <a:lumMod val="75000"/>
                </a:prstClr>
              </a:solidFill>
            </a:endParaRPr>
          </a:p>
        </p:txBody>
      </p:sp>
      <p:cxnSp>
        <p:nvCxnSpPr>
          <p:cNvPr id="10" name="Straight Connector 9"/>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83107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5467350" cy="477365"/>
          </a:xfrm>
          <a:prstGeom prst="rect">
            <a:avLst/>
          </a:prstGeom>
        </p:spPr>
        <p:txBody>
          <a:bodyPr/>
          <a:lstStyle/>
          <a:p>
            <a:r>
              <a:rPr lang="en-US"/>
              <a:t>Click to edit Master title style</a:t>
            </a:r>
            <a:endParaRPr lang="en-IN"/>
          </a:p>
        </p:txBody>
      </p:sp>
      <p:sp>
        <p:nvSpPr>
          <p:cNvPr id="3" name="Vertical Text Placeholder 2"/>
          <p:cNvSpPr>
            <a:spLocks noGrp="1"/>
          </p:cNvSpPr>
          <p:nvPr>
            <p:ph type="body" orient="vert" idx="1"/>
          </p:nvPr>
        </p:nvSpPr>
        <p:spPr>
          <a:xfrm>
            <a:off x="457200" y="971550"/>
            <a:ext cx="8058150" cy="366077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Slide Number Placeholder 3"/>
          <p:cNvSpPr txBox="1">
            <a:spLocks/>
          </p:cNvSpPr>
          <p:nvPr userDrawn="1"/>
        </p:nvSpPr>
        <p:spPr>
          <a:xfrm>
            <a:off x="4038600" y="4863217"/>
            <a:ext cx="457200" cy="274637"/>
          </a:xfrm>
          <a:prstGeom prst="rect">
            <a:avLst/>
          </a:prstGeom>
        </p:spPr>
        <p:txBody>
          <a:bodyPr vert="horz" lIns="91440" tIns="45720" rIns="91440" bIns="45720" rtlCol="0" anchor="ctr"/>
          <a:lstStyle>
            <a:defPPr>
              <a:defRPr lang="en-US"/>
            </a:defPPr>
            <a:lvl1pPr marL="0" algn="ctr" defTabSz="914400" rtl="0" eaLnBrk="1" latinLnBrk="0" hangingPunct="1">
              <a:defRPr sz="8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C9E5A2-E050-4219-93F8-78B0C7250E7B}" type="slidenum">
              <a:rPr lang="en-US" smtClean="0">
                <a:solidFill>
                  <a:prstClr val="white">
                    <a:lumMod val="75000"/>
                  </a:prstClr>
                </a:solidFill>
              </a:rPr>
              <a:pPr/>
              <a:t>‹#›</a:t>
            </a:fld>
            <a:endParaRPr lang="en-US" dirty="0">
              <a:solidFill>
                <a:prstClr val="white">
                  <a:lumMod val="75000"/>
                </a:prstClr>
              </a:solidFill>
            </a:endParaRPr>
          </a:p>
        </p:txBody>
      </p:sp>
      <p:cxnSp>
        <p:nvCxnSpPr>
          <p:cNvPr id="9" name="Straight Connector 8"/>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Slide Number Placeholder 10"/>
          <p:cNvSpPr>
            <a:spLocks noGrp="1"/>
          </p:cNvSpPr>
          <p:nvPr>
            <p:ph type="sldNum" sz="quarter" idx="11"/>
          </p:nvPr>
        </p:nvSpPr>
        <p:spPr/>
        <p:txBody>
          <a:bodyPr/>
          <a:lstStyle/>
          <a:p>
            <a:fld id="{372B14DA-0725-441A-AF20-5A85B13C0C19}"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25900263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895350"/>
            <a:ext cx="1971675" cy="3736975"/>
          </a:xfrm>
          <a:prstGeom prst="rect">
            <a:avLst/>
          </a:prstGeo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628650" y="895350"/>
            <a:ext cx="5762625" cy="373697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Slide Number Placeholder 3"/>
          <p:cNvSpPr txBox="1">
            <a:spLocks/>
          </p:cNvSpPr>
          <p:nvPr userDrawn="1"/>
        </p:nvSpPr>
        <p:spPr>
          <a:xfrm>
            <a:off x="4038600" y="4863217"/>
            <a:ext cx="457200" cy="274637"/>
          </a:xfrm>
          <a:prstGeom prst="rect">
            <a:avLst/>
          </a:prstGeom>
        </p:spPr>
        <p:txBody>
          <a:bodyPr vert="horz" lIns="91440" tIns="45720" rIns="91440" bIns="45720" rtlCol="0" anchor="ctr"/>
          <a:lstStyle>
            <a:defPPr>
              <a:defRPr lang="en-US"/>
            </a:defPPr>
            <a:lvl1pPr marL="0" algn="ctr" defTabSz="914400" rtl="0" eaLnBrk="1" latinLnBrk="0" hangingPunct="1">
              <a:defRPr sz="8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C9E5A2-E050-4219-93F8-78B0C7250E7B}" type="slidenum">
              <a:rPr lang="en-US" smtClean="0">
                <a:solidFill>
                  <a:prstClr val="white">
                    <a:lumMod val="75000"/>
                  </a:prstClr>
                </a:solidFill>
              </a:rPr>
              <a:pPr/>
              <a:t>‹#›</a:t>
            </a:fld>
            <a:endParaRPr lang="en-US" dirty="0">
              <a:solidFill>
                <a:prstClr val="white">
                  <a:lumMod val="75000"/>
                </a:prstClr>
              </a:solidFill>
            </a:endParaRPr>
          </a:p>
        </p:txBody>
      </p:sp>
      <p:cxnSp>
        <p:nvCxnSpPr>
          <p:cNvPr id="9" name="Straight Connector 8"/>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Slide Number Placeholder 10"/>
          <p:cNvSpPr>
            <a:spLocks noGrp="1"/>
          </p:cNvSpPr>
          <p:nvPr>
            <p:ph type="sldNum" sz="quarter" idx="11"/>
          </p:nvPr>
        </p:nvSpPr>
        <p:spPr/>
        <p:txBody>
          <a:bodyPr/>
          <a:lstStyle/>
          <a:p>
            <a:fld id="{372B14DA-0725-441A-AF20-5A85B13C0C19}" type="slidenum">
              <a:rPr lang="en-IN" smtClean="0">
                <a:solidFill>
                  <a:prstClr val="black">
                    <a:tint val="75000"/>
                  </a:prstClr>
                </a:solidFill>
              </a:rPr>
              <a:pPr/>
              <a:t>‹#›</a:t>
            </a:fld>
            <a:endParaRPr lang="en-IN">
              <a:solidFill>
                <a:prstClr val="black">
                  <a:tint val="75000"/>
                </a:prstClr>
              </a:solidFill>
            </a:endParaRPr>
          </a:p>
        </p:txBody>
      </p:sp>
    </p:spTree>
    <p:extLst>
      <p:ext uri="{BB962C8B-B14F-4D97-AF65-F5344CB8AC3E}">
        <p14:creationId xmlns:p14="http://schemas.microsoft.com/office/powerpoint/2010/main" val="30912237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bg1"/>
        </a:solidFill>
        <a:effectLst/>
      </p:bgPr>
    </p:bg>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fontAlgn="auto">
              <a:spcBef>
                <a:spcPts val="0"/>
              </a:spcBef>
              <a:spcAft>
                <a:spcPts val="0"/>
              </a:spcAft>
              <a:defRPr sz="900" b="1" smtClean="0">
                <a:latin typeface="+mn-lt"/>
                <a:cs typeface="+mn-cs"/>
              </a:defRPr>
            </a:lvl1pPr>
          </a:lstStyle>
          <a:p>
            <a:pPr>
              <a:defRPr/>
            </a:pPr>
            <a:fld id="{10D9A6D8-76A3-4E5C-A4C6-6C8F288C4BE9}"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5790109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0" y="819150"/>
            <a:ext cx="9144000" cy="0"/>
          </a:xfrm>
          <a:prstGeom prst="line">
            <a:avLst/>
          </a:prstGeom>
          <a:ln w="15875">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flipV="1">
            <a:off x="0" y="864528"/>
            <a:ext cx="9142290" cy="14556"/>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0" y="879084"/>
            <a:ext cx="9144000" cy="0"/>
          </a:xfrm>
          <a:prstGeom prst="line">
            <a:avLst/>
          </a:prstGeom>
          <a:ln w="15875">
            <a:solidFill>
              <a:srgbClr val="FFFF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787129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3350"/>
            <a:ext cx="6705600" cy="609600"/>
          </a:xfrm>
        </p:spPr>
        <p:txBody>
          <a:bodyPr>
            <a:normAutofit/>
          </a:bodyPr>
          <a:lstStyle>
            <a:lvl1pPr>
              <a:defRPr sz="2000"/>
            </a:lvl1pPr>
          </a:lstStyle>
          <a:p>
            <a:r>
              <a:rPr lang="en-US" dirty="0"/>
              <a:t>Click to edit Master title style</a:t>
            </a:r>
          </a:p>
        </p:txBody>
      </p:sp>
      <p:sp>
        <p:nvSpPr>
          <p:cNvPr id="3" name="Content Placeholder 2"/>
          <p:cNvSpPr>
            <a:spLocks noGrp="1"/>
          </p:cNvSpPr>
          <p:nvPr>
            <p:ph idx="1"/>
          </p:nvPr>
        </p:nvSpPr>
        <p:spPr>
          <a:xfrm>
            <a:off x="419100" y="971550"/>
            <a:ext cx="830580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a:xfrm>
            <a:off x="439220" y="819150"/>
            <a:ext cx="8704780" cy="0"/>
          </a:xfrm>
          <a:prstGeom prst="line">
            <a:avLst/>
          </a:prstGeom>
          <a:ln w="15875">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439220" y="851719"/>
            <a:ext cx="8703070" cy="12809"/>
          </a:xfrm>
          <a:prstGeom prst="line">
            <a:avLst/>
          </a:prstGeom>
          <a:ln w="15875"/>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439220" y="851719"/>
            <a:ext cx="8704780" cy="27365"/>
          </a:xfrm>
          <a:prstGeom prst="line">
            <a:avLst/>
          </a:prstGeom>
          <a:ln w="15875">
            <a:solidFill>
              <a:srgbClr val="FFFF00"/>
            </a:solidFill>
          </a:ln>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3"/>
          </p:nvPr>
        </p:nvSpPr>
        <p:spPr>
          <a:xfrm>
            <a:off x="457200" y="4862960"/>
            <a:ext cx="1371600" cy="273844"/>
          </a:xfrm>
          <a:prstGeom prst="rect">
            <a:avLst/>
          </a:prstGeom>
        </p:spPr>
        <p:txBody>
          <a:bodyPr vert="horz" lIns="91440" tIns="45720" rIns="91440" bIns="45720" rtlCol="0" anchor="ctr"/>
          <a:lstStyle>
            <a:lvl1pPr algn="l">
              <a:defRPr sz="1000" b="1">
                <a:solidFill>
                  <a:schemeClr val="tx2"/>
                </a:solidFill>
              </a:defRPr>
            </a:lvl1pPr>
          </a:lstStyle>
          <a:p>
            <a:r>
              <a:rPr lang="en-US" dirty="0">
                <a:solidFill>
                  <a:srgbClr val="1F497D"/>
                </a:solidFill>
              </a:rPr>
              <a:t>©ALTEN Calsoft Labs</a:t>
            </a:r>
          </a:p>
        </p:txBody>
      </p:sp>
      <p:sp>
        <p:nvSpPr>
          <p:cNvPr id="18" name="Footer Placeholder 4"/>
          <p:cNvSpPr txBox="1">
            <a:spLocks/>
          </p:cNvSpPr>
          <p:nvPr userDrawn="1"/>
        </p:nvSpPr>
        <p:spPr>
          <a:xfrm>
            <a:off x="6096000" y="4868164"/>
            <a:ext cx="2677274" cy="273844"/>
          </a:xfrm>
          <a:prstGeom prst="rect">
            <a:avLst/>
          </a:prstGeom>
        </p:spPr>
        <p:txBody>
          <a:bodyPr vert="horz" lIns="91440" tIns="45720" rIns="91440" bIns="45720" rtlCol="0" anchor="ctr"/>
          <a:lstStyle>
            <a:defPPr>
              <a:defRPr lang="en-US"/>
            </a:defPPr>
            <a:lvl1pPr marL="0" algn="ctr" defTabSz="914400" rtl="0" eaLnBrk="1" latinLnBrk="0" hangingPunct="1">
              <a:defRPr sz="10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dirty="0">
                <a:solidFill>
                  <a:srgbClr val="1F497D"/>
                </a:solidFill>
                <a:cs typeface="Arial" pitchFamily="34" charset="0"/>
              </a:rPr>
              <a:t>INNOVATE | INTEGRATE | TRANSFORM</a:t>
            </a:r>
          </a:p>
        </p:txBody>
      </p:sp>
      <p:sp>
        <p:nvSpPr>
          <p:cNvPr id="19" name="Slide Number Placeholder 3"/>
          <p:cNvSpPr>
            <a:spLocks noGrp="1"/>
          </p:cNvSpPr>
          <p:nvPr>
            <p:ph type="sldNum" sz="quarter" idx="4"/>
          </p:nvPr>
        </p:nvSpPr>
        <p:spPr>
          <a:xfrm>
            <a:off x="1905000" y="4863217"/>
            <a:ext cx="457200" cy="274637"/>
          </a:xfrm>
          <a:prstGeom prst="rect">
            <a:avLst/>
          </a:prstGeom>
        </p:spPr>
        <p:txBody>
          <a:bodyPr vert="horz" lIns="91440" tIns="45720" rIns="91440" bIns="45720" rtlCol="0" anchor="ctr"/>
          <a:lstStyle>
            <a:lvl1pPr algn="r">
              <a:defRPr sz="1200" b="1">
                <a:solidFill>
                  <a:schemeClr val="tx2"/>
                </a:solidFill>
              </a:defRPr>
            </a:lvl1pPr>
          </a:lstStyle>
          <a:p>
            <a:fld id="{C9C9E5A2-E050-4219-93F8-78B0C7250E7B}" type="slidenum">
              <a:rPr lang="en-US" smtClean="0">
                <a:solidFill>
                  <a:srgbClr val="1F497D"/>
                </a:solidFill>
              </a:rPr>
              <a:pPr/>
              <a:t>‹#›</a:t>
            </a:fld>
            <a:endParaRPr lang="en-US" dirty="0">
              <a:solidFill>
                <a:srgbClr val="1F497D"/>
              </a:solidFill>
            </a:endParaRPr>
          </a:p>
        </p:txBody>
      </p:sp>
      <p:cxnSp>
        <p:nvCxnSpPr>
          <p:cNvPr id="20" name="Straight Connector 19"/>
          <p:cNvCxnSpPr/>
          <p:nvPr userDrawn="1"/>
        </p:nvCxnSpPr>
        <p:spPr>
          <a:xfrm>
            <a:off x="451946" y="4776550"/>
            <a:ext cx="8686800" cy="0"/>
          </a:xfrm>
          <a:prstGeom prst="line">
            <a:avLst/>
          </a:prstGeom>
          <a:ln w="15875">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451946" y="4821928"/>
            <a:ext cx="8685090" cy="14556"/>
          </a:xfrm>
          <a:prstGeom prst="line">
            <a:avLst/>
          </a:prstGeom>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709605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8272929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971550"/>
            <a:ext cx="4038600" cy="3623073"/>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971550"/>
            <a:ext cx="4038600" cy="3623073"/>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4"/>
          <p:cNvSpPr>
            <a:spLocks noGrp="1"/>
          </p:cNvSpPr>
          <p:nvPr>
            <p:ph type="ftr" sz="quarter" idx="3"/>
          </p:nvPr>
        </p:nvSpPr>
        <p:spPr>
          <a:xfrm>
            <a:off x="457200" y="4862960"/>
            <a:ext cx="1371600" cy="273844"/>
          </a:xfrm>
          <a:prstGeom prst="rect">
            <a:avLst/>
          </a:prstGeom>
        </p:spPr>
        <p:txBody>
          <a:bodyPr vert="horz" lIns="91440" tIns="45720" rIns="91440" bIns="45720" rtlCol="0" anchor="ctr"/>
          <a:lstStyle>
            <a:lvl1pPr algn="l">
              <a:defRPr sz="1000" b="1">
                <a:solidFill>
                  <a:schemeClr val="tx2"/>
                </a:solidFill>
              </a:defRPr>
            </a:lvl1pPr>
          </a:lstStyle>
          <a:p>
            <a:r>
              <a:rPr lang="en-US" dirty="0">
                <a:solidFill>
                  <a:srgbClr val="1F497D"/>
                </a:solidFill>
              </a:rPr>
              <a:t>©ALTEN Calsoft Labs</a:t>
            </a:r>
          </a:p>
        </p:txBody>
      </p:sp>
      <p:sp>
        <p:nvSpPr>
          <p:cNvPr id="9" name="Footer Placeholder 4"/>
          <p:cNvSpPr txBox="1">
            <a:spLocks/>
          </p:cNvSpPr>
          <p:nvPr userDrawn="1"/>
        </p:nvSpPr>
        <p:spPr>
          <a:xfrm>
            <a:off x="6096000" y="4868164"/>
            <a:ext cx="2677274" cy="273844"/>
          </a:xfrm>
          <a:prstGeom prst="rect">
            <a:avLst/>
          </a:prstGeom>
        </p:spPr>
        <p:txBody>
          <a:bodyPr vert="horz" lIns="91440" tIns="45720" rIns="91440" bIns="45720" rtlCol="0" anchor="ctr"/>
          <a:lstStyle>
            <a:defPPr>
              <a:defRPr lang="en-US"/>
            </a:defPPr>
            <a:lvl1pPr marL="0" algn="ctr" defTabSz="914400" rtl="0" eaLnBrk="1" latinLnBrk="0" hangingPunct="1">
              <a:defRPr sz="10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dirty="0">
                <a:solidFill>
                  <a:srgbClr val="1F497D"/>
                </a:solidFill>
                <a:cs typeface="Arial" pitchFamily="34" charset="0"/>
              </a:rPr>
              <a:t>INNOVATE | INTEGRATE | TRANSFORM</a:t>
            </a:r>
          </a:p>
        </p:txBody>
      </p:sp>
      <p:sp>
        <p:nvSpPr>
          <p:cNvPr id="10" name="Slide Number Placeholder 3"/>
          <p:cNvSpPr>
            <a:spLocks noGrp="1"/>
          </p:cNvSpPr>
          <p:nvPr>
            <p:ph type="sldNum" sz="quarter" idx="4"/>
          </p:nvPr>
        </p:nvSpPr>
        <p:spPr>
          <a:xfrm>
            <a:off x="1905000" y="4863217"/>
            <a:ext cx="457200" cy="274637"/>
          </a:xfrm>
          <a:prstGeom prst="rect">
            <a:avLst/>
          </a:prstGeom>
        </p:spPr>
        <p:txBody>
          <a:bodyPr vert="horz" lIns="91440" tIns="45720" rIns="91440" bIns="45720" rtlCol="0" anchor="ctr"/>
          <a:lstStyle>
            <a:lvl1pPr algn="r">
              <a:defRPr sz="1200" b="1">
                <a:solidFill>
                  <a:schemeClr val="tx2"/>
                </a:solidFill>
              </a:defRPr>
            </a:lvl1pPr>
          </a:lstStyle>
          <a:p>
            <a:fld id="{C9C9E5A2-E050-4219-93F8-78B0C7250E7B}" type="slidenum">
              <a:rPr lang="en-US" smtClean="0">
                <a:solidFill>
                  <a:srgbClr val="1F497D"/>
                </a:solidFill>
              </a:rPr>
              <a:pPr/>
              <a:t>‹#›</a:t>
            </a:fld>
            <a:endParaRPr lang="en-US" dirty="0">
              <a:solidFill>
                <a:srgbClr val="1F497D"/>
              </a:solidFill>
            </a:endParaRPr>
          </a:p>
        </p:txBody>
      </p:sp>
      <p:cxnSp>
        <p:nvCxnSpPr>
          <p:cNvPr id="11" name="Straight Connector 10"/>
          <p:cNvCxnSpPr/>
          <p:nvPr userDrawn="1"/>
        </p:nvCxnSpPr>
        <p:spPr>
          <a:xfrm>
            <a:off x="451946" y="4776550"/>
            <a:ext cx="8686800" cy="0"/>
          </a:xfrm>
          <a:prstGeom prst="line">
            <a:avLst/>
          </a:prstGeom>
          <a:ln w="15875">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flipV="1">
            <a:off x="451946" y="4821928"/>
            <a:ext cx="8685090" cy="14556"/>
          </a:xfrm>
          <a:prstGeom prst="line">
            <a:avLst/>
          </a:prstGeom>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884384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p:cNvSpPr>
            <a:spLocks noGrp="1"/>
          </p:cNvSpPr>
          <p:nvPr>
            <p:ph type="ftr" sz="quarter" idx="10"/>
          </p:nvPr>
        </p:nvSpPr>
        <p:spPr>
          <a:xfrm>
            <a:off x="457200" y="4862960"/>
            <a:ext cx="1371600" cy="273844"/>
          </a:xfrm>
          <a:prstGeom prst="rect">
            <a:avLst/>
          </a:prstGeom>
        </p:spPr>
        <p:txBody>
          <a:bodyPr vert="horz" lIns="91440" tIns="45720" rIns="91440" bIns="45720" rtlCol="0" anchor="ctr"/>
          <a:lstStyle>
            <a:lvl1pPr algn="l">
              <a:defRPr sz="1000" b="1">
                <a:solidFill>
                  <a:schemeClr val="tx2"/>
                </a:solidFill>
              </a:defRPr>
            </a:lvl1pPr>
          </a:lstStyle>
          <a:p>
            <a:r>
              <a:rPr lang="en-US" dirty="0">
                <a:solidFill>
                  <a:srgbClr val="1F497D"/>
                </a:solidFill>
              </a:rPr>
              <a:t>©ALTEN Calsoft Labs</a:t>
            </a:r>
          </a:p>
        </p:txBody>
      </p:sp>
      <p:sp>
        <p:nvSpPr>
          <p:cNvPr id="11" name="Footer Placeholder 4"/>
          <p:cNvSpPr txBox="1">
            <a:spLocks/>
          </p:cNvSpPr>
          <p:nvPr userDrawn="1"/>
        </p:nvSpPr>
        <p:spPr>
          <a:xfrm>
            <a:off x="6096000" y="4868164"/>
            <a:ext cx="2677274" cy="273844"/>
          </a:xfrm>
          <a:prstGeom prst="rect">
            <a:avLst/>
          </a:prstGeom>
        </p:spPr>
        <p:txBody>
          <a:bodyPr vert="horz" lIns="91440" tIns="45720" rIns="91440" bIns="45720" rtlCol="0" anchor="ctr"/>
          <a:lstStyle>
            <a:defPPr>
              <a:defRPr lang="en-US"/>
            </a:defPPr>
            <a:lvl1pPr marL="0" algn="ctr" defTabSz="914400" rtl="0" eaLnBrk="1" latinLnBrk="0" hangingPunct="1">
              <a:defRPr sz="10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dirty="0">
                <a:solidFill>
                  <a:srgbClr val="1F497D"/>
                </a:solidFill>
                <a:cs typeface="Arial" pitchFamily="34" charset="0"/>
              </a:rPr>
              <a:t>INNOVATE | INTEGRATE | TRANSFORM</a:t>
            </a:r>
          </a:p>
        </p:txBody>
      </p:sp>
      <p:sp>
        <p:nvSpPr>
          <p:cNvPr id="12" name="Slide Number Placeholder 3"/>
          <p:cNvSpPr>
            <a:spLocks noGrp="1"/>
          </p:cNvSpPr>
          <p:nvPr>
            <p:ph type="sldNum" sz="quarter" idx="11"/>
          </p:nvPr>
        </p:nvSpPr>
        <p:spPr>
          <a:xfrm>
            <a:off x="1905000" y="4863217"/>
            <a:ext cx="457200" cy="274637"/>
          </a:xfrm>
          <a:prstGeom prst="rect">
            <a:avLst/>
          </a:prstGeom>
        </p:spPr>
        <p:txBody>
          <a:bodyPr vert="horz" lIns="91440" tIns="45720" rIns="91440" bIns="45720" rtlCol="0" anchor="ctr"/>
          <a:lstStyle>
            <a:lvl1pPr algn="r">
              <a:defRPr sz="1200" b="1">
                <a:solidFill>
                  <a:schemeClr val="tx2"/>
                </a:solidFill>
              </a:defRPr>
            </a:lvl1pPr>
          </a:lstStyle>
          <a:p>
            <a:fld id="{C9C9E5A2-E050-4219-93F8-78B0C7250E7B}" type="slidenum">
              <a:rPr lang="en-US" smtClean="0">
                <a:solidFill>
                  <a:srgbClr val="1F497D"/>
                </a:solidFill>
              </a:rPr>
              <a:pPr/>
              <a:t>‹#›</a:t>
            </a:fld>
            <a:endParaRPr lang="en-US" dirty="0">
              <a:solidFill>
                <a:srgbClr val="1F497D"/>
              </a:solidFill>
            </a:endParaRPr>
          </a:p>
        </p:txBody>
      </p:sp>
      <p:cxnSp>
        <p:nvCxnSpPr>
          <p:cNvPr id="13" name="Straight Connector 12"/>
          <p:cNvCxnSpPr/>
          <p:nvPr userDrawn="1"/>
        </p:nvCxnSpPr>
        <p:spPr>
          <a:xfrm>
            <a:off x="451946" y="4776550"/>
            <a:ext cx="8686800" cy="0"/>
          </a:xfrm>
          <a:prstGeom prst="line">
            <a:avLst/>
          </a:prstGeom>
          <a:ln w="15875">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451946" y="4821928"/>
            <a:ext cx="8685090" cy="14556"/>
          </a:xfrm>
          <a:prstGeom prst="line">
            <a:avLst/>
          </a:prstGeom>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85736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dirty="0"/>
              <a:t>Click to edit Master title style</a:t>
            </a:r>
          </a:p>
        </p:txBody>
      </p:sp>
      <p:sp>
        <p:nvSpPr>
          <p:cNvPr id="5" name="Footer Placeholder 4"/>
          <p:cNvSpPr>
            <a:spLocks noGrp="1"/>
          </p:cNvSpPr>
          <p:nvPr>
            <p:ph type="ftr" sz="quarter" idx="3"/>
          </p:nvPr>
        </p:nvSpPr>
        <p:spPr>
          <a:xfrm>
            <a:off x="457200" y="4862960"/>
            <a:ext cx="1371600" cy="273844"/>
          </a:xfrm>
          <a:prstGeom prst="rect">
            <a:avLst/>
          </a:prstGeom>
        </p:spPr>
        <p:txBody>
          <a:bodyPr vert="horz" lIns="91440" tIns="45720" rIns="91440" bIns="45720" rtlCol="0" anchor="ctr"/>
          <a:lstStyle>
            <a:lvl1pPr algn="l">
              <a:defRPr sz="1000" b="1">
                <a:solidFill>
                  <a:schemeClr val="tx2"/>
                </a:solidFill>
              </a:defRPr>
            </a:lvl1pPr>
          </a:lstStyle>
          <a:p>
            <a:r>
              <a:rPr lang="en-US" dirty="0">
                <a:solidFill>
                  <a:srgbClr val="1F497D"/>
                </a:solidFill>
              </a:rPr>
              <a:t>©ALTEN Calsoft Labs</a:t>
            </a:r>
          </a:p>
        </p:txBody>
      </p:sp>
      <p:sp>
        <p:nvSpPr>
          <p:cNvPr id="7" name="Footer Placeholder 4"/>
          <p:cNvSpPr txBox="1">
            <a:spLocks/>
          </p:cNvSpPr>
          <p:nvPr userDrawn="1"/>
        </p:nvSpPr>
        <p:spPr>
          <a:xfrm>
            <a:off x="6096000" y="4868164"/>
            <a:ext cx="2677274" cy="273844"/>
          </a:xfrm>
          <a:prstGeom prst="rect">
            <a:avLst/>
          </a:prstGeom>
        </p:spPr>
        <p:txBody>
          <a:bodyPr vert="horz" lIns="91440" tIns="45720" rIns="91440" bIns="45720" rtlCol="0" anchor="ctr"/>
          <a:lstStyle>
            <a:defPPr>
              <a:defRPr lang="en-US"/>
            </a:defPPr>
            <a:lvl1pPr marL="0" algn="ctr" defTabSz="914400" rtl="0" eaLnBrk="1" latinLnBrk="0" hangingPunct="1">
              <a:defRPr sz="10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dirty="0">
                <a:solidFill>
                  <a:srgbClr val="1F497D"/>
                </a:solidFill>
                <a:cs typeface="Arial" pitchFamily="34" charset="0"/>
              </a:rPr>
              <a:t>INNOVATE | INTEGRATE | TRANSFORM</a:t>
            </a:r>
          </a:p>
        </p:txBody>
      </p:sp>
      <p:sp>
        <p:nvSpPr>
          <p:cNvPr id="8" name="Slide Number Placeholder 3"/>
          <p:cNvSpPr>
            <a:spLocks noGrp="1"/>
          </p:cNvSpPr>
          <p:nvPr>
            <p:ph type="sldNum" sz="quarter" idx="4"/>
          </p:nvPr>
        </p:nvSpPr>
        <p:spPr>
          <a:xfrm>
            <a:off x="1905000" y="4863217"/>
            <a:ext cx="457200" cy="274637"/>
          </a:xfrm>
          <a:prstGeom prst="rect">
            <a:avLst/>
          </a:prstGeom>
        </p:spPr>
        <p:txBody>
          <a:bodyPr vert="horz" lIns="91440" tIns="45720" rIns="91440" bIns="45720" rtlCol="0" anchor="ctr"/>
          <a:lstStyle>
            <a:lvl1pPr algn="r">
              <a:defRPr sz="1200" b="1">
                <a:solidFill>
                  <a:schemeClr val="tx2"/>
                </a:solidFill>
              </a:defRPr>
            </a:lvl1pPr>
          </a:lstStyle>
          <a:p>
            <a:fld id="{C9C9E5A2-E050-4219-93F8-78B0C7250E7B}" type="slidenum">
              <a:rPr lang="en-US" smtClean="0">
                <a:solidFill>
                  <a:srgbClr val="1F497D"/>
                </a:solidFill>
              </a:rPr>
              <a:pPr/>
              <a:t>‹#›</a:t>
            </a:fld>
            <a:endParaRPr lang="en-US" dirty="0">
              <a:solidFill>
                <a:srgbClr val="1F497D"/>
              </a:solidFill>
            </a:endParaRPr>
          </a:p>
        </p:txBody>
      </p:sp>
      <p:cxnSp>
        <p:nvCxnSpPr>
          <p:cNvPr id="9" name="Straight Connector 8"/>
          <p:cNvCxnSpPr/>
          <p:nvPr userDrawn="1"/>
        </p:nvCxnSpPr>
        <p:spPr>
          <a:xfrm>
            <a:off x="451946" y="4776550"/>
            <a:ext cx="8686800" cy="0"/>
          </a:xfrm>
          <a:prstGeom prst="line">
            <a:avLst/>
          </a:prstGeom>
          <a:ln w="15875">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451946" y="4821928"/>
            <a:ext cx="8685090" cy="14556"/>
          </a:xfrm>
          <a:prstGeom prst="line">
            <a:avLst/>
          </a:prstGeom>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926209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39950"/>
          </a:xfrm>
          <a:prstGeom prst="rect">
            <a:avLst/>
          </a:prstGeo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623888" y="3441700"/>
            <a:ext cx="7886700" cy="1125538"/>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Slide Number Placeholder 3"/>
          <p:cNvSpPr txBox="1">
            <a:spLocks/>
          </p:cNvSpPr>
          <p:nvPr userDrawn="1"/>
        </p:nvSpPr>
        <p:spPr>
          <a:xfrm>
            <a:off x="4038600" y="4863217"/>
            <a:ext cx="457200" cy="274637"/>
          </a:xfrm>
          <a:prstGeom prst="rect">
            <a:avLst/>
          </a:prstGeom>
        </p:spPr>
        <p:txBody>
          <a:bodyPr vert="horz" lIns="91440" tIns="45720" rIns="91440" bIns="45720" rtlCol="0" anchor="ctr"/>
          <a:lstStyle>
            <a:defPPr>
              <a:defRPr lang="en-US"/>
            </a:defPPr>
            <a:lvl1pPr marL="0" algn="ctr" defTabSz="914400" rtl="0" eaLnBrk="1" latinLnBrk="0" hangingPunct="1">
              <a:defRPr sz="8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C9E5A2-E050-4219-93F8-78B0C7250E7B}" type="slidenum">
              <a:rPr lang="en-US" smtClean="0"/>
              <a:pPr/>
              <a:t>‹#›</a:t>
            </a:fld>
            <a:endParaRPr lang="en-US" dirty="0"/>
          </a:p>
        </p:txBody>
      </p:sp>
      <p:cxnSp>
        <p:nvCxnSpPr>
          <p:cNvPr id="9" name="Straight Connector 8"/>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60680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4"/>
          <p:cNvSpPr>
            <a:spLocks noGrp="1"/>
          </p:cNvSpPr>
          <p:nvPr>
            <p:ph type="ftr" sz="quarter" idx="3"/>
          </p:nvPr>
        </p:nvSpPr>
        <p:spPr>
          <a:xfrm>
            <a:off x="457200" y="4862960"/>
            <a:ext cx="1371600" cy="273844"/>
          </a:xfrm>
          <a:prstGeom prst="rect">
            <a:avLst/>
          </a:prstGeom>
        </p:spPr>
        <p:txBody>
          <a:bodyPr vert="horz" lIns="91440" tIns="45720" rIns="91440" bIns="45720" rtlCol="0" anchor="ctr"/>
          <a:lstStyle>
            <a:lvl1pPr algn="l">
              <a:defRPr sz="1000" b="1">
                <a:solidFill>
                  <a:schemeClr val="tx2"/>
                </a:solidFill>
              </a:defRPr>
            </a:lvl1pPr>
          </a:lstStyle>
          <a:p>
            <a:r>
              <a:rPr lang="en-US" dirty="0">
                <a:solidFill>
                  <a:srgbClr val="1F497D"/>
                </a:solidFill>
              </a:rPr>
              <a:t>©ALTEN Calsoft Labs</a:t>
            </a:r>
          </a:p>
        </p:txBody>
      </p:sp>
      <p:sp>
        <p:nvSpPr>
          <p:cNvPr id="6" name="Footer Placeholder 4"/>
          <p:cNvSpPr txBox="1">
            <a:spLocks/>
          </p:cNvSpPr>
          <p:nvPr userDrawn="1"/>
        </p:nvSpPr>
        <p:spPr>
          <a:xfrm>
            <a:off x="6096000" y="4868164"/>
            <a:ext cx="2677274" cy="273844"/>
          </a:xfrm>
          <a:prstGeom prst="rect">
            <a:avLst/>
          </a:prstGeom>
        </p:spPr>
        <p:txBody>
          <a:bodyPr vert="horz" lIns="91440" tIns="45720" rIns="91440" bIns="45720" rtlCol="0" anchor="ctr"/>
          <a:lstStyle>
            <a:defPPr>
              <a:defRPr lang="en-US"/>
            </a:defPPr>
            <a:lvl1pPr marL="0" algn="ctr" defTabSz="914400" rtl="0" eaLnBrk="1" latinLnBrk="0" hangingPunct="1">
              <a:defRPr sz="10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dirty="0">
                <a:solidFill>
                  <a:srgbClr val="1F497D"/>
                </a:solidFill>
                <a:cs typeface="Arial" pitchFamily="34" charset="0"/>
              </a:rPr>
              <a:t>INNOVATE | INTEGRATE | TRANSFORM</a:t>
            </a:r>
          </a:p>
        </p:txBody>
      </p:sp>
      <p:sp>
        <p:nvSpPr>
          <p:cNvPr id="7" name="Slide Number Placeholder 3"/>
          <p:cNvSpPr>
            <a:spLocks noGrp="1"/>
          </p:cNvSpPr>
          <p:nvPr>
            <p:ph type="sldNum" sz="quarter" idx="4"/>
          </p:nvPr>
        </p:nvSpPr>
        <p:spPr>
          <a:xfrm>
            <a:off x="1905000" y="4863217"/>
            <a:ext cx="457200" cy="274637"/>
          </a:xfrm>
          <a:prstGeom prst="rect">
            <a:avLst/>
          </a:prstGeom>
        </p:spPr>
        <p:txBody>
          <a:bodyPr vert="horz" lIns="91440" tIns="45720" rIns="91440" bIns="45720" rtlCol="0" anchor="ctr"/>
          <a:lstStyle>
            <a:lvl1pPr algn="r">
              <a:defRPr sz="1200" b="1">
                <a:solidFill>
                  <a:schemeClr val="tx2"/>
                </a:solidFill>
              </a:defRPr>
            </a:lvl1pPr>
          </a:lstStyle>
          <a:p>
            <a:fld id="{C9C9E5A2-E050-4219-93F8-78B0C7250E7B}" type="slidenum">
              <a:rPr lang="en-US" smtClean="0">
                <a:solidFill>
                  <a:srgbClr val="1F497D"/>
                </a:solidFill>
              </a:rPr>
              <a:pPr/>
              <a:t>‹#›</a:t>
            </a:fld>
            <a:endParaRPr lang="en-US" dirty="0">
              <a:solidFill>
                <a:srgbClr val="1F497D"/>
              </a:solidFill>
            </a:endParaRPr>
          </a:p>
        </p:txBody>
      </p:sp>
      <p:cxnSp>
        <p:nvCxnSpPr>
          <p:cNvPr id="8" name="Straight Connector 7"/>
          <p:cNvCxnSpPr/>
          <p:nvPr userDrawn="1"/>
        </p:nvCxnSpPr>
        <p:spPr>
          <a:xfrm>
            <a:off x="451946" y="4776550"/>
            <a:ext cx="8686800" cy="0"/>
          </a:xfrm>
          <a:prstGeom prst="line">
            <a:avLst/>
          </a:prstGeom>
          <a:ln w="15875">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flipV="1">
            <a:off x="451946" y="4821928"/>
            <a:ext cx="8685090" cy="14556"/>
          </a:xfrm>
          <a:prstGeom prst="line">
            <a:avLst/>
          </a:prstGeom>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193725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4767263"/>
            <a:ext cx="2133600" cy="273844"/>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57200" y="4862960"/>
            <a:ext cx="1371600" cy="273844"/>
          </a:xfrm>
          <a:prstGeom prst="rect">
            <a:avLst/>
          </a:prstGeom>
        </p:spPr>
        <p:txBody>
          <a:bodyPr/>
          <a:lstStyle/>
          <a:p>
            <a:r>
              <a:rPr lang="en-US">
                <a:solidFill>
                  <a:prstClr val="black"/>
                </a:solidFill>
              </a:rPr>
              <a:t>©ALTEN Calsoft Labs</a:t>
            </a:r>
          </a:p>
        </p:txBody>
      </p:sp>
      <p:sp>
        <p:nvSpPr>
          <p:cNvPr id="7" name="Slide Number Placeholder 6"/>
          <p:cNvSpPr>
            <a:spLocks noGrp="1"/>
          </p:cNvSpPr>
          <p:nvPr>
            <p:ph type="sldNum" sz="quarter" idx="12"/>
          </p:nvPr>
        </p:nvSpPr>
        <p:spPr>
          <a:xfrm>
            <a:off x="0" y="793532"/>
            <a:ext cx="439220" cy="116374"/>
          </a:xfrm>
          <a:prstGeom prst="rect">
            <a:avLst/>
          </a:prstGeom>
        </p:spPr>
        <p:txBody>
          <a:bodyPr/>
          <a:lstStyle/>
          <a:p>
            <a:fld id="{C961254F-E688-4C6C-84A2-DE17C307EA1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015624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4767263"/>
            <a:ext cx="2133600" cy="273844"/>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57200" y="4862960"/>
            <a:ext cx="1371600" cy="273844"/>
          </a:xfrm>
          <a:prstGeom prst="rect">
            <a:avLst/>
          </a:prstGeom>
        </p:spPr>
        <p:txBody>
          <a:bodyPr/>
          <a:lstStyle/>
          <a:p>
            <a:r>
              <a:rPr lang="en-US">
                <a:solidFill>
                  <a:prstClr val="black"/>
                </a:solidFill>
              </a:rPr>
              <a:t>©ALTEN Calsoft Labs</a:t>
            </a:r>
          </a:p>
        </p:txBody>
      </p:sp>
      <p:sp>
        <p:nvSpPr>
          <p:cNvPr id="7" name="Slide Number Placeholder 6"/>
          <p:cNvSpPr>
            <a:spLocks noGrp="1"/>
          </p:cNvSpPr>
          <p:nvPr>
            <p:ph type="sldNum" sz="quarter" idx="12"/>
          </p:nvPr>
        </p:nvSpPr>
        <p:spPr>
          <a:xfrm>
            <a:off x="0" y="793532"/>
            <a:ext cx="439220" cy="116374"/>
          </a:xfrm>
          <a:prstGeom prst="rect">
            <a:avLst/>
          </a:prstGeom>
        </p:spPr>
        <p:txBody>
          <a:bodyPr/>
          <a:lstStyle/>
          <a:p>
            <a:fld id="{C961254F-E688-4C6C-84A2-DE17C307EA1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792608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a:xfrm>
            <a:off x="457200" y="4862960"/>
            <a:ext cx="1371600" cy="273844"/>
          </a:xfrm>
          <a:prstGeom prst="rect">
            <a:avLst/>
          </a:prstGeom>
        </p:spPr>
        <p:txBody>
          <a:bodyPr/>
          <a:lstStyle/>
          <a:p>
            <a:r>
              <a:rPr lang="en-US">
                <a:solidFill>
                  <a:prstClr val="black"/>
                </a:solidFill>
              </a:rPr>
              <a:t>©ALTEN Calsoft Labs</a:t>
            </a:r>
          </a:p>
        </p:txBody>
      </p:sp>
      <p:sp>
        <p:nvSpPr>
          <p:cNvPr id="6" name="Slide Number Placeholder 5"/>
          <p:cNvSpPr>
            <a:spLocks noGrp="1"/>
          </p:cNvSpPr>
          <p:nvPr>
            <p:ph type="sldNum" sz="quarter" idx="12"/>
          </p:nvPr>
        </p:nvSpPr>
        <p:spPr>
          <a:xfrm>
            <a:off x="0" y="793532"/>
            <a:ext cx="439220" cy="116374"/>
          </a:xfrm>
          <a:prstGeom prst="rect">
            <a:avLst/>
          </a:prstGeom>
        </p:spPr>
        <p:txBody>
          <a:bodyPr/>
          <a:lstStyle/>
          <a:p>
            <a:fld id="{C961254F-E688-4C6C-84A2-DE17C307EA1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5328540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a:xfrm>
            <a:off x="457200" y="4862960"/>
            <a:ext cx="1371600" cy="273844"/>
          </a:xfrm>
          <a:prstGeom prst="rect">
            <a:avLst/>
          </a:prstGeom>
        </p:spPr>
        <p:txBody>
          <a:bodyPr/>
          <a:lstStyle/>
          <a:p>
            <a:r>
              <a:rPr lang="en-US">
                <a:solidFill>
                  <a:prstClr val="black"/>
                </a:solidFill>
              </a:rPr>
              <a:t>©ALTEN Calsoft Labs</a:t>
            </a:r>
          </a:p>
        </p:txBody>
      </p:sp>
      <p:sp>
        <p:nvSpPr>
          <p:cNvPr id="6" name="Slide Number Placeholder 5"/>
          <p:cNvSpPr>
            <a:spLocks noGrp="1"/>
          </p:cNvSpPr>
          <p:nvPr>
            <p:ph type="sldNum" sz="quarter" idx="12"/>
          </p:nvPr>
        </p:nvSpPr>
        <p:spPr>
          <a:xfrm>
            <a:off x="0" y="793532"/>
            <a:ext cx="439220" cy="116374"/>
          </a:xfrm>
          <a:prstGeom prst="rect">
            <a:avLst/>
          </a:prstGeom>
        </p:spPr>
        <p:txBody>
          <a:bodyPr/>
          <a:lstStyle/>
          <a:p>
            <a:fld id="{C961254F-E688-4C6C-84A2-DE17C307EA1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68616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5467350" cy="477365"/>
          </a:xfrm>
          <a:prstGeom prst="rect">
            <a:avLst/>
          </a:prstGeom>
        </p:spPr>
        <p:txBody>
          <a:bodyPr/>
          <a:lstStyle/>
          <a:p>
            <a:r>
              <a:rPr lang="en-US"/>
              <a:t>Click to edit Master title style</a:t>
            </a:r>
            <a:endParaRPr lang="en-IN"/>
          </a:p>
        </p:txBody>
      </p:sp>
      <p:sp>
        <p:nvSpPr>
          <p:cNvPr id="3" name="Content Placeholder 2"/>
          <p:cNvSpPr>
            <a:spLocks noGrp="1"/>
          </p:cNvSpPr>
          <p:nvPr>
            <p:ph sz="half" idx="1"/>
          </p:nvPr>
        </p:nvSpPr>
        <p:spPr>
          <a:xfrm>
            <a:off x="628650" y="1370013"/>
            <a:ext cx="3867150" cy="32623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370013"/>
            <a:ext cx="3867150" cy="32623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Slide Number Placeholder 6"/>
          <p:cNvSpPr>
            <a:spLocks noGrp="1"/>
          </p:cNvSpPr>
          <p:nvPr>
            <p:ph type="sldNum" sz="quarter" idx="12"/>
          </p:nvPr>
        </p:nvSpPr>
        <p:spPr>
          <a:xfrm>
            <a:off x="6421736" y="4230187"/>
            <a:ext cx="2057400" cy="274637"/>
          </a:xfrm>
          <a:prstGeom prst="rect">
            <a:avLst/>
          </a:prstGeom>
        </p:spPr>
        <p:txBody>
          <a:bodyPr/>
          <a:lstStyle/>
          <a:p>
            <a:fld id="{FDAD43D5-129F-4869-9B4F-0097813E4B0C}" type="slidenum">
              <a:rPr lang="en-IN" smtClean="0"/>
              <a:t>‹#›</a:t>
            </a:fld>
            <a:endParaRPr lang="en-IN"/>
          </a:p>
        </p:txBody>
      </p:sp>
      <p:sp>
        <p:nvSpPr>
          <p:cNvPr id="9" name="Slide Number Placeholder 3"/>
          <p:cNvSpPr txBox="1">
            <a:spLocks/>
          </p:cNvSpPr>
          <p:nvPr userDrawn="1"/>
        </p:nvSpPr>
        <p:spPr>
          <a:xfrm>
            <a:off x="4038600" y="4863217"/>
            <a:ext cx="457200" cy="274637"/>
          </a:xfrm>
          <a:prstGeom prst="rect">
            <a:avLst/>
          </a:prstGeom>
        </p:spPr>
        <p:txBody>
          <a:bodyPr vert="horz" lIns="91440" tIns="45720" rIns="91440" bIns="45720" rtlCol="0" anchor="ctr"/>
          <a:lstStyle>
            <a:defPPr>
              <a:defRPr lang="en-US"/>
            </a:defPPr>
            <a:lvl1pPr marL="0" algn="ctr" defTabSz="914400" rtl="0" eaLnBrk="1" latinLnBrk="0" hangingPunct="1">
              <a:defRPr sz="8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C9E5A2-E050-4219-93F8-78B0C7250E7B}" type="slidenum">
              <a:rPr lang="en-US" smtClean="0"/>
              <a:pPr/>
              <a:t>‹#›</a:t>
            </a:fld>
            <a:endParaRPr lang="en-US" dirty="0"/>
          </a:p>
        </p:txBody>
      </p:sp>
      <p:cxnSp>
        <p:nvCxnSpPr>
          <p:cNvPr id="10" name="Straight Connector 9"/>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74672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32827" y="274639"/>
            <a:ext cx="8084111" cy="468312"/>
          </a:xfrm>
          <a:prstGeom prst="rect">
            <a:avLst/>
          </a:prstGeom>
        </p:spPr>
        <p:txBody>
          <a:bodyPr/>
          <a:lstStyle/>
          <a:p>
            <a:r>
              <a:rPr lang="en-US" dirty="0"/>
              <a:t>Click to edit Master title style</a:t>
            </a:r>
            <a:endParaRPr lang="en-IN" dirty="0"/>
          </a:p>
        </p:txBody>
      </p:sp>
      <p:sp>
        <p:nvSpPr>
          <p:cNvPr id="3" name="Text Placeholder 2"/>
          <p:cNvSpPr>
            <a:spLocks noGrp="1"/>
          </p:cNvSpPr>
          <p:nvPr>
            <p:ph type="body" idx="1"/>
          </p:nvPr>
        </p:nvSpPr>
        <p:spPr>
          <a:xfrm>
            <a:off x="533400" y="1260475"/>
            <a:ext cx="3965575" cy="619125"/>
          </a:xfrm>
          <a:prstGeom prst="rect">
            <a:avLst/>
          </a:prstGeo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3400" y="1879600"/>
            <a:ext cx="3965575" cy="276225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5" name="Text Placeholder 4"/>
          <p:cNvSpPr>
            <a:spLocks noGrp="1"/>
          </p:cNvSpPr>
          <p:nvPr>
            <p:ph type="body" sz="quarter" idx="3"/>
          </p:nvPr>
        </p:nvSpPr>
        <p:spPr>
          <a:xfrm>
            <a:off x="4629150" y="1260475"/>
            <a:ext cx="3887788" cy="619125"/>
          </a:xfrm>
          <a:prstGeom prst="rect">
            <a:avLst/>
          </a:prstGeo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29150" y="1879600"/>
            <a:ext cx="3887788" cy="27622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1" name="Slide Number Placeholder 3"/>
          <p:cNvSpPr txBox="1">
            <a:spLocks/>
          </p:cNvSpPr>
          <p:nvPr userDrawn="1"/>
        </p:nvSpPr>
        <p:spPr>
          <a:xfrm>
            <a:off x="4038600" y="4863217"/>
            <a:ext cx="457200" cy="274637"/>
          </a:xfrm>
          <a:prstGeom prst="rect">
            <a:avLst/>
          </a:prstGeom>
        </p:spPr>
        <p:txBody>
          <a:bodyPr vert="horz" lIns="91440" tIns="45720" rIns="91440" bIns="45720" rtlCol="0" anchor="ctr"/>
          <a:lstStyle>
            <a:defPPr>
              <a:defRPr lang="en-US"/>
            </a:defPPr>
            <a:lvl1pPr marL="0" algn="ctr" defTabSz="914400" rtl="0" eaLnBrk="1" latinLnBrk="0" hangingPunct="1">
              <a:defRPr sz="8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C9E5A2-E050-4219-93F8-78B0C7250E7B}" type="slidenum">
              <a:rPr lang="en-US" smtClean="0"/>
              <a:pPr/>
              <a:t>‹#›</a:t>
            </a:fld>
            <a:endParaRPr lang="en-US" dirty="0"/>
          </a:p>
        </p:txBody>
      </p:sp>
      <p:cxnSp>
        <p:nvCxnSpPr>
          <p:cNvPr id="12" name="Straight Connector 11"/>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5673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Title 11"/>
          <p:cNvSpPr>
            <a:spLocks noGrp="1"/>
          </p:cNvSpPr>
          <p:nvPr>
            <p:ph type="title"/>
          </p:nvPr>
        </p:nvSpPr>
        <p:spPr>
          <a:xfrm>
            <a:off x="628650" y="274638"/>
            <a:ext cx="7886700" cy="993775"/>
          </a:xfrm>
          <a:prstGeom prst="rect">
            <a:avLst/>
          </a:prstGeom>
        </p:spPr>
        <p:txBody>
          <a:bodyPr/>
          <a:lstStyle/>
          <a:p>
            <a:r>
              <a:rPr lang="en-US"/>
              <a:t>Click to edit Master title style</a:t>
            </a:r>
            <a:endParaRPr lang="en-IN"/>
          </a:p>
        </p:txBody>
      </p:sp>
    </p:spTree>
    <p:extLst>
      <p:ext uri="{BB962C8B-B14F-4D97-AF65-F5344CB8AC3E}">
        <p14:creationId xmlns:p14="http://schemas.microsoft.com/office/powerpoint/2010/main" val="39920225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cxnSp>
        <p:nvCxnSpPr>
          <p:cNvPr id="7" name="Straight Connector 6"/>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8"/>
          <p:cNvSpPr>
            <a:spLocks noGrp="1"/>
          </p:cNvSpPr>
          <p:nvPr>
            <p:ph type="sldNum" sz="quarter" idx="11"/>
          </p:nvPr>
        </p:nvSpPr>
        <p:spPr/>
        <p:txBody>
          <a:bodyPr/>
          <a:lstStyle/>
          <a:p>
            <a:fld id="{372B14DA-0725-441A-AF20-5A85B13C0C19}" type="slidenum">
              <a:rPr lang="en-IN" smtClean="0"/>
              <a:t>‹#›</a:t>
            </a:fld>
            <a:endParaRPr lang="en-IN"/>
          </a:p>
        </p:txBody>
      </p:sp>
      <p:sp>
        <p:nvSpPr>
          <p:cNvPr id="11" name="Freeform 33"/>
          <p:cNvSpPr>
            <a:spLocks noEditPoints="1"/>
          </p:cNvSpPr>
          <p:nvPr userDrawn="1"/>
        </p:nvSpPr>
        <p:spPr bwMode="auto">
          <a:xfrm>
            <a:off x="879553" y="837809"/>
            <a:ext cx="5292648" cy="3425831"/>
          </a:xfrm>
          <a:custGeom>
            <a:avLst/>
            <a:gdLst>
              <a:gd name="T0" fmla="*/ 2948 w 7941"/>
              <a:gd name="T1" fmla="*/ 3873 h 5142"/>
              <a:gd name="T2" fmla="*/ 2020 w 7941"/>
              <a:gd name="T3" fmla="*/ 3426 h 5142"/>
              <a:gd name="T4" fmla="*/ 2196 w 7941"/>
              <a:gd name="T5" fmla="*/ 2645 h 5142"/>
              <a:gd name="T6" fmla="*/ 2542 w 7941"/>
              <a:gd name="T7" fmla="*/ 2318 h 5142"/>
              <a:gd name="T8" fmla="*/ 1863 w 7941"/>
              <a:gd name="T9" fmla="*/ 2083 h 5142"/>
              <a:gd name="T10" fmla="*/ 2142 w 7941"/>
              <a:gd name="T11" fmla="*/ 1651 h 5142"/>
              <a:gd name="T12" fmla="*/ 2171 w 7941"/>
              <a:gd name="T13" fmla="*/ 1385 h 5142"/>
              <a:gd name="T14" fmla="*/ 1885 w 7941"/>
              <a:gd name="T15" fmla="*/ 1531 h 5142"/>
              <a:gd name="T16" fmla="*/ 1620 w 7941"/>
              <a:gd name="T17" fmla="*/ 1556 h 5142"/>
              <a:gd name="T18" fmla="*/ 803 w 7941"/>
              <a:gd name="T19" fmla="*/ 1505 h 5142"/>
              <a:gd name="T20" fmla="*/ 158 w 7941"/>
              <a:gd name="T21" fmla="*/ 1840 h 5142"/>
              <a:gd name="T22" fmla="*/ 444 w 7941"/>
              <a:gd name="T23" fmla="*/ 1924 h 5142"/>
              <a:gd name="T24" fmla="*/ 1239 w 7941"/>
              <a:gd name="T25" fmla="*/ 2974 h 5142"/>
              <a:gd name="T26" fmla="*/ 2046 w 7941"/>
              <a:gd name="T27" fmla="*/ 3886 h 5142"/>
              <a:gd name="T28" fmla="*/ 7753 w 7941"/>
              <a:gd name="T29" fmla="*/ 1345 h 5142"/>
              <a:gd name="T30" fmla="*/ 5969 w 7941"/>
              <a:gd name="T31" fmla="*/ 723 h 5142"/>
              <a:gd name="T32" fmla="*/ 4937 w 7941"/>
              <a:gd name="T33" fmla="*/ 535 h 5142"/>
              <a:gd name="T34" fmla="*/ 4783 w 7941"/>
              <a:gd name="T35" fmla="*/ 514 h 5142"/>
              <a:gd name="T36" fmla="*/ 4275 w 7941"/>
              <a:gd name="T37" fmla="*/ 863 h 5142"/>
              <a:gd name="T38" fmla="*/ 2008 w 7941"/>
              <a:gd name="T39" fmla="*/ 1868 h 5142"/>
              <a:gd name="T40" fmla="*/ 1666 w 7941"/>
              <a:gd name="T41" fmla="*/ 491 h 5142"/>
              <a:gd name="T42" fmla="*/ 1665 w 7941"/>
              <a:gd name="T43" fmla="*/ 1125 h 5142"/>
              <a:gd name="T44" fmla="*/ 1891 w 7941"/>
              <a:gd name="T45" fmla="*/ 957 h 5142"/>
              <a:gd name="T46" fmla="*/ 2325 w 7941"/>
              <a:gd name="T47" fmla="*/ 367 h 5142"/>
              <a:gd name="T48" fmla="*/ 1926 w 7941"/>
              <a:gd name="T49" fmla="*/ 273 h 5142"/>
              <a:gd name="T50" fmla="*/ 2008 w 7941"/>
              <a:gd name="T51" fmla="*/ 402 h 5142"/>
              <a:gd name="T52" fmla="*/ 1844 w 7941"/>
              <a:gd name="T53" fmla="*/ 819 h 5142"/>
              <a:gd name="T54" fmla="*/ 1449 w 7941"/>
              <a:gd name="T55" fmla="*/ 758 h 5142"/>
              <a:gd name="T56" fmla="*/ 1158 w 7941"/>
              <a:gd name="T57" fmla="*/ 997 h 5142"/>
              <a:gd name="T58" fmla="*/ 1521 w 7941"/>
              <a:gd name="T59" fmla="*/ 1287 h 5142"/>
              <a:gd name="T60" fmla="*/ 1482 w 7941"/>
              <a:gd name="T61" fmla="*/ 1476 h 5142"/>
              <a:gd name="T62" fmla="*/ 1492 w 7941"/>
              <a:gd name="T63" fmla="*/ 1524 h 5142"/>
              <a:gd name="T64" fmla="*/ 5555 w 7941"/>
              <a:gd name="T65" fmla="*/ 3445 h 5142"/>
              <a:gd name="T66" fmla="*/ 6836 w 7941"/>
              <a:gd name="T67" fmla="*/ 2664 h 5142"/>
              <a:gd name="T68" fmla="*/ 6358 w 7941"/>
              <a:gd name="T69" fmla="*/ 3535 h 5142"/>
              <a:gd name="T70" fmla="*/ 6836 w 7941"/>
              <a:gd name="T71" fmla="*/ 3685 h 5142"/>
              <a:gd name="T72" fmla="*/ 3265 w 7941"/>
              <a:gd name="T73" fmla="*/ 1210 h 5142"/>
              <a:gd name="T74" fmla="*/ 3482 w 7941"/>
              <a:gd name="T75" fmla="*/ 365 h 5142"/>
              <a:gd name="T76" fmla="*/ 3073 w 7941"/>
              <a:gd name="T77" fmla="*/ 104 h 5142"/>
              <a:gd name="T78" fmla="*/ 2759 w 7941"/>
              <a:gd name="T79" fmla="*/ 242 h 5142"/>
              <a:gd name="T80" fmla="*/ 2287 w 7941"/>
              <a:gd name="T81" fmla="*/ 571 h 5142"/>
              <a:gd name="T82" fmla="*/ 2578 w 7941"/>
              <a:gd name="T83" fmla="*/ 1335 h 5142"/>
              <a:gd name="T84" fmla="*/ 5119 w 7941"/>
              <a:gd name="T85" fmla="*/ 978 h 5142"/>
              <a:gd name="T86" fmla="*/ 3549 w 7941"/>
              <a:gd name="T87" fmla="*/ 2206 h 5142"/>
              <a:gd name="T88" fmla="*/ 7611 w 7941"/>
              <a:gd name="T89" fmla="*/ 4481 h 5142"/>
              <a:gd name="T90" fmla="*/ 6294 w 7941"/>
              <a:gd name="T91" fmla="*/ 4346 h 5142"/>
              <a:gd name="T92" fmla="*/ 7004 w 7941"/>
              <a:gd name="T93" fmla="*/ 4536 h 5142"/>
              <a:gd name="T94" fmla="*/ 4058 w 7941"/>
              <a:gd name="T95" fmla="*/ 3907 h 5142"/>
              <a:gd name="T96" fmla="*/ 4245 w 7941"/>
              <a:gd name="T97" fmla="*/ 2862 h 5142"/>
              <a:gd name="T98" fmla="*/ 4000 w 7941"/>
              <a:gd name="T99" fmla="*/ 2600 h 5142"/>
              <a:gd name="T100" fmla="*/ 3986 w 7941"/>
              <a:gd name="T101" fmla="*/ 2018 h 5142"/>
              <a:gd name="T102" fmla="*/ 4490 w 7941"/>
              <a:gd name="T103" fmla="*/ 1664 h 5142"/>
              <a:gd name="T104" fmla="*/ 5068 w 7941"/>
              <a:gd name="T105" fmla="*/ 1523 h 5142"/>
              <a:gd name="T106" fmla="*/ 5396 w 7941"/>
              <a:gd name="T107" fmla="*/ 1525 h 5142"/>
              <a:gd name="T108" fmla="*/ 5859 w 7941"/>
              <a:gd name="T109" fmla="*/ 947 h 5142"/>
              <a:gd name="T110" fmla="*/ 6467 w 7941"/>
              <a:gd name="T111" fmla="*/ 1241 h 5142"/>
              <a:gd name="T112" fmla="*/ 7449 w 7941"/>
              <a:gd name="T113" fmla="*/ 1461 h 5142"/>
              <a:gd name="T114" fmla="*/ 7348 w 7941"/>
              <a:gd name="T115" fmla="*/ 2069 h 5142"/>
              <a:gd name="T116" fmla="*/ 6864 w 7941"/>
              <a:gd name="T117" fmla="*/ 2253 h 5142"/>
              <a:gd name="T118" fmla="*/ 6197 w 7941"/>
              <a:gd name="T119" fmla="*/ 3206 h 5142"/>
              <a:gd name="T120" fmla="*/ 6665 w 7941"/>
              <a:gd name="T121" fmla="*/ 3788 h 5142"/>
              <a:gd name="T122" fmla="*/ 5469 w 7941"/>
              <a:gd name="T123" fmla="*/ 3460 h 5142"/>
              <a:gd name="T124" fmla="*/ 4526 w 7941"/>
              <a:gd name="T125" fmla="*/ 2954 h 5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41" h="5142">
                <a:moveTo>
                  <a:pt x="2367" y="5089"/>
                </a:moveTo>
                <a:lnTo>
                  <a:pt x="2366" y="5085"/>
                </a:lnTo>
                <a:lnTo>
                  <a:pt x="2364" y="5083"/>
                </a:lnTo>
                <a:lnTo>
                  <a:pt x="2362" y="5082"/>
                </a:lnTo>
                <a:lnTo>
                  <a:pt x="2359" y="5081"/>
                </a:lnTo>
                <a:lnTo>
                  <a:pt x="2351" y="5079"/>
                </a:lnTo>
                <a:lnTo>
                  <a:pt x="2338" y="5078"/>
                </a:lnTo>
                <a:lnTo>
                  <a:pt x="2324" y="5076"/>
                </a:lnTo>
                <a:lnTo>
                  <a:pt x="2313" y="5074"/>
                </a:lnTo>
                <a:lnTo>
                  <a:pt x="2309" y="5072"/>
                </a:lnTo>
                <a:lnTo>
                  <a:pt x="2303" y="5070"/>
                </a:lnTo>
                <a:lnTo>
                  <a:pt x="2300" y="5068"/>
                </a:lnTo>
                <a:lnTo>
                  <a:pt x="2297" y="5065"/>
                </a:lnTo>
                <a:lnTo>
                  <a:pt x="2289" y="5057"/>
                </a:lnTo>
                <a:lnTo>
                  <a:pt x="2278" y="5047"/>
                </a:lnTo>
                <a:lnTo>
                  <a:pt x="2273" y="5041"/>
                </a:lnTo>
                <a:lnTo>
                  <a:pt x="2269" y="5035"/>
                </a:lnTo>
                <a:lnTo>
                  <a:pt x="2266" y="5031"/>
                </a:lnTo>
                <a:lnTo>
                  <a:pt x="2265" y="5027"/>
                </a:lnTo>
                <a:lnTo>
                  <a:pt x="2267" y="5019"/>
                </a:lnTo>
                <a:lnTo>
                  <a:pt x="2269" y="5014"/>
                </a:lnTo>
                <a:lnTo>
                  <a:pt x="2270" y="5012"/>
                </a:lnTo>
                <a:lnTo>
                  <a:pt x="2271" y="5009"/>
                </a:lnTo>
                <a:lnTo>
                  <a:pt x="2271" y="5007"/>
                </a:lnTo>
                <a:lnTo>
                  <a:pt x="2270" y="5005"/>
                </a:lnTo>
                <a:lnTo>
                  <a:pt x="2267" y="5000"/>
                </a:lnTo>
                <a:lnTo>
                  <a:pt x="2266" y="4993"/>
                </a:lnTo>
                <a:lnTo>
                  <a:pt x="2266" y="4987"/>
                </a:lnTo>
                <a:lnTo>
                  <a:pt x="2266" y="4980"/>
                </a:lnTo>
                <a:lnTo>
                  <a:pt x="2265" y="4975"/>
                </a:lnTo>
                <a:lnTo>
                  <a:pt x="2261" y="4970"/>
                </a:lnTo>
                <a:lnTo>
                  <a:pt x="2257" y="4965"/>
                </a:lnTo>
                <a:lnTo>
                  <a:pt x="2252" y="4960"/>
                </a:lnTo>
                <a:lnTo>
                  <a:pt x="2248" y="4954"/>
                </a:lnTo>
                <a:lnTo>
                  <a:pt x="2245" y="4949"/>
                </a:lnTo>
                <a:lnTo>
                  <a:pt x="2244" y="4947"/>
                </a:lnTo>
                <a:lnTo>
                  <a:pt x="2243" y="4945"/>
                </a:lnTo>
                <a:lnTo>
                  <a:pt x="2243" y="4943"/>
                </a:lnTo>
                <a:lnTo>
                  <a:pt x="2244" y="4942"/>
                </a:lnTo>
                <a:lnTo>
                  <a:pt x="2252" y="4935"/>
                </a:lnTo>
                <a:lnTo>
                  <a:pt x="2265" y="4925"/>
                </a:lnTo>
                <a:lnTo>
                  <a:pt x="2272" y="4920"/>
                </a:lnTo>
                <a:lnTo>
                  <a:pt x="2277" y="4915"/>
                </a:lnTo>
                <a:lnTo>
                  <a:pt x="2279" y="4912"/>
                </a:lnTo>
                <a:lnTo>
                  <a:pt x="2281" y="4909"/>
                </a:lnTo>
                <a:lnTo>
                  <a:pt x="2282" y="4906"/>
                </a:lnTo>
                <a:lnTo>
                  <a:pt x="2282" y="4903"/>
                </a:lnTo>
                <a:lnTo>
                  <a:pt x="2281" y="4894"/>
                </a:lnTo>
                <a:lnTo>
                  <a:pt x="2280" y="4885"/>
                </a:lnTo>
                <a:lnTo>
                  <a:pt x="2280" y="4881"/>
                </a:lnTo>
                <a:lnTo>
                  <a:pt x="2281" y="4878"/>
                </a:lnTo>
                <a:lnTo>
                  <a:pt x="2283" y="4875"/>
                </a:lnTo>
                <a:lnTo>
                  <a:pt x="2288" y="4872"/>
                </a:lnTo>
                <a:lnTo>
                  <a:pt x="2298" y="4865"/>
                </a:lnTo>
                <a:lnTo>
                  <a:pt x="2308" y="4858"/>
                </a:lnTo>
                <a:lnTo>
                  <a:pt x="2314" y="4851"/>
                </a:lnTo>
                <a:lnTo>
                  <a:pt x="2317" y="4846"/>
                </a:lnTo>
                <a:lnTo>
                  <a:pt x="2317" y="4839"/>
                </a:lnTo>
                <a:lnTo>
                  <a:pt x="2316" y="4829"/>
                </a:lnTo>
                <a:lnTo>
                  <a:pt x="2313" y="4819"/>
                </a:lnTo>
                <a:lnTo>
                  <a:pt x="2310" y="4811"/>
                </a:lnTo>
                <a:lnTo>
                  <a:pt x="2302" y="4805"/>
                </a:lnTo>
                <a:lnTo>
                  <a:pt x="2293" y="4797"/>
                </a:lnTo>
                <a:lnTo>
                  <a:pt x="2288" y="4793"/>
                </a:lnTo>
                <a:lnTo>
                  <a:pt x="2284" y="4789"/>
                </a:lnTo>
                <a:lnTo>
                  <a:pt x="2282" y="4784"/>
                </a:lnTo>
                <a:lnTo>
                  <a:pt x="2281" y="4780"/>
                </a:lnTo>
                <a:lnTo>
                  <a:pt x="2282" y="4771"/>
                </a:lnTo>
                <a:lnTo>
                  <a:pt x="2284" y="4764"/>
                </a:lnTo>
                <a:lnTo>
                  <a:pt x="2286" y="4762"/>
                </a:lnTo>
                <a:lnTo>
                  <a:pt x="2288" y="4760"/>
                </a:lnTo>
                <a:lnTo>
                  <a:pt x="2291" y="4759"/>
                </a:lnTo>
                <a:lnTo>
                  <a:pt x="2295" y="4759"/>
                </a:lnTo>
                <a:lnTo>
                  <a:pt x="2300" y="4758"/>
                </a:lnTo>
                <a:lnTo>
                  <a:pt x="2305" y="4756"/>
                </a:lnTo>
                <a:lnTo>
                  <a:pt x="2311" y="4755"/>
                </a:lnTo>
                <a:lnTo>
                  <a:pt x="2315" y="4753"/>
                </a:lnTo>
                <a:lnTo>
                  <a:pt x="2323" y="4748"/>
                </a:lnTo>
                <a:lnTo>
                  <a:pt x="2329" y="4745"/>
                </a:lnTo>
                <a:lnTo>
                  <a:pt x="2329" y="4740"/>
                </a:lnTo>
                <a:lnTo>
                  <a:pt x="2326" y="4727"/>
                </a:lnTo>
                <a:lnTo>
                  <a:pt x="2326" y="4720"/>
                </a:lnTo>
                <a:lnTo>
                  <a:pt x="2327" y="4712"/>
                </a:lnTo>
                <a:lnTo>
                  <a:pt x="2329" y="4709"/>
                </a:lnTo>
                <a:lnTo>
                  <a:pt x="2330" y="4706"/>
                </a:lnTo>
                <a:lnTo>
                  <a:pt x="2332" y="4703"/>
                </a:lnTo>
                <a:lnTo>
                  <a:pt x="2335" y="4701"/>
                </a:lnTo>
                <a:lnTo>
                  <a:pt x="2346" y="4695"/>
                </a:lnTo>
                <a:lnTo>
                  <a:pt x="2359" y="4690"/>
                </a:lnTo>
                <a:lnTo>
                  <a:pt x="2363" y="4688"/>
                </a:lnTo>
                <a:lnTo>
                  <a:pt x="2367" y="4685"/>
                </a:lnTo>
                <a:lnTo>
                  <a:pt x="2368" y="4684"/>
                </a:lnTo>
                <a:lnTo>
                  <a:pt x="2369" y="4681"/>
                </a:lnTo>
                <a:lnTo>
                  <a:pt x="2369" y="4679"/>
                </a:lnTo>
                <a:lnTo>
                  <a:pt x="2369" y="4676"/>
                </a:lnTo>
                <a:lnTo>
                  <a:pt x="2369" y="4672"/>
                </a:lnTo>
                <a:lnTo>
                  <a:pt x="2367" y="4668"/>
                </a:lnTo>
                <a:lnTo>
                  <a:pt x="2365" y="4665"/>
                </a:lnTo>
                <a:lnTo>
                  <a:pt x="2362" y="4663"/>
                </a:lnTo>
                <a:lnTo>
                  <a:pt x="2355" y="4658"/>
                </a:lnTo>
                <a:lnTo>
                  <a:pt x="2347" y="4653"/>
                </a:lnTo>
                <a:lnTo>
                  <a:pt x="2340" y="4650"/>
                </a:lnTo>
                <a:lnTo>
                  <a:pt x="2335" y="4645"/>
                </a:lnTo>
                <a:lnTo>
                  <a:pt x="2334" y="4644"/>
                </a:lnTo>
                <a:lnTo>
                  <a:pt x="2333" y="4643"/>
                </a:lnTo>
                <a:lnTo>
                  <a:pt x="2333" y="4641"/>
                </a:lnTo>
                <a:lnTo>
                  <a:pt x="2335" y="4640"/>
                </a:lnTo>
                <a:lnTo>
                  <a:pt x="2347" y="4637"/>
                </a:lnTo>
                <a:lnTo>
                  <a:pt x="2366" y="4634"/>
                </a:lnTo>
                <a:lnTo>
                  <a:pt x="2375" y="4632"/>
                </a:lnTo>
                <a:lnTo>
                  <a:pt x="2383" y="4630"/>
                </a:lnTo>
                <a:lnTo>
                  <a:pt x="2389" y="4627"/>
                </a:lnTo>
                <a:lnTo>
                  <a:pt x="2393" y="4623"/>
                </a:lnTo>
                <a:lnTo>
                  <a:pt x="2396" y="4618"/>
                </a:lnTo>
                <a:lnTo>
                  <a:pt x="2397" y="4611"/>
                </a:lnTo>
                <a:lnTo>
                  <a:pt x="2397" y="4602"/>
                </a:lnTo>
                <a:lnTo>
                  <a:pt x="2398" y="4594"/>
                </a:lnTo>
                <a:lnTo>
                  <a:pt x="2399" y="4587"/>
                </a:lnTo>
                <a:lnTo>
                  <a:pt x="2400" y="4579"/>
                </a:lnTo>
                <a:lnTo>
                  <a:pt x="2401" y="4576"/>
                </a:lnTo>
                <a:lnTo>
                  <a:pt x="2403" y="4574"/>
                </a:lnTo>
                <a:lnTo>
                  <a:pt x="2404" y="4572"/>
                </a:lnTo>
                <a:lnTo>
                  <a:pt x="2406" y="4571"/>
                </a:lnTo>
                <a:lnTo>
                  <a:pt x="2425" y="4568"/>
                </a:lnTo>
                <a:lnTo>
                  <a:pt x="2455" y="4565"/>
                </a:lnTo>
                <a:lnTo>
                  <a:pt x="2471" y="4563"/>
                </a:lnTo>
                <a:lnTo>
                  <a:pt x="2485" y="4559"/>
                </a:lnTo>
                <a:lnTo>
                  <a:pt x="2490" y="4558"/>
                </a:lnTo>
                <a:lnTo>
                  <a:pt x="2494" y="4556"/>
                </a:lnTo>
                <a:lnTo>
                  <a:pt x="2497" y="4554"/>
                </a:lnTo>
                <a:lnTo>
                  <a:pt x="2498" y="4552"/>
                </a:lnTo>
                <a:lnTo>
                  <a:pt x="2505" y="4540"/>
                </a:lnTo>
                <a:lnTo>
                  <a:pt x="2513" y="4523"/>
                </a:lnTo>
                <a:lnTo>
                  <a:pt x="2520" y="4508"/>
                </a:lnTo>
                <a:lnTo>
                  <a:pt x="2524" y="4503"/>
                </a:lnTo>
                <a:lnTo>
                  <a:pt x="2520" y="4498"/>
                </a:lnTo>
                <a:lnTo>
                  <a:pt x="2512" y="4488"/>
                </a:lnTo>
                <a:lnTo>
                  <a:pt x="2508" y="4482"/>
                </a:lnTo>
                <a:lnTo>
                  <a:pt x="2505" y="4477"/>
                </a:lnTo>
                <a:lnTo>
                  <a:pt x="2505" y="4474"/>
                </a:lnTo>
                <a:lnTo>
                  <a:pt x="2505" y="4471"/>
                </a:lnTo>
                <a:lnTo>
                  <a:pt x="2505" y="4470"/>
                </a:lnTo>
                <a:lnTo>
                  <a:pt x="2506" y="4468"/>
                </a:lnTo>
                <a:lnTo>
                  <a:pt x="2510" y="4466"/>
                </a:lnTo>
                <a:lnTo>
                  <a:pt x="2516" y="4464"/>
                </a:lnTo>
                <a:lnTo>
                  <a:pt x="2524" y="4463"/>
                </a:lnTo>
                <a:lnTo>
                  <a:pt x="2532" y="4461"/>
                </a:lnTo>
                <a:lnTo>
                  <a:pt x="2546" y="4459"/>
                </a:lnTo>
                <a:lnTo>
                  <a:pt x="2554" y="4458"/>
                </a:lnTo>
                <a:lnTo>
                  <a:pt x="2560" y="4456"/>
                </a:lnTo>
                <a:lnTo>
                  <a:pt x="2571" y="4451"/>
                </a:lnTo>
                <a:lnTo>
                  <a:pt x="2577" y="4447"/>
                </a:lnTo>
                <a:lnTo>
                  <a:pt x="2583" y="4443"/>
                </a:lnTo>
                <a:lnTo>
                  <a:pt x="2588" y="4439"/>
                </a:lnTo>
                <a:lnTo>
                  <a:pt x="2594" y="4434"/>
                </a:lnTo>
                <a:lnTo>
                  <a:pt x="2601" y="4423"/>
                </a:lnTo>
                <a:lnTo>
                  <a:pt x="2608" y="4412"/>
                </a:lnTo>
                <a:lnTo>
                  <a:pt x="2615" y="4400"/>
                </a:lnTo>
                <a:lnTo>
                  <a:pt x="2621" y="4390"/>
                </a:lnTo>
                <a:lnTo>
                  <a:pt x="2628" y="4379"/>
                </a:lnTo>
                <a:lnTo>
                  <a:pt x="2635" y="4371"/>
                </a:lnTo>
                <a:lnTo>
                  <a:pt x="2643" y="4363"/>
                </a:lnTo>
                <a:lnTo>
                  <a:pt x="2649" y="4355"/>
                </a:lnTo>
                <a:lnTo>
                  <a:pt x="2652" y="4351"/>
                </a:lnTo>
                <a:lnTo>
                  <a:pt x="2655" y="4347"/>
                </a:lnTo>
                <a:lnTo>
                  <a:pt x="2657" y="4342"/>
                </a:lnTo>
                <a:lnTo>
                  <a:pt x="2660" y="4335"/>
                </a:lnTo>
                <a:lnTo>
                  <a:pt x="2664" y="4324"/>
                </a:lnTo>
                <a:lnTo>
                  <a:pt x="2667" y="4315"/>
                </a:lnTo>
                <a:lnTo>
                  <a:pt x="2681" y="4305"/>
                </a:lnTo>
                <a:lnTo>
                  <a:pt x="2691" y="4295"/>
                </a:lnTo>
                <a:lnTo>
                  <a:pt x="2693" y="4284"/>
                </a:lnTo>
                <a:lnTo>
                  <a:pt x="2693" y="4269"/>
                </a:lnTo>
                <a:lnTo>
                  <a:pt x="2693" y="4257"/>
                </a:lnTo>
                <a:lnTo>
                  <a:pt x="2693" y="4239"/>
                </a:lnTo>
                <a:lnTo>
                  <a:pt x="2694" y="4229"/>
                </a:lnTo>
                <a:lnTo>
                  <a:pt x="2695" y="4222"/>
                </a:lnTo>
                <a:lnTo>
                  <a:pt x="2697" y="4219"/>
                </a:lnTo>
                <a:lnTo>
                  <a:pt x="2698" y="4216"/>
                </a:lnTo>
                <a:lnTo>
                  <a:pt x="2700" y="4214"/>
                </a:lnTo>
                <a:lnTo>
                  <a:pt x="2703" y="4213"/>
                </a:lnTo>
                <a:lnTo>
                  <a:pt x="2708" y="4210"/>
                </a:lnTo>
                <a:lnTo>
                  <a:pt x="2713" y="4206"/>
                </a:lnTo>
                <a:lnTo>
                  <a:pt x="2717" y="4202"/>
                </a:lnTo>
                <a:lnTo>
                  <a:pt x="2722" y="4197"/>
                </a:lnTo>
                <a:lnTo>
                  <a:pt x="2732" y="4188"/>
                </a:lnTo>
                <a:lnTo>
                  <a:pt x="2741" y="4179"/>
                </a:lnTo>
                <a:lnTo>
                  <a:pt x="2746" y="4177"/>
                </a:lnTo>
                <a:lnTo>
                  <a:pt x="2750" y="4176"/>
                </a:lnTo>
                <a:lnTo>
                  <a:pt x="2754" y="4175"/>
                </a:lnTo>
                <a:lnTo>
                  <a:pt x="2758" y="4175"/>
                </a:lnTo>
                <a:lnTo>
                  <a:pt x="2763" y="4175"/>
                </a:lnTo>
                <a:lnTo>
                  <a:pt x="2768" y="4175"/>
                </a:lnTo>
                <a:lnTo>
                  <a:pt x="2773" y="4174"/>
                </a:lnTo>
                <a:lnTo>
                  <a:pt x="2777" y="4172"/>
                </a:lnTo>
                <a:lnTo>
                  <a:pt x="2788" y="4167"/>
                </a:lnTo>
                <a:lnTo>
                  <a:pt x="2801" y="4162"/>
                </a:lnTo>
                <a:lnTo>
                  <a:pt x="2814" y="4158"/>
                </a:lnTo>
                <a:lnTo>
                  <a:pt x="2823" y="4157"/>
                </a:lnTo>
                <a:lnTo>
                  <a:pt x="2830" y="4158"/>
                </a:lnTo>
                <a:lnTo>
                  <a:pt x="2835" y="4159"/>
                </a:lnTo>
                <a:lnTo>
                  <a:pt x="2838" y="4160"/>
                </a:lnTo>
                <a:lnTo>
                  <a:pt x="2840" y="4159"/>
                </a:lnTo>
                <a:lnTo>
                  <a:pt x="2842" y="4158"/>
                </a:lnTo>
                <a:lnTo>
                  <a:pt x="2845" y="4155"/>
                </a:lnTo>
                <a:lnTo>
                  <a:pt x="2852" y="4148"/>
                </a:lnTo>
                <a:lnTo>
                  <a:pt x="2860" y="4138"/>
                </a:lnTo>
                <a:lnTo>
                  <a:pt x="2862" y="4133"/>
                </a:lnTo>
                <a:lnTo>
                  <a:pt x="2863" y="4128"/>
                </a:lnTo>
                <a:lnTo>
                  <a:pt x="2863" y="4123"/>
                </a:lnTo>
                <a:lnTo>
                  <a:pt x="2864" y="4116"/>
                </a:lnTo>
                <a:lnTo>
                  <a:pt x="2864" y="4110"/>
                </a:lnTo>
                <a:lnTo>
                  <a:pt x="2865" y="4105"/>
                </a:lnTo>
                <a:lnTo>
                  <a:pt x="2867" y="4101"/>
                </a:lnTo>
                <a:lnTo>
                  <a:pt x="2871" y="4096"/>
                </a:lnTo>
                <a:lnTo>
                  <a:pt x="2881" y="4090"/>
                </a:lnTo>
                <a:lnTo>
                  <a:pt x="2887" y="4085"/>
                </a:lnTo>
                <a:lnTo>
                  <a:pt x="2890" y="4082"/>
                </a:lnTo>
                <a:lnTo>
                  <a:pt x="2892" y="4080"/>
                </a:lnTo>
                <a:lnTo>
                  <a:pt x="2893" y="4076"/>
                </a:lnTo>
                <a:lnTo>
                  <a:pt x="2894" y="4073"/>
                </a:lnTo>
                <a:lnTo>
                  <a:pt x="2894" y="4064"/>
                </a:lnTo>
                <a:lnTo>
                  <a:pt x="2895" y="4051"/>
                </a:lnTo>
                <a:lnTo>
                  <a:pt x="2896" y="4040"/>
                </a:lnTo>
                <a:lnTo>
                  <a:pt x="2900" y="4031"/>
                </a:lnTo>
                <a:lnTo>
                  <a:pt x="2902" y="4009"/>
                </a:lnTo>
                <a:lnTo>
                  <a:pt x="2903" y="3970"/>
                </a:lnTo>
                <a:lnTo>
                  <a:pt x="2903" y="3949"/>
                </a:lnTo>
                <a:lnTo>
                  <a:pt x="2904" y="3931"/>
                </a:lnTo>
                <a:lnTo>
                  <a:pt x="2905" y="3918"/>
                </a:lnTo>
                <a:lnTo>
                  <a:pt x="2907" y="3913"/>
                </a:lnTo>
                <a:lnTo>
                  <a:pt x="2912" y="3911"/>
                </a:lnTo>
                <a:lnTo>
                  <a:pt x="2917" y="3910"/>
                </a:lnTo>
                <a:lnTo>
                  <a:pt x="2924" y="3907"/>
                </a:lnTo>
                <a:lnTo>
                  <a:pt x="2928" y="3903"/>
                </a:lnTo>
                <a:lnTo>
                  <a:pt x="2932" y="3894"/>
                </a:lnTo>
                <a:lnTo>
                  <a:pt x="2937" y="3885"/>
                </a:lnTo>
                <a:lnTo>
                  <a:pt x="2940" y="3881"/>
                </a:lnTo>
                <a:lnTo>
                  <a:pt x="2942" y="3876"/>
                </a:lnTo>
                <a:lnTo>
                  <a:pt x="2946" y="3874"/>
                </a:lnTo>
                <a:lnTo>
                  <a:pt x="2948" y="3873"/>
                </a:lnTo>
                <a:lnTo>
                  <a:pt x="2951" y="3872"/>
                </a:lnTo>
                <a:lnTo>
                  <a:pt x="2954" y="3870"/>
                </a:lnTo>
                <a:lnTo>
                  <a:pt x="2956" y="3868"/>
                </a:lnTo>
                <a:lnTo>
                  <a:pt x="2959" y="3866"/>
                </a:lnTo>
                <a:lnTo>
                  <a:pt x="2964" y="3860"/>
                </a:lnTo>
                <a:lnTo>
                  <a:pt x="2968" y="3855"/>
                </a:lnTo>
                <a:lnTo>
                  <a:pt x="2978" y="3848"/>
                </a:lnTo>
                <a:lnTo>
                  <a:pt x="2988" y="3840"/>
                </a:lnTo>
                <a:lnTo>
                  <a:pt x="2991" y="3837"/>
                </a:lnTo>
                <a:lnTo>
                  <a:pt x="2994" y="3834"/>
                </a:lnTo>
                <a:lnTo>
                  <a:pt x="2995" y="3828"/>
                </a:lnTo>
                <a:lnTo>
                  <a:pt x="2995" y="3816"/>
                </a:lnTo>
                <a:lnTo>
                  <a:pt x="2995" y="3800"/>
                </a:lnTo>
                <a:lnTo>
                  <a:pt x="2995" y="3787"/>
                </a:lnTo>
                <a:lnTo>
                  <a:pt x="2994" y="3777"/>
                </a:lnTo>
                <a:lnTo>
                  <a:pt x="2992" y="3769"/>
                </a:lnTo>
                <a:lnTo>
                  <a:pt x="2990" y="3766"/>
                </a:lnTo>
                <a:lnTo>
                  <a:pt x="2985" y="3763"/>
                </a:lnTo>
                <a:lnTo>
                  <a:pt x="2981" y="3760"/>
                </a:lnTo>
                <a:lnTo>
                  <a:pt x="2975" y="3757"/>
                </a:lnTo>
                <a:lnTo>
                  <a:pt x="2963" y="3752"/>
                </a:lnTo>
                <a:lnTo>
                  <a:pt x="2953" y="3746"/>
                </a:lnTo>
                <a:lnTo>
                  <a:pt x="2945" y="3742"/>
                </a:lnTo>
                <a:lnTo>
                  <a:pt x="2938" y="3740"/>
                </a:lnTo>
                <a:lnTo>
                  <a:pt x="2932" y="3736"/>
                </a:lnTo>
                <a:lnTo>
                  <a:pt x="2924" y="3729"/>
                </a:lnTo>
                <a:lnTo>
                  <a:pt x="2915" y="3719"/>
                </a:lnTo>
                <a:lnTo>
                  <a:pt x="2906" y="3710"/>
                </a:lnTo>
                <a:lnTo>
                  <a:pt x="2902" y="3707"/>
                </a:lnTo>
                <a:lnTo>
                  <a:pt x="2896" y="3703"/>
                </a:lnTo>
                <a:lnTo>
                  <a:pt x="2891" y="3701"/>
                </a:lnTo>
                <a:lnTo>
                  <a:pt x="2886" y="3699"/>
                </a:lnTo>
                <a:lnTo>
                  <a:pt x="2868" y="3699"/>
                </a:lnTo>
                <a:lnTo>
                  <a:pt x="2845" y="3700"/>
                </a:lnTo>
                <a:lnTo>
                  <a:pt x="2834" y="3700"/>
                </a:lnTo>
                <a:lnTo>
                  <a:pt x="2824" y="3700"/>
                </a:lnTo>
                <a:lnTo>
                  <a:pt x="2816" y="3699"/>
                </a:lnTo>
                <a:lnTo>
                  <a:pt x="2810" y="3697"/>
                </a:lnTo>
                <a:lnTo>
                  <a:pt x="2803" y="3691"/>
                </a:lnTo>
                <a:lnTo>
                  <a:pt x="2796" y="3686"/>
                </a:lnTo>
                <a:lnTo>
                  <a:pt x="2792" y="3685"/>
                </a:lnTo>
                <a:lnTo>
                  <a:pt x="2788" y="3684"/>
                </a:lnTo>
                <a:lnTo>
                  <a:pt x="2786" y="3684"/>
                </a:lnTo>
                <a:lnTo>
                  <a:pt x="2784" y="3686"/>
                </a:lnTo>
                <a:lnTo>
                  <a:pt x="2780" y="3690"/>
                </a:lnTo>
                <a:lnTo>
                  <a:pt x="2777" y="3693"/>
                </a:lnTo>
                <a:lnTo>
                  <a:pt x="2776" y="3694"/>
                </a:lnTo>
                <a:lnTo>
                  <a:pt x="2775" y="3693"/>
                </a:lnTo>
                <a:lnTo>
                  <a:pt x="2774" y="3692"/>
                </a:lnTo>
                <a:lnTo>
                  <a:pt x="2773" y="3690"/>
                </a:lnTo>
                <a:lnTo>
                  <a:pt x="2772" y="3683"/>
                </a:lnTo>
                <a:lnTo>
                  <a:pt x="2771" y="3675"/>
                </a:lnTo>
                <a:lnTo>
                  <a:pt x="2769" y="3668"/>
                </a:lnTo>
                <a:lnTo>
                  <a:pt x="2766" y="3665"/>
                </a:lnTo>
                <a:lnTo>
                  <a:pt x="2760" y="3659"/>
                </a:lnTo>
                <a:lnTo>
                  <a:pt x="2748" y="3652"/>
                </a:lnTo>
                <a:lnTo>
                  <a:pt x="2741" y="3648"/>
                </a:lnTo>
                <a:lnTo>
                  <a:pt x="2735" y="3645"/>
                </a:lnTo>
                <a:lnTo>
                  <a:pt x="2732" y="3644"/>
                </a:lnTo>
                <a:lnTo>
                  <a:pt x="2730" y="3644"/>
                </a:lnTo>
                <a:lnTo>
                  <a:pt x="2728" y="3644"/>
                </a:lnTo>
                <a:lnTo>
                  <a:pt x="2726" y="3645"/>
                </a:lnTo>
                <a:lnTo>
                  <a:pt x="2715" y="3656"/>
                </a:lnTo>
                <a:lnTo>
                  <a:pt x="2699" y="3674"/>
                </a:lnTo>
                <a:lnTo>
                  <a:pt x="2691" y="3683"/>
                </a:lnTo>
                <a:lnTo>
                  <a:pt x="2684" y="3690"/>
                </a:lnTo>
                <a:lnTo>
                  <a:pt x="2681" y="3692"/>
                </a:lnTo>
                <a:lnTo>
                  <a:pt x="2678" y="3693"/>
                </a:lnTo>
                <a:lnTo>
                  <a:pt x="2676" y="3693"/>
                </a:lnTo>
                <a:lnTo>
                  <a:pt x="2675" y="3692"/>
                </a:lnTo>
                <a:lnTo>
                  <a:pt x="2674" y="3690"/>
                </a:lnTo>
                <a:lnTo>
                  <a:pt x="2674" y="3688"/>
                </a:lnTo>
                <a:lnTo>
                  <a:pt x="2674" y="3685"/>
                </a:lnTo>
                <a:lnTo>
                  <a:pt x="2675" y="3683"/>
                </a:lnTo>
                <a:lnTo>
                  <a:pt x="2678" y="3676"/>
                </a:lnTo>
                <a:lnTo>
                  <a:pt x="2682" y="3670"/>
                </a:lnTo>
                <a:lnTo>
                  <a:pt x="2686" y="3664"/>
                </a:lnTo>
                <a:lnTo>
                  <a:pt x="2688" y="3658"/>
                </a:lnTo>
                <a:lnTo>
                  <a:pt x="2689" y="3655"/>
                </a:lnTo>
                <a:lnTo>
                  <a:pt x="2689" y="3653"/>
                </a:lnTo>
                <a:lnTo>
                  <a:pt x="2689" y="3651"/>
                </a:lnTo>
                <a:lnTo>
                  <a:pt x="2687" y="3649"/>
                </a:lnTo>
                <a:lnTo>
                  <a:pt x="2684" y="3647"/>
                </a:lnTo>
                <a:lnTo>
                  <a:pt x="2679" y="3647"/>
                </a:lnTo>
                <a:lnTo>
                  <a:pt x="2674" y="3647"/>
                </a:lnTo>
                <a:lnTo>
                  <a:pt x="2670" y="3649"/>
                </a:lnTo>
                <a:lnTo>
                  <a:pt x="2661" y="3653"/>
                </a:lnTo>
                <a:lnTo>
                  <a:pt x="2653" y="3658"/>
                </a:lnTo>
                <a:lnTo>
                  <a:pt x="2645" y="3663"/>
                </a:lnTo>
                <a:lnTo>
                  <a:pt x="2635" y="3666"/>
                </a:lnTo>
                <a:lnTo>
                  <a:pt x="2630" y="3667"/>
                </a:lnTo>
                <a:lnTo>
                  <a:pt x="2626" y="3667"/>
                </a:lnTo>
                <a:lnTo>
                  <a:pt x="2623" y="3667"/>
                </a:lnTo>
                <a:lnTo>
                  <a:pt x="2621" y="3666"/>
                </a:lnTo>
                <a:lnTo>
                  <a:pt x="2620" y="3664"/>
                </a:lnTo>
                <a:lnTo>
                  <a:pt x="2621" y="3661"/>
                </a:lnTo>
                <a:lnTo>
                  <a:pt x="2622" y="3657"/>
                </a:lnTo>
                <a:lnTo>
                  <a:pt x="2624" y="3654"/>
                </a:lnTo>
                <a:lnTo>
                  <a:pt x="2628" y="3647"/>
                </a:lnTo>
                <a:lnTo>
                  <a:pt x="2634" y="3643"/>
                </a:lnTo>
                <a:lnTo>
                  <a:pt x="2641" y="3637"/>
                </a:lnTo>
                <a:lnTo>
                  <a:pt x="2649" y="3630"/>
                </a:lnTo>
                <a:lnTo>
                  <a:pt x="2653" y="3626"/>
                </a:lnTo>
                <a:lnTo>
                  <a:pt x="2656" y="3621"/>
                </a:lnTo>
                <a:lnTo>
                  <a:pt x="2659" y="3617"/>
                </a:lnTo>
                <a:lnTo>
                  <a:pt x="2660" y="3613"/>
                </a:lnTo>
                <a:lnTo>
                  <a:pt x="2659" y="3610"/>
                </a:lnTo>
                <a:lnTo>
                  <a:pt x="2656" y="3606"/>
                </a:lnTo>
                <a:lnTo>
                  <a:pt x="2653" y="3603"/>
                </a:lnTo>
                <a:lnTo>
                  <a:pt x="2650" y="3600"/>
                </a:lnTo>
                <a:lnTo>
                  <a:pt x="2643" y="3593"/>
                </a:lnTo>
                <a:lnTo>
                  <a:pt x="2639" y="3588"/>
                </a:lnTo>
                <a:lnTo>
                  <a:pt x="2634" y="3577"/>
                </a:lnTo>
                <a:lnTo>
                  <a:pt x="2628" y="3558"/>
                </a:lnTo>
                <a:lnTo>
                  <a:pt x="2624" y="3548"/>
                </a:lnTo>
                <a:lnTo>
                  <a:pt x="2620" y="3542"/>
                </a:lnTo>
                <a:lnTo>
                  <a:pt x="2618" y="3540"/>
                </a:lnTo>
                <a:lnTo>
                  <a:pt x="2616" y="3539"/>
                </a:lnTo>
                <a:lnTo>
                  <a:pt x="2613" y="3539"/>
                </a:lnTo>
                <a:lnTo>
                  <a:pt x="2611" y="3540"/>
                </a:lnTo>
                <a:lnTo>
                  <a:pt x="2606" y="3546"/>
                </a:lnTo>
                <a:lnTo>
                  <a:pt x="2602" y="3555"/>
                </a:lnTo>
                <a:lnTo>
                  <a:pt x="2598" y="3565"/>
                </a:lnTo>
                <a:lnTo>
                  <a:pt x="2593" y="3575"/>
                </a:lnTo>
                <a:lnTo>
                  <a:pt x="2588" y="3585"/>
                </a:lnTo>
                <a:lnTo>
                  <a:pt x="2584" y="3592"/>
                </a:lnTo>
                <a:lnTo>
                  <a:pt x="2582" y="3595"/>
                </a:lnTo>
                <a:lnTo>
                  <a:pt x="2580" y="3597"/>
                </a:lnTo>
                <a:lnTo>
                  <a:pt x="2578" y="3598"/>
                </a:lnTo>
                <a:lnTo>
                  <a:pt x="2576" y="3598"/>
                </a:lnTo>
                <a:lnTo>
                  <a:pt x="2567" y="3591"/>
                </a:lnTo>
                <a:lnTo>
                  <a:pt x="2556" y="3585"/>
                </a:lnTo>
                <a:lnTo>
                  <a:pt x="2551" y="3582"/>
                </a:lnTo>
                <a:lnTo>
                  <a:pt x="2545" y="3581"/>
                </a:lnTo>
                <a:lnTo>
                  <a:pt x="2541" y="3580"/>
                </a:lnTo>
                <a:lnTo>
                  <a:pt x="2537" y="3582"/>
                </a:lnTo>
                <a:lnTo>
                  <a:pt x="2532" y="3589"/>
                </a:lnTo>
                <a:lnTo>
                  <a:pt x="2529" y="3598"/>
                </a:lnTo>
                <a:lnTo>
                  <a:pt x="2527" y="3601"/>
                </a:lnTo>
                <a:lnTo>
                  <a:pt x="2524" y="3603"/>
                </a:lnTo>
                <a:lnTo>
                  <a:pt x="2521" y="3603"/>
                </a:lnTo>
                <a:lnTo>
                  <a:pt x="2517" y="3602"/>
                </a:lnTo>
                <a:lnTo>
                  <a:pt x="2513" y="3597"/>
                </a:lnTo>
                <a:lnTo>
                  <a:pt x="2509" y="3589"/>
                </a:lnTo>
                <a:lnTo>
                  <a:pt x="2505" y="3580"/>
                </a:lnTo>
                <a:lnTo>
                  <a:pt x="2500" y="3569"/>
                </a:lnTo>
                <a:lnTo>
                  <a:pt x="2497" y="3558"/>
                </a:lnTo>
                <a:lnTo>
                  <a:pt x="2495" y="3547"/>
                </a:lnTo>
                <a:lnTo>
                  <a:pt x="2493" y="3538"/>
                </a:lnTo>
                <a:lnTo>
                  <a:pt x="2493" y="3532"/>
                </a:lnTo>
                <a:lnTo>
                  <a:pt x="2494" y="3520"/>
                </a:lnTo>
                <a:lnTo>
                  <a:pt x="2496" y="3509"/>
                </a:lnTo>
                <a:lnTo>
                  <a:pt x="2496" y="3503"/>
                </a:lnTo>
                <a:lnTo>
                  <a:pt x="2495" y="3498"/>
                </a:lnTo>
                <a:lnTo>
                  <a:pt x="2492" y="3493"/>
                </a:lnTo>
                <a:lnTo>
                  <a:pt x="2489" y="3487"/>
                </a:lnTo>
                <a:lnTo>
                  <a:pt x="2470" y="3471"/>
                </a:lnTo>
                <a:lnTo>
                  <a:pt x="2444" y="3451"/>
                </a:lnTo>
                <a:lnTo>
                  <a:pt x="2431" y="3440"/>
                </a:lnTo>
                <a:lnTo>
                  <a:pt x="2422" y="3431"/>
                </a:lnTo>
                <a:lnTo>
                  <a:pt x="2420" y="3427"/>
                </a:lnTo>
                <a:lnTo>
                  <a:pt x="2418" y="3424"/>
                </a:lnTo>
                <a:lnTo>
                  <a:pt x="2418" y="3421"/>
                </a:lnTo>
                <a:lnTo>
                  <a:pt x="2420" y="3418"/>
                </a:lnTo>
                <a:lnTo>
                  <a:pt x="2424" y="3414"/>
                </a:lnTo>
                <a:lnTo>
                  <a:pt x="2428" y="3408"/>
                </a:lnTo>
                <a:lnTo>
                  <a:pt x="2432" y="3401"/>
                </a:lnTo>
                <a:lnTo>
                  <a:pt x="2434" y="3393"/>
                </a:lnTo>
                <a:lnTo>
                  <a:pt x="2434" y="3387"/>
                </a:lnTo>
                <a:lnTo>
                  <a:pt x="2434" y="3383"/>
                </a:lnTo>
                <a:lnTo>
                  <a:pt x="2433" y="3381"/>
                </a:lnTo>
                <a:lnTo>
                  <a:pt x="2432" y="3381"/>
                </a:lnTo>
                <a:lnTo>
                  <a:pt x="2430" y="3381"/>
                </a:lnTo>
                <a:lnTo>
                  <a:pt x="2428" y="3382"/>
                </a:lnTo>
                <a:lnTo>
                  <a:pt x="2417" y="3388"/>
                </a:lnTo>
                <a:lnTo>
                  <a:pt x="2403" y="3395"/>
                </a:lnTo>
                <a:lnTo>
                  <a:pt x="2396" y="3398"/>
                </a:lnTo>
                <a:lnTo>
                  <a:pt x="2388" y="3399"/>
                </a:lnTo>
                <a:lnTo>
                  <a:pt x="2384" y="3399"/>
                </a:lnTo>
                <a:lnTo>
                  <a:pt x="2381" y="3399"/>
                </a:lnTo>
                <a:lnTo>
                  <a:pt x="2378" y="3398"/>
                </a:lnTo>
                <a:lnTo>
                  <a:pt x="2376" y="3395"/>
                </a:lnTo>
                <a:lnTo>
                  <a:pt x="2364" y="3388"/>
                </a:lnTo>
                <a:lnTo>
                  <a:pt x="2354" y="3381"/>
                </a:lnTo>
                <a:lnTo>
                  <a:pt x="2349" y="3379"/>
                </a:lnTo>
                <a:lnTo>
                  <a:pt x="2344" y="3378"/>
                </a:lnTo>
                <a:lnTo>
                  <a:pt x="2340" y="3379"/>
                </a:lnTo>
                <a:lnTo>
                  <a:pt x="2336" y="3382"/>
                </a:lnTo>
                <a:lnTo>
                  <a:pt x="2332" y="3385"/>
                </a:lnTo>
                <a:lnTo>
                  <a:pt x="2325" y="3387"/>
                </a:lnTo>
                <a:lnTo>
                  <a:pt x="2319" y="3387"/>
                </a:lnTo>
                <a:lnTo>
                  <a:pt x="2314" y="3387"/>
                </a:lnTo>
                <a:lnTo>
                  <a:pt x="2308" y="3386"/>
                </a:lnTo>
                <a:lnTo>
                  <a:pt x="2304" y="3385"/>
                </a:lnTo>
                <a:lnTo>
                  <a:pt x="2302" y="3384"/>
                </a:lnTo>
                <a:lnTo>
                  <a:pt x="2302" y="3383"/>
                </a:lnTo>
                <a:lnTo>
                  <a:pt x="2304" y="3382"/>
                </a:lnTo>
                <a:lnTo>
                  <a:pt x="2304" y="3381"/>
                </a:lnTo>
                <a:lnTo>
                  <a:pt x="2303" y="3378"/>
                </a:lnTo>
                <a:lnTo>
                  <a:pt x="2301" y="3376"/>
                </a:lnTo>
                <a:lnTo>
                  <a:pt x="2297" y="3370"/>
                </a:lnTo>
                <a:lnTo>
                  <a:pt x="2294" y="3367"/>
                </a:lnTo>
                <a:lnTo>
                  <a:pt x="2279" y="3366"/>
                </a:lnTo>
                <a:lnTo>
                  <a:pt x="2252" y="3365"/>
                </a:lnTo>
                <a:lnTo>
                  <a:pt x="2225" y="3364"/>
                </a:lnTo>
                <a:lnTo>
                  <a:pt x="2212" y="3363"/>
                </a:lnTo>
                <a:lnTo>
                  <a:pt x="2212" y="3367"/>
                </a:lnTo>
                <a:lnTo>
                  <a:pt x="2210" y="3374"/>
                </a:lnTo>
                <a:lnTo>
                  <a:pt x="2209" y="3379"/>
                </a:lnTo>
                <a:lnTo>
                  <a:pt x="2207" y="3381"/>
                </a:lnTo>
                <a:lnTo>
                  <a:pt x="2206" y="3383"/>
                </a:lnTo>
                <a:lnTo>
                  <a:pt x="2204" y="3382"/>
                </a:lnTo>
                <a:lnTo>
                  <a:pt x="2195" y="3365"/>
                </a:lnTo>
                <a:lnTo>
                  <a:pt x="2190" y="3352"/>
                </a:lnTo>
                <a:lnTo>
                  <a:pt x="2184" y="3358"/>
                </a:lnTo>
                <a:lnTo>
                  <a:pt x="2171" y="3368"/>
                </a:lnTo>
                <a:lnTo>
                  <a:pt x="2164" y="3373"/>
                </a:lnTo>
                <a:lnTo>
                  <a:pt x="2156" y="3378"/>
                </a:lnTo>
                <a:lnTo>
                  <a:pt x="2149" y="3381"/>
                </a:lnTo>
                <a:lnTo>
                  <a:pt x="2143" y="3381"/>
                </a:lnTo>
                <a:lnTo>
                  <a:pt x="2139" y="3380"/>
                </a:lnTo>
                <a:lnTo>
                  <a:pt x="2133" y="3380"/>
                </a:lnTo>
                <a:lnTo>
                  <a:pt x="2126" y="3380"/>
                </a:lnTo>
                <a:lnTo>
                  <a:pt x="2119" y="3381"/>
                </a:lnTo>
                <a:lnTo>
                  <a:pt x="2113" y="3385"/>
                </a:lnTo>
                <a:lnTo>
                  <a:pt x="2106" y="3390"/>
                </a:lnTo>
                <a:lnTo>
                  <a:pt x="2103" y="3393"/>
                </a:lnTo>
                <a:lnTo>
                  <a:pt x="2100" y="3398"/>
                </a:lnTo>
                <a:lnTo>
                  <a:pt x="2098" y="3403"/>
                </a:lnTo>
                <a:lnTo>
                  <a:pt x="2095" y="3409"/>
                </a:lnTo>
                <a:lnTo>
                  <a:pt x="2091" y="3421"/>
                </a:lnTo>
                <a:lnTo>
                  <a:pt x="2084" y="3429"/>
                </a:lnTo>
                <a:lnTo>
                  <a:pt x="2078" y="3435"/>
                </a:lnTo>
                <a:lnTo>
                  <a:pt x="2071" y="3439"/>
                </a:lnTo>
                <a:lnTo>
                  <a:pt x="2064" y="3442"/>
                </a:lnTo>
                <a:lnTo>
                  <a:pt x="2059" y="3443"/>
                </a:lnTo>
                <a:lnTo>
                  <a:pt x="2055" y="3442"/>
                </a:lnTo>
                <a:lnTo>
                  <a:pt x="2052" y="3439"/>
                </a:lnTo>
                <a:lnTo>
                  <a:pt x="2046" y="3435"/>
                </a:lnTo>
                <a:lnTo>
                  <a:pt x="2034" y="3430"/>
                </a:lnTo>
                <a:lnTo>
                  <a:pt x="2020" y="3426"/>
                </a:lnTo>
                <a:lnTo>
                  <a:pt x="2009" y="3424"/>
                </a:lnTo>
                <a:lnTo>
                  <a:pt x="2007" y="3424"/>
                </a:lnTo>
                <a:lnTo>
                  <a:pt x="2005" y="3424"/>
                </a:lnTo>
                <a:lnTo>
                  <a:pt x="2004" y="3425"/>
                </a:lnTo>
                <a:lnTo>
                  <a:pt x="2003" y="3426"/>
                </a:lnTo>
                <a:lnTo>
                  <a:pt x="2002" y="3429"/>
                </a:lnTo>
                <a:lnTo>
                  <a:pt x="2000" y="3432"/>
                </a:lnTo>
                <a:lnTo>
                  <a:pt x="1997" y="3435"/>
                </a:lnTo>
                <a:lnTo>
                  <a:pt x="1993" y="3436"/>
                </a:lnTo>
                <a:lnTo>
                  <a:pt x="1987" y="3436"/>
                </a:lnTo>
                <a:lnTo>
                  <a:pt x="1979" y="3432"/>
                </a:lnTo>
                <a:lnTo>
                  <a:pt x="1958" y="3423"/>
                </a:lnTo>
                <a:lnTo>
                  <a:pt x="1939" y="3414"/>
                </a:lnTo>
                <a:lnTo>
                  <a:pt x="1931" y="3410"/>
                </a:lnTo>
                <a:lnTo>
                  <a:pt x="1926" y="3405"/>
                </a:lnTo>
                <a:lnTo>
                  <a:pt x="1924" y="3403"/>
                </a:lnTo>
                <a:lnTo>
                  <a:pt x="1922" y="3401"/>
                </a:lnTo>
                <a:lnTo>
                  <a:pt x="1921" y="3399"/>
                </a:lnTo>
                <a:lnTo>
                  <a:pt x="1921" y="3395"/>
                </a:lnTo>
                <a:lnTo>
                  <a:pt x="1923" y="3379"/>
                </a:lnTo>
                <a:lnTo>
                  <a:pt x="1927" y="3354"/>
                </a:lnTo>
                <a:lnTo>
                  <a:pt x="1930" y="3328"/>
                </a:lnTo>
                <a:lnTo>
                  <a:pt x="1931" y="3315"/>
                </a:lnTo>
                <a:lnTo>
                  <a:pt x="1927" y="3312"/>
                </a:lnTo>
                <a:lnTo>
                  <a:pt x="1919" y="3307"/>
                </a:lnTo>
                <a:lnTo>
                  <a:pt x="1906" y="3302"/>
                </a:lnTo>
                <a:lnTo>
                  <a:pt x="1893" y="3297"/>
                </a:lnTo>
                <a:lnTo>
                  <a:pt x="1877" y="3292"/>
                </a:lnTo>
                <a:lnTo>
                  <a:pt x="1863" y="3286"/>
                </a:lnTo>
                <a:lnTo>
                  <a:pt x="1851" y="3281"/>
                </a:lnTo>
                <a:lnTo>
                  <a:pt x="1842" y="3277"/>
                </a:lnTo>
                <a:lnTo>
                  <a:pt x="1836" y="3272"/>
                </a:lnTo>
                <a:lnTo>
                  <a:pt x="1830" y="3266"/>
                </a:lnTo>
                <a:lnTo>
                  <a:pt x="1825" y="3258"/>
                </a:lnTo>
                <a:lnTo>
                  <a:pt x="1820" y="3251"/>
                </a:lnTo>
                <a:lnTo>
                  <a:pt x="1817" y="3245"/>
                </a:lnTo>
                <a:lnTo>
                  <a:pt x="1815" y="3239"/>
                </a:lnTo>
                <a:lnTo>
                  <a:pt x="1814" y="3237"/>
                </a:lnTo>
                <a:lnTo>
                  <a:pt x="1815" y="3235"/>
                </a:lnTo>
                <a:lnTo>
                  <a:pt x="1815" y="3234"/>
                </a:lnTo>
                <a:lnTo>
                  <a:pt x="1816" y="3234"/>
                </a:lnTo>
                <a:lnTo>
                  <a:pt x="1820" y="3230"/>
                </a:lnTo>
                <a:lnTo>
                  <a:pt x="1826" y="3220"/>
                </a:lnTo>
                <a:lnTo>
                  <a:pt x="1833" y="3208"/>
                </a:lnTo>
                <a:lnTo>
                  <a:pt x="1839" y="3192"/>
                </a:lnTo>
                <a:lnTo>
                  <a:pt x="1844" y="3178"/>
                </a:lnTo>
                <a:lnTo>
                  <a:pt x="1849" y="3163"/>
                </a:lnTo>
                <a:lnTo>
                  <a:pt x="1850" y="3158"/>
                </a:lnTo>
                <a:lnTo>
                  <a:pt x="1850" y="3152"/>
                </a:lnTo>
                <a:lnTo>
                  <a:pt x="1849" y="3148"/>
                </a:lnTo>
                <a:lnTo>
                  <a:pt x="1848" y="3145"/>
                </a:lnTo>
                <a:lnTo>
                  <a:pt x="1844" y="3144"/>
                </a:lnTo>
                <a:lnTo>
                  <a:pt x="1840" y="3142"/>
                </a:lnTo>
                <a:lnTo>
                  <a:pt x="1835" y="3142"/>
                </a:lnTo>
                <a:lnTo>
                  <a:pt x="1829" y="3141"/>
                </a:lnTo>
                <a:lnTo>
                  <a:pt x="1815" y="3141"/>
                </a:lnTo>
                <a:lnTo>
                  <a:pt x="1799" y="3142"/>
                </a:lnTo>
                <a:lnTo>
                  <a:pt x="1785" y="3145"/>
                </a:lnTo>
                <a:lnTo>
                  <a:pt x="1773" y="3148"/>
                </a:lnTo>
                <a:lnTo>
                  <a:pt x="1768" y="3150"/>
                </a:lnTo>
                <a:lnTo>
                  <a:pt x="1764" y="3152"/>
                </a:lnTo>
                <a:lnTo>
                  <a:pt x="1761" y="3154"/>
                </a:lnTo>
                <a:lnTo>
                  <a:pt x="1760" y="3157"/>
                </a:lnTo>
                <a:lnTo>
                  <a:pt x="1756" y="3172"/>
                </a:lnTo>
                <a:lnTo>
                  <a:pt x="1749" y="3195"/>
                </a:lnTo>
                <a:lnTo>
                  <a:pt x="1744" y="3206"/>
                </a:lnTo>
                <a:lnTo>
                  <a:pt x="1739" y="3215"/>
                </a:lnTo>
                <a:lnTo>
                  <a:pt x="1737" y="3218"/>
                </a:lnTo>
                <a:lnTo>
                  <a:pt x="1733" y="3222"/>
                </a:lnTo>
                <a:lnTo>
                  <a:pt x="1730" y="3223"/>
                </a:lnTo>
                <a:lnTo>
                  <a:pt x="1727" y="3224"/>
                </a:lnTo>
                <a:lnTo>
                  <a:pt x="1718" y="3224"/>
                </a:lnTo>
                <a:lnTo>
                  <a:pt x="1703" y="3224"/>
                </a:lnTo>
                <a:lnTo>
                  <a:pt x="1695" y="3224"/>
                </a:lnTo>
                <a:lnTo>
                  <a:pt x="1686" y="3223"/>
                </a:lnTo>
                <a:lnTo>
                  <a:pt x="1677" y="3220"/>
                </a:lnTo>
                <a:lnTo>
                  <a:pt x="1666" y="3218"/>
                </a:lnTo>
                <a:lnTo>
                  <a:pt x="1657" y="3215"/>
                </a:lnTo>
                <a:lnTo>
                  <a:pt x="1649" y="3211"/>
                </a:lnTo>
                <a:lnTo>
                  <a:pt x="1640" y="3206"/>
                </a:lnTo>
                <a:lnTo>
                  <a:pt x="1632" y="3198"/>
                </a:lnTo>
                <a:lnTo>
                  <a:pt x="1625" y="3191"/>
                </a:lnTo>
                <a:lnTo>
                  <a:pt x="1620" y="3181"/>
                </a:lnTo>
                <a:lnTo>
                  <a:pt x="1618" y="3175"/>
                </a:lnTo>
                <a:lnTo>
                  <a:pt x="1616" y="3169"/>
                </a:lnTo>
                <a:lnTo>
                  <a:pt x="1615" y="3163"/>
                </a:lnTo>
                <a:lnTo>
                  <a:pt x="1614" y="3156"/>
                </a:lnTo>
                <a:lnTo>
                  <a:pt x="1612" y="3129"/>
                </a:lnTo>
                <a:lnTo>
                  <a:pt x="1611" y="3109"/>
                </a:lnTo>
                <a:lnTo>
                  <a:pt x="1611" y="3095"/>
                </a:lnTo>
                <a:lnTo>
                  <a:pt x="1611" y="3083"/>
                </a:lnTo>
                <a:lnTo>
                  <a:pt x="1612" y="3076"/>
                </a:lnTo>
                <a:lnTo>
                  <a:pt x="1613" y="3071"/>
                </a:lnTo>
                <a:lnTo>
                  <a:pt x="1615" y="3066"/>
                </a:lnTo>
                <a:lnTo>
                  <a:pt x="1617" y="3063"/>
                </a:lnTo>
                <a:lnTo>
                  <a:pt x="1622" y="3056"/>
                </a:lnTo>
                <a:lnTo>
                  <a:pt x="1627" y="3051"/>
                </a:lnTo>
                <a:lnTo>
                  <a:pt x="1629" y="3049"/>
                </a:lnTo>
                <a:lnTo>
                  <a:pt x="1629" y="3047"/>
                </a:lnTo>
                <a:lnTo>
                  <a:pt x="1629" y="3044"/>
                </a:lnTo>
                <a:lnTo>
                  <a:pt x="1628" y="3043"/>
                </a:lnTo>
                <a:lnTo>
                  <a:pt x="1625" y="3040"/>
                </a:lnTo>
                <a:lnTo>
                  <a:pt x="1623" y="3035"/>
                </a:lnTo>
                <a:lnTo>
                  <a:pt x="1621" y="3029"/>
                </a:lnTo>
                <a:lnTo>
                  <a:pt x="1619" y="3021"/>
                </a:lnTo>
                <a:lnTo>
                  <a:pt x="1618" y="3013"/>
                </a:lnTo>
                <a:lnTo>
                  <a:pt x="1618" y="3006"/>
                </a:lnTo>
                <a:lnTo>
                  <a:pt x="1619" y="2999"/>
                </a:lnTo>
                <a:lnTo>
                  <a:pt x="1621" y="2994"/>
                </a:lnTo>
                <a:lnTo>
                  <a:pt x="1625" y="2990"/>
                </a:lnTo>
                <a:lnTo>
                  <a:pt x="1631" y="2986"/>
                </a:lnTo>
                <a:lnTo>
                  <a:pt x="1637" y="2982"/>
                </a:lnTo>
                <a:lnTo>
                  <a:pt x="1644" y="2978"/>
                </a:lnTo>
                <a:lnTo>
                  <a:pt x="1657" y="2972"/>
                </a:lnTo>
                <a:lnTo>
                  <a:pt x="1663" y="2970"/>
                </a:lnTo>
                <a:lnTo>
                  <a:pt x="1666" y="2967"/>
                </a:lnTo>
                <a:lnTo>
                  <a:pt x="1672" y="2961"/>
                </a:lnTo>
                <a:lnTo>
                  <a:pt x="1675" y="2957"/>
                </a:lnTo>
                <a:lnTo>
                  <a:pt x="1679" y="2955"/>
                </a:lnTo>
                <a:lnTo>
                  <a:pt x="1683" y="2954"/>
                </a:lnTo>
                <a:lnTo>
                  <a:pt x="1687" y="2955"/>
                </a:lnTo>
                <a:lnTo>
                  <a:pt x="1691" y="2957"/>
                </a:lnTo>
                <a:lnTo>
                  <a:pt x="1697" y="2957"/>
                </a:lnTo>
                <a:lnTo>
                  <a:pt x="1701" y="2957"/>
                </a:lnTo>
                <a:lnTo>
                  <a:pt x="1706" y="2956"/>
                </a:lnTo>
                <a:lnTo>
                  <a:pt x="1711" y="2955"/>
                </a:lnTo>
                <a:lnTo>
                  <a:pt x="1717" y="2955"/>
                </a:lnTo>
                <a:lnTo>
                  <a:pt x="1722" y="2955"/>
                </a:lnTo>
                <a:lnTo>
                  <a:pt x="1727" y="2956"/>
                </a:lnTo>
                <a:lnTo>
                  <a:pt x="1739" y="2960"/>
                </a:lnTo>
                <a:lnTo>
                  <a:pt x="1751" y="2965"/>
                </a:lnTo>
                <a:lnTo>
                  <a:pt x="1757" y="2967"/>
                </a:lnTo>
                <a:lnTo>
                  <a:pt x="1764" y="2969"/>
                </a:lnTo>
                <a:lnTo>
                  <a:pt x="1769" y="2970"/>
                </a:lnTo>
                <a:lnTo>
                  <a:pt x="1775" y="2969"/>
                </a:lnTo>
                <a:lnTo>
                  <a:pt x="1785" y="2967"/>
                </a:lnTo>
                <a:lnTo>
                  <a:pt x="1792" y="2963"/>
                </a:lnTo>
                <a:lnTo>
                  <a:pt x="1796" y="2960"/>
                </a:lnTo>
                <a:lnTo>
                  <a:pt x="1799" y="2956"/>
                </a:lnTo>
                <a:lnTo>
                  <a:pt x="1801" y="2952"/>
                </a:lnTo>
                <a:lnTo>
                  <a:pt x="1806" y="2946"/>
                </a:lnTo>
                <a:lnTo>
                  <a:pt x="1809" y="2943"/>
                </a:lnTo>
                <a:lnTo>
                  <a:pt x="1813" y="2941"/>
                </a:lnTo>
                <a:lnTo>
                  <a:pt x="1817" y="2940"/>
                </a:lnTo>
                <a:lnTo>
                  <a:pt x="1822" y="2941"/>
                </a:lnTo>
                <a:lnTo>
                  <a:pt x="1828" y="2943"/>
                </a:lnTo>
                <a:lnTo>
                  <a:pt x="1832" y="2943"/>
                </a:lnTo>
                <a:lnTo>
                  <a:pt x="1836" y="2943"/>
                </a:lnTo>
                <a:lnTo>
                  <a:pt x="1839" y="2942"/>
                </a:lnTo>
                <a:lnTo>
                  <a:pt x="1842" y="2943"/>
                </a:lnTo>
                <a:lnTo>
                  <a:pt x="1845" y="2944"/>
                </a:lnTo>
                <a:lnTo>
                  <a:pt x="1849" y="2946"/>
                </a:lnTo>
                <a:lnTo>
                  <a:pt x="1852" y="2951"/>
                </a:lnTo>
                <a:lnTo>
                  <a:pt x="1854" y="2953"/>
                </a:lnTo>
                <a:lnTo>
                  <a:pt x="1856" y="2955"/>
                </a:lnTo>
                <a:lnTo>
                  <a:pt x="1859" y="2957"/>
                </a:lnTo>
                <a:lnTo>
                  <a:pt x="1862" y="2960"/>
                </a:lnTo>
                <a:lnTo>
                  <a:pt x="1869" y="2961"/>
                </a:lnTo>
                <a:lnTo>
                  <a:pt x="1876" y="2962"/>
                </a:lnTo>
                <a:lnTo>
                  <a:pt x="1891" y="2963"/>
                </a:lnTo>
                <a:lnTo>
                  <a:pt x="1901" y="2963"/>
                </a:lnTo>
                <a:lnTo>
                  <a:pt x="1908" y="2964"/>
                </a:lnTo>
                <a:lnTo>
                  <a:pt x="1914" y="2963"/>
                </a:lnTo>
                <a:lnTo>
                  <a:pt x="1916" y="2964"/>
                </a:lnTo>
                <a:lnTo>
                  <a:pt x="1918" y="2964"/>
                </a:lnTo>
                <a:lnTo>
                  <a:pt x="1920" y="2966"/>
                </a:lnTo>
                <a:lnTo>
                  <a:pt x="1923" y="2968"/>
                </a:lnTo>
                <a:lnTo>
                  <a:pt x="1929" y="2974"/>
                </a:lnTo>
                <a:lnTo>
                  <a:pt x="1936" y="2979"/>
                </a:lnTo>
                <a:lnTo>
                  <a:pt x="1939" y="2983"/>
                </a:lnTo>
                <a:lnTo>
                  <a:pt x="1941" y="2987"/>
                </a:lnTo>
                <a:lnTo>
                  <a:pt x="1943" y="2990"/>
                </a:lnTo>
                <a:lnTo>
                  <a:pt x="1944" y="2994"/>
                </a:lnTo>
                <a:lnTo>
                  <a:pt x="1944" y="3001"/>
                </a:lnTo>
                <a:lnTo>
                  <a:pt x="1944" y="3009"/>
                </a:lnTo>
                <a:lnTo>
                  <a:pt x="1944" y="3013"/>
                </a:lnTo>
                <a:lnTo>
                  <a:pt x="1945" y="3017"/>
                </a:lnTo>
                <a:lnTo>
                  <a:pt x="1947" y="3022"/>
                </a:lnTo>
                <a:lnTo>
                  <a:pt x="1950" y="3028"/>
                </a:lnTo>
                <a:lnTo>
                  <a:pt x="1957" y="3039"/>
                </a:lnTo>
                <a:lnTo>
                  <a:pt x="1964" y="3050"/>
                </a:lnTo>
                <a:lnTo>
                  <a:pt x="1970" y="3058"/>
                </a:lnTo>
                <a:lnTo>
                  <a:pt x="1974" y="3063"/>
                </a:lnTo>
                <a:lnTo>
                  <a:pt x="1978" y="3065"/>
                </a:lnTo>
                <a:lnTo>
                  <a:pt x="1984" y="3069"/>
                </a:lnTo>
                <a:lnTo>
                  <a:pt x="1989" y="3070"/>
                </a:lnTo>
                <a:lnTo>
                  <a:pt x="1994" y="3069"/>
                </a:lnTo>
                <a:lnTo>
                  <a:pt x="1996" y="3063"/>
                </a:lnTo>
                <a:lnTo>
                  <a:pt x="2000" y="3054"/>
                </a:lnTo>
                <a:lnTo>
                  <a:pt x="2002" y="3042"/>
                </a:lnTo>
                <a:lnTo>
                  <a:pt x="2002" y="3031"/>
                </a:lnTo>
                <a:lnTo>
                  <a:pt x="2002" y="3020"/>
                </a:lnTo>
                <a:lnTo>
                  <a:pt x="2000" y="3009"/>
                </a:lnTo>
                <a:lnTo>
                  <a:pt x="1996" y="2997"/>
                </a:lnTo>
                <a:lnTo>
                  <a:pt x="1995" y="2987"/>
                </a:lnTo>
                <a:lnTo>
                  <a:pt x="1993" y="2983"/>
                </a:lnTo>
                <a:lnTo>
                  <a:pt x="1991" y="2977"/>
                </a:lnTo>
                <a:lnTo>
                  <a:pt x="1987" y="2971"/>
                </a:lnTo>
                <a:lnTo>
                  <a:pt x="1984" y="2966"/>
                </a:lnTo>
                <a:lnTo>
                  <a:pt x="1980" y="2960"/>
                </a:lnTo>
                <a:lnTo>
                  <a:pt x="1976" y="2953"/>
                </a:lnTo>
                <a:lnTo>
                  <a:pt x="1974" y="2947"/>
                </a:lnTo>
                <a:lnTo>
                  <a:pt x="1974" y="2941"/>
                </a:lnTo>
                <a:lnTo>
                  <a:pt x="1974" y="2925"/>
                </a:lnTo>
                <a:lnTo>
                  <a:pt x="1978" y="2908"/>
                </a:lnTo>
                <a:lnTo>
                  <a:pt x="1979" y="2901"/>
                </a:lnTo>
                <a:lnTo>
                  <a:pt x="1981" y="2895"/>
                </a:lnTo>
                <a:lnTo>
                  <a:pt x="1984" y="2889"/>
                </a:lnTo>
                <a:lnTo>
                  <a:pt x="1987" y="2886"/>
                </a:lnTo>
                <a:lnTo>
                  <a:pt x="1998" y="2877"/>
                </a:lnTo>
                <a:lnTo>
                  <a:pt x="2018" y="2859"/>
                </a:lnTo>
                <a:lnTo>
                  <a:pt x="2029" y="2850"/>
                </a:lnTo>
                <a:lnTo>
                  <a:pt x="2039" y="2841"/>
                </a:lnTo>
                <a:lnTo>
                  <a:pt x="2048" y="2835"/>
                </a:lnTo>
                <a:lnTo>
                  <a:pt x="2055" y="2831"/>
                </a:lnTo>
                <a:lnTo>
                  <a:pt x="2070" y="2823"/>
                </a:lnTo>
                <a:lnTo>
                  <a:pt x="2084" y="2815"/>
                </a:lnTo>
                <a:lnTo>
                  <a:pt x="2091" y="2810"/>
                </a:lnTo>
                <a:lnTo>
                  <a:pt x="2097" y="2806"/>
                </a:lnTo>
                <a:lnTo>
                  <a:pt x="2101" y="2801"/>
                </a:lnTo>
                <a:lnTo>
                  <a:pt x="2103" y="2798"/>
                </a:lnTo>
                <a:lnTo>
                  <a:pt x="2098" y="2784"/>
                </a:lnTo>
                <a:lnTo>
                  <a:pt x="2093" y="2769"/>
                </a:lnTo>
                <a:lnTo>
                  <a:pt x="2099" y="2753"/>
                </a:lnTo>
                <a:lnTo>
                  <a:pt x="2106" y="2737"/>
                </a:lnTo>
                <a:lnTo>
                  <a:pt x="2110" y="2730"/>
                </a:lnTo>
                <a:lnTo>
                  <a:pt x="2113" y="2723"/>
                </a:lnTo>
                <a:lnTo>
                  <a:pt x="2117" y="2716"/>
                </a:lnTo>
                <a:lnTo>
                  <a:pt x="2122" y="2709"/>
                </a:lnTo>
                <a:lnTo>
                  <a:pt x="2126" y="2700"/>
                </a:lnTo>
                <a:lnTo>
                  <a:pt x="2132" y="2688"/>
                </a:lnTo>
                <a:lnTo>
                  <a:pt x="2135" y="2682"/>
                </a:lnTo>
                <a:lnTo>
                  <a:pt x="2138" y="2677"/>
                </a:lnTo>
                <a:lnTo>
                  <a:pt x="2141" y="2672"/>
                </a:lnTo>
                <a:lnTo>
                  <a:pt x="2143" y="2669"/>
                </a:lnTo>
                <a:lnTo>
                  <a:pt x="2155" y="2665"/>
                </a:lnTo>
                <a:lnTo>
                  <a:pt x="2171" y="2659"/>
                </a:lnTo>
                <a:lnTo>
                  <a:pt x="2180" y="2655"/>
                </a:lnTo>
                <a:lnTo>
                  <a:pt x="2187" y="2652"/>
                </a:lnTo>
                <a:lnTo>
                  <a:pt x="2193" y="2648"/>
                </a:lnTo>
                <a:lnTo>
                  <a:pt x="2196" y="2645"/>
                </a:lnTo>
                <a:lnTo>
                  <a:pt x="2200" y="2642"/>
                </a:lnTo>
                <a:lnTo>
                  <a:pt x="2205" y="2641"/>
                </a:lnTo>
                <a:lnTo>
                  <a:pt x="2210" y="2640"/>
                </a:lnTo>
                <a:lnTo>
                  <a:pt x="2215" y="2640"/>
                </a:lnTo>
                <a:lnTo>
                  <a:pt x="2221" y="2639"/>
                </a:lnTo>
                <a:lnTo>
                  <a:pt x="2226" y="2638"/>
                </a:lnTo>
                <a:lnTo>
                  <a:pt x="2227" y="2637"/>
                </a:lnTo>
                <a:lnTo>
                  <a:pt x="2229" y="2636"/>
                </a:lnTo>
                <a:lnTo>
                  <a:pt x="2229" y="2635"/>
                </a:lnTo>
                <a:lnTo>
                  <a:pt x="2230" y="2633"/>
                </a:lnTo>
                <a:lnTo>
                  <a:pt x="2229" y="2631"/>
                </a:lnTo>
                <a:lnTo>
                  <a:pt x="2228" y="2630"/>
                </a:lnTo>
                <a:lnTo>
                  <a:pt x="2227" y="2627"/>
                </a:lnTo>
                <a:lnTo>
                  <a:pt x="2225" y="2626"/>
                </a:lnTo>
                <a:lnTo>
                  <a:pt x="2220" y="2625"/>
                </a:lnTo>
                <a:lnTo>
                  <a:pt x="2214" y="2623"/>
                </a:lnTo>
                <a:lnTo>
                  <a:pt x="2209" y="2622"/>
                </a:lnTo>
                <a:lnTo>
                  <a:pt x="2205" y="2620"/>
                </a:lnTo>
                <a:lnTo>
                  <a:pt x="2204" y="2619"/>
                </a:lnTo>
                <a:lnTo>
                  <a:pt x="2203" y="2617"/>
                </a:lnTo>
                <a:lnTo>
                  <a:pt x="2203" y="2616"/>
                </a:lnTo>
                <a:lnTo>
                  <a:pt x="2204" y="2613"/>
                </a:lnTo>
                <a:lnTo>
                  <a:pt x="2211" y="2602"/>
                </a:lnTo>
                <a:lnTo>
                  <a:pt x="2221" y="2591"/>
                </a:lnTo>
                <a:lnTo>
                  <a:pt x="2231" y="2579"/>
                </a:lnTo>
                <a:lnTo>
                  <a:pt x="2239" y="2568"/>
                </a:lnTo>
                <a:lnTo>
                  <a:pt x="2247" y="2561"/>
                </a:lnTo>
                <a:lnTo>
                  <a:pt x="2258" y="2554"/>
                </a:lnTo>
                <a:lnTo>
                  <a:pt x="2273" y="2545"/>
                </a:lnTo>
                <a:lnTo>
                  <a:pt x="2289" y="2536"/>
                </a:lnTo>
                <a:lnTo>
                  <a:pt x="2303" y="2528"/>
                </a:lnTo>
                <a:lnTo>
                  <a:pt x="2316" y="2522"/>
                </a:lnTo>
                <a:lnTo>
                  <a:pt x="2320" y="2521"/>
                </a:lnTo>
                <a:lnTo>
                  <a:pt x="2323" y="2518"/>
                </a:lnTo>
                <a:lnTo>
                  <a:pt x="2325" y="2518"/>
                </a:lnTo>
                <a:lnTo>
                  <a:pt x="2325" y="2520"/>
                </a:lnTo>
                <a:lnTo>
                  <a:pt x="2319" y="2527"/>
                </a:lnTo>
                <a:lnTo>
                  <a:pt x="2311" y="2534"/>
                </a:lnTo>
                <a:lnTo>
                  <a:pt x="2308" y="2539"/>
                </a:lnTo>
                <a:lnTo>
                  <a:pt x="2304" y="2544"/>
                </a:lnTo>
                <a:lnTo>
                  <a:pt x="2302" y="2549"/>
                </a:lnTo>
                <a:lnTo>
                  <a:pt x="2302" y="2555"/>
                </a:lnTo>
                <a:lnTo>
                  <a:pt x="2303" y="2566"/>
                </a:lnTo>
                <a:lnTo>
                  <a:pt x="2305" y="2574"/>
                </a:lnTo>
                <a:lnTo>
                  <a:pt x="2306" y="2577"/>
                </a:lnTo>
                <a:lnTo>
                  <a:pt x="2309" y="2578"/>
                </a:lnTo>
                <a:lnTo>
                  <a:pt x="2312" y="2579"/>
                </a:lnTo>
                <a:lnTo>
                  <a:pt x="2317" y="2578"/>
                </a:lnTo>
                <a:lnTo>
                  <a:pt x="2321" y="2576"/>
                </a:lnTo>
                <a:lnTo>
                  <a:pt x="2325" y="2574"/>
                </a:lnTo>
                <a:lnTo>
                  <a:pt x="2330" y="2571"/>
                </a:lnTo>
                <a:lnTo>
                  <a:pt x="2333" y="2567"/>
                </a:lnTo>
                <a:lnTo>
                  <a:pt x="2338" y="2562"/>
                </a:lnTo>
                <a:lnTo>
                  <a:pt x="2343" y="2558"/>
                </a:lnTo>
                <a:lnTo>
                  <a:pt x="2352" y="2553"/>
                </a:lnTo>
                <a:lnTo>
                  <a:pt x="2361" y="2548"/>
                </a:lnTo>
                <a:lnTo>
                  <a:pt x="2381" y="2537"/>
                </a:lnTo>
                <a:lnTo>
                  <a:pt x="2397" y="2530"/>
                </a:lnTo>
                <a:lnTo>
                  <a:pt x="2409" y="2524"/>
                </a:lnTo>
                <a:lnTo>
                  <a:pt x="2419" y="2517"/>
                </a:lnTo>
                <a:lnTo>
                  <a:pt x="2429" y="2513"/>
                </a:lnTo>
                <a:lnTo>
                  <a:pt x="2442" y="2509"/>
                </a:lnTo>
                <a:lnTo>
                  <a:pt x="2446" y="2506"/>
                </a:lnTo>
                <a:lnTo>
                  <a:pt x="2450" y="2504"/>
                </a:lnTo>
                <a:lnTo>
                  <a:pt x="2451" y="2502"/>
                </a:lnTo>
                <a:lnTo>
                  <a:pt x="2451" y="2500"/>
                </a:lnTo>
                <a:lnTo>
                  <a:pt x="2451" y="2498"/>
                </a:lnTo>
                <a:lnTo>
                  <a:pt x="2450" y="2495"/>
                </a:lnTo>
                <a:lnTo>
                  <a:pt x="2445" y="2482"/>
                </a:lnTo>
                <a:lnTo>
                  <a:pt x="2439" y="2467"/>
                </a:lnTo>
                <a:lnTo>
                  <a:pt x="2435" y="2461"/>
                </a:lnTo>
                <a:lnTo>
                  <a:pt x="2432" y="2457"/>
                </a:lnTo>
                <a:lnTo>
                  <a:pt x="2430" y="2456"/>
                </a:lnTo>
                <a:lnTo>
                  <a:pt x="2429" y="2455"/>
                </a:lnTo>
                <a:lnTo>
                  <a:pt x="2427" y="2455"/>
                </a:lnTo>
                <a:lnTo>
                  <a:pt x="2426" y="2457"/>
                </a:lnTo>
                <a:lnTo>
                  <a:pt x="2417" y="2465"/>
                </a:lnTo>
                <a:lnTo>
                  <a:pt x="2407" y="2477"/>
                </a:lnTo>
                <a:lnTo>
                  <a:pt x="2399" y="2486"/>
                </a:lnTo>
                <a:lnTo>
                  <a:pt x="2395" y="2490"/>
                </a:lnTo>
                <a:lnTo>
                  <a:pt x="2345" y="2466"/>
                </a:lnTo>
                <a:lnTo>
                  <a:pt x="2343" y="2469"/>
                </a:lnTo>
                <a:lnTo>
                  <a:pt x="2338" y="2472"/>
                </a:lnTo>
                <a:lnTo>
                  <a:pt x="2336" y="2473"/>
                </a:lnTo>
                <a:lnTo>
                  <a:pt x="2334" y="2473"/>
                </a:lnTo>
                <a:lnTo>
                  <a:pt x="2332" y="2471"/>
                </a:lnTo>
                <a:lnTo>
                  <a:pt x="2332" y="2465"/>
                </a:lnTo>
                <a:lnTo>
                  <a:pt x="2332" y="2459"/>
                </a:lnTo>
                <a:lnTo>
                  <a:pt x="2333" y="2454"/>
                </a:lnTo>
                <a:lnTo>
                  <a:pt x="2335" y="2448"/>
                </a:lnTo>
                <a:lnTo>
                  <a:pt x="2336" y="2444"/>
                </a:lnTo>
                <a:lnTo>
                  <a:pt x="2340" y="2439"/>
                </a:lnTo>
                <a:lnTo>
                  <a:pt x="2341" y="2437"/>
                </a:lnTo>
                <a:lnTo>
                  <a:pt x="2343" y="2439"/>
                </a:lnTo>
                <a:lnTo>
                  <a:pt x="2348" y="2442"/>
                </a:lnTo>
                <a:lnTo>
                  <a:pt x="2351" y="2443"/>
                </a:lnTo>
                <a:lnTo>
                  <a:pt x="2354" y="2442"/>
                </a:lnTo>
                <a:lnTo>
                  <a:pt x="2355" y="2440"/>
                </a:lnTo>
                <a:lnTo>
                  <a:pt x="2356" y="2435"/>
                </a:lnTo>
                <a:lnTo>
                  <a:pt x="2357" y="2423"/>
                </a:lnTo>
                <a:lnTo>
                  <a:pt x="2357" y="2413"/>
                </a:lnTo>
                <a:lnTo>
                  <a:pt x="2357" y="2404"/>
                </a:lnTo>
                <a:lnTo>
                  <a:pt x="2358" y="2398"/>
                </a:lnTo>
                <a:lnTo>
                  <a:pt x="2358" y="2397"/>
                </a:lnTo>
                <a:lnTo>
                  <a:pt x="2356" y="2396"/>
                </a:lnTo>
                <a:lnTo>
                  <a:pt x="2352" y="2395"/>
                </a:lnTo>
                <a:lnTo>
                  <a:pt x="2347" y="2395"/>
                </a:lnTo>
                <a:lnTo>
                  <a:pt x="2336" y="2394"/>
                </a:lnTo>
                <a:lnTo>
                  <a:pt x="2322" y="2394"/>
                </a:lnTo>
                <a:lnTo>
                  <a:pt x="2309" y="2393"/>
                </a:lnTo>
                <a:lnTo>
                  <a:pt x="2297" y="2391"/>
                </a:lnTo>
                <a:lnTo>
                  <a:pt x="2293" y="2390"/>
                </a:lnTo>
                <a:lnTo>
                  <a:pt x="2290" y="2389"/>
                </a:lnTo>
                <a:lnTo>
                  <a:pt x="2288" y="2386"/>
                </a:lnTo>
                <a:lnTo>
                  <a:pt x="2288" y="2384"/>
                </a:lnTo>
                <a:lnTo>
                  <a:pt x="2289" y="2382"/>
                </a:lnTo>
                <a:lnTo>
                  <a:pt x="2291" y="2380"/>
                </a:lnTo>
                <a:lnTo>
                  <a:pt x="2295" y="2378"/>
                </a:lnTo>
                <a:lnTo>
                  <a:pt x="2299" y="2377"/>
                </a:lnTo>
                <a:lnTo>
                  <a:pt x="2310" y="2373"/>
                </a:lnTo>
                <a:lnTo>
                  <a:pt x="2322" y="2371"/>
                </a:lnTo>
                <a:lnTo>
                  <a:pt x="2334" y="2369"/>
                </a:lnTo>
                <a:lnTo>
                  <a:pt x="2345" y="2368"/>
                </a:lnTo>
                <a:lnTo>
                  <a:pt x="2349" y="2368"/>
                </a:lnTo>
                <a:lnTo>
                  <a:pt x="2353" y="2368"/>
                </a:lnTo>
                <a:lnTo>
                  <a:pt x="2355" y="2369"/>
                </a:lnTo>
                <a:lnTo>
                  <a:pt x="2356" y="2370"/>
                </a:lnTo>
                <a:lnTo>
                  <a:pt x="2359" y="2375"/>
                </a:lnTo>
                <a:lnTo>
                  <a:pt x="2363" y="2380"/>
                </a:lnTo>
                <a:lnTo>
                  <a:pt x="2368" y="2385"/>
                </a:lnTo>
                <a:lnTo>
                  <a:pt x="2375" y="2392"/>
                </a:lnTo>
                <a:lnTo>
                  <a:pt x="2379" y="2395"/>
                </a:lnTo>
                <a:lnTo>
                  <a:pt x="2384" y="2398"/>
                </a:lnTo>
                <a:lnTo>
                  <a:pt x="2389" y="2400"/>
                </a:lnTo>
                <a:lnTo>
                  <a:pt x="2396" y="2402"/>
                </a:lnTo>
                <a:lnTo>
                  <a:pt x="2400" y="2403"/>
                </a:lnTo>
                <a:lnTo>
                  <a:pt x="2404" y="2403"/>
                </a:lnTo>
                <a:lnTo>
                  <a:pt x="2405" y="2402"/>
                </a:lnTo>
                <a:lnTo>
                  <a:pt x="2405" y="2401"/>
                </a:lnTo>
                <a:lnTo>
                  <a:pt x="2406" y="2399"/>
                </a:lnTo>
                <a:lnTo>
                  <a:pt x="2405" y="2397"/>
                </a:lnTo>
                <a:lnTo>
                  <a:pt x="2402" y="2392"/>
                </a:lnTo>
                <a:lnTo>
                  <a:pt x="2397" y="2385"/>
                </a:lnTo>
                <a:lnTo>
                  <a:pt x="2389" y="2379"/>
                </a:lnTo>
                <a:lnTo>
                  <a:pt x="2383" y="2373"/>
                </a:lnTo>
                <a:lnTo>
                  <a:pt x="2378" y="2368"/>
                </a:lnTo>
                <a:lnTo>
                  <a:pt x="2374" y="2363"/>
                </a:lnTo>
                <a:lnTo>
                  <a:pt x="2374" y="2362"/>
                </a:lnTo>
                <a:lnTo>
                  <a:pt x="2374" y="2361"/>
                </a:lnTo>
                <a:lnTo>
                  <a:pt x="2375" y="2361"/>
                </a:lnTo>
                <a:lnTo>
                  <a:pt x="2377" y="2361"/>
                </a:lnTo>
                <a:lnTo>
                  <a:pt x="2390" y="2366"/>
                </a:lnTo>
                <a:lnTo>
                  <a:pt x="2405" y="2370"/>
                </a:lnTo>
                <a:lnTo>
                  <a:pt x="2412" y="2371"/>
                </a:lnTo>
                <a:lnTo>
                  <a:pt x="2420" y="2371"/>
                </a:lnTo>
                <a:lnTo>
                  <a:pt x="2425" y="2371"/>
                </a:lnTo>
                <a:lnTo>
                  <a:pt x="2430" y="2368"/>
                </a:lnTo>
                <a:lnTo>
                  <a:pt x="2444" y="2355"/>
                </a:lnTo>
                <a:lnTo>
                  <a:pt x="2465" y="2336"/>
                </a:lnTo>
                <a:lnTo>
                  <a:pt x="2474" y="2328"/>
                </a:lnTo>
                <a:lnTo>
                  <a:pt x="2484" y="2321"/>
                </a:lnTo>
                <a:lnTo>
                  <a:pt x="2487" y="2319"/>
                </a:lnTo>
                <a:lnTo>
                  <a:pt x="2490" y="2319"/>
                </a:lnTo>
                <a:lnTo>
                  <a:pt x="2492" y="2319"/>
                </a:lnTo>
                <a:lnTo>
                  <a:pt x="2493" y="2321"/>
                </a:lnTo>
                <a:lnTo>
                  <a:pt x="2494" y="2326"/>
                </a:lnTo>
                <a:lnTo>
                  <a:pt x="2493" y="2331"/>
                </a:lnTo>
                <a:lnTo>
                  <a:pt x="2491" y="2337"/>
                </a:lnTo>
                <a:lnTo>
                  <a:pt x="2489" y="2345"/>
                </a:lnTo>
                <a:lnTo>
                  <a:pt x="2481" y="2362"/>
                </a:lnTo>
                <a:lnTo>
                  <a:pt x="2474" y="2381"/>
                </a:lnTo>
                <a:lnTo>
                  <a:pt x="2467" y="2399"/>
                </a:lnTo>
                <a:lnTo>
                  <a:pt x="2461" y="2416"/>
                </a:lnTo>
                <a:lnTo>
                  <a:pt x="2458" y="2422"/>
                </a:lnTo>
                <a:lnTo>
                  <a:pt x="2457" y="2427"/>
                </a:lnTo>
                <a:lnTo>
                  <a:pt x="2456" y="2432"/>
                </a:lnTo>
                <a:lnTo>
                  <a:pt x="2457" y="2435"/>
                </a:lnTo>
                <a:lnTo>
                  <a:pt x="2464" y="2438"/>
                </a:lnTo>
                <a:lnTo>
                  <a:pt x="2473" y="2440"/>
                </a:lnTo>
                <a:lnTo>
                  <a:pt x="2486" y="2443"/>
                </a:lnTo>
                <a:lnTo>
                  <a:pt x="2499" y="2445"/>
                </a:lnTo>
                <a:lnTo>
                  <a:pt x="2512" y="2447"/>
                </a:lnTo>
                <a:lnTo>
                  <a:pt x="2522" y="2449"/>
                </a:lnTo>
                <a:lnTo>
                  <a:pt x="2527" y="2450"/>
                </a:lnTo>
                <a:lnTo>
                  <a:pt x="2530" y="2451"/>
                </a:lnTo>
                <a:lnTo>
                  <a:pt x="2532" y="2452"/>
                </a:lnTo>
                <a:lnTo>
                  <a:pt x="2532" y="2454"/>
                </a:lnTo>
                <a:lnTo>
                  <a:pt x="2524" y="2457"/>
                </a:lnTo>
                <a:lnTo>
                  <a:pt x="2512" y="2460"/>
                </a:lnTo>
                <a:lnTo>
                  <a:pt x="2507" y="2462"/>
                </a:lnTo>
                <a:lnTo>
                  <a:pt x="2505" y="2465"/>
                </a:lnTo>
                <a:lnTo>
                  <a:pt x="2503" y="2467"/>
                </a:lnTo>
                <a:lnTo>
                  <a:pt x="2505" y="2469"/>
                </a:lnTo>
                <a:lnTo>
                  <a:pt x="2507" y="2471"/>
                </a:lnTo>
                <a:lnTo>
                  <a:pt x="2510" y="2473"/>
                </a:lnTo>
                <a:lnTo>
                  <a:pt x="2522" y="2484"/>
                </a:lnTo>
                <a:lnTo>
                  <a:pt x="2532" y="2489"/>
                </a:lnTo>
                <a:lnTo>
                  <a:pt x="2536" y="2490"/>
                </a:lnTo>
                <a:lnTo>
                  <a:pt x="2540" y="2490"/>
                </a:lnTo>
                <a:lnTo>
                  <a:pt x="2544" y="2487"/>
                </a:lnTo>
                <a:lnTo>
                  <a:pt x="2547" y="2483"/>
                </a:lnTo>
                <a:lnTo>
                  <a:pt x="2553" y="2472"/>
                </a:lnTo>
                <a:lnTo>
                  <a:pt x="2558" y="2465"/>
                </a:lnTo>
                <a:lnTo>
                  <a:pt x="2560" y="2462"/>
                </a:lnTo>
                <a:lnTo>
                  <a:pt x="2562" y="2461"/>
                </a:lnTo>
                <a:lnTo>
                  <a:pt x="2564" y="2461"/>
                </a:lnTo>
                <a:lnTo>
                  <a:pt x="2566" y="2462"/>
                </a:lnTo>
                <a:lnTo>
                  <a:pt x="2577" y="2471"/>
                </a:lnTo>
                <a:lnTo>
                  <a:pt x="2584" y="2474"/>
                </a:lnTo>
                <a:lnTo>
                  <a:pt x="2586" y="2474"/>
                </a:lnTo>
                <a:lnTo>
                  <a:pt x="2590" y="2473"/>
                </a:lnTo>
                <a:lnTo>
                  <a:pt x="2594" y="2472"/>
                </a:lnTo>
                <a:lnTo>
                  <a:pt x="2597" y="2470"/>
                </a:lnTo>
                <a:lnTo>
                  <a:pt x="2600" y="2468"/>
                </a:lnTo>
                <a:lnTo>
                  <a:pt x="2602" y="2464"/>
                </a:lnTo>
                <a:lnTo>
                  <a:pt x="2606" y="2457"/>
                </a:lnTo>
                <a:lnTo>
                  <a:pt x="2609" y="2447"/>
                </a:lnTo>
                <a:lnTo>
                  <a:pt x="2609" y="2443"/>
                </a:lnTo>
                <a:lnTo>
                  <a:pt x="2609" y="2438"/>
                </a:lnTo>
                <a:lnTo>
                  <a:pt x="2608" y="2432"/>
                </a:lnTo>
                <a:lnTo>
                  <a:pt x="2607" y="2425"/>
                </a:lnTo>
                <a:lnTo>
                  <a:pt x="2605" y="2421"/>
                </a:lnTo>
                <a:lnTo>
                  <a:pt x="2603" y="2417"/>
                </a:lnTo>
                <a:lnTo>
                  <a:pt x="2600" y="2414"/>
                </a:lnTo>
                <a:lnTo>
                  <a:pt x="2597" y="2410"/>
                </a:lnTo>
                <a:lnTo>
                  <a:pt x="2587" y="2402"/>
                </a:lnTo>
                <a:lnTo>
                  <a:pt x="2578" y="2395"/>
                </a:lnTo>
                <a:lnTo>
                  <a:pt x="2557" y="2381"/>
                </a:lnTo>
                <a:lnTo>
                  <a:pt x="2540" y="2374"/>
                </a:lnTo>
                <a:lnTo>
                  <a:pt x="2535" y="2371"/>
                </a:lnTo>
                <a:lnTo>
                  <a:pt x="2531" y="2368"/>
                </a:lnTo>
                <a:lnTo>
                  <a:pt x="2527" y="2364"/>
                </a:lnTo>
                <a:lnTo>
                  <a:pt x="2523" y="2361"/>
                </a:lnTo>
                <a:lnTo>
                  <a:pt x="2521" y="2357"/>
                </a:lnTo>
                <a:lnTo>
                  <a:pt x="2520" y="2354"/>
                </a:lnTo>
                <a:lnTo>
                  <a:pt x="2521" y="2351"/>
                </a:lnTo>
                <a:lnTo>
                  <a:pt x="2522" y="2349"/>
                </a:lnTo>
                <a:lnTo>
                  <a:pt x="2528" y="2341"/>
                </a:lnTo>
                <a:lnTo>
                  <a:pt x="2534" y="2333"/>
                </a:lnTo>
                <a:lnTo>
                  <a:pt x="2539" y="2325"/>
                </a:lnTo>
                <a:lnTo>
                  <a:pt x="2542" y="2318"/>
                </a:lnTo>
                <a:lnTo>
                  <a:pt x="2542" y="2314"/>
                </a:lnTo>
                <a:lnTo>
                  <a:pt x="2541" y="2310"/>
                </a:lnTo>
                <a:lnTo>
                  <a:pt x="2539" y="2304"/>
                </a:lnTo>
                <a:lnTo>
                  <a:pt x="2537" y="2297"/>
                </a:lnTo>
                <a:lnTo>
                  <a:pt x="2532" y="2286"/>
                </a:lnTo>
                <a:lnTo>
                  <a:pt x="2530" y="2280"/>
                </a:lnTo>
                <a:lnTo>
                  <a:pt x="2533" y="2274"/>
                </a:lnTo>
                <a:lnTo>
                  <a:pt x="2538" y="2263"/>
                </a:lnTo>
                <a:lnTo>
                  <a:pt x="2540" y="2255"/>
                </a:lnTo>
                <a:lnTo>
                  <a:pt x="2540" y="2249"/>
                </a:lnTo>
                <a:lnTo>
                  <a:pt x="2540" y="2246"/>
                </a:lnTo>
                <a:lnTo>
                  <a:pt x="2539" y="2243"/>
                </a:lnTo>
                <a:lnTo>
                  <a:pt x="2538" y="2240"/>
                </a:lnTo>
                <a:lnTo>
                  <a:pt x="2535" y="2238"/>
                </a:lnTo>
                <a:lnTo>
                  <a:pt x="2523" y="2227"/>
                </a:lnTo>
                <a:lnTo>
                  <a:pt x="2511" y="2218"/>
                </a:lnTo>
                <a:lnTo>
                  <a:pt x="2505" y="2215"/>
                </a:lnTo>
                <a:lnTo>
                  <a:pt x="2499" y="2213"/>
                </a:lnTo>
                <a:lnTo>
                  <a:pt x="2496" y="2211"/>
                </a:lnTo>
                <a:lnTo>
                  <a:pt x="2494" y="2211"/>
                </a:lnTo>
                <a:lnTo>
                  <a:pt x="2491" y="2213"/>
                </a:lnTo>
                <a:lnTo>
                  <a:pt x="2489" y="2214"/>
                </a:lnTo>
                <a:lnTo>
                  <a:pt x="2474" y="2222"/>
                </a:lnTo>
                <a:lnTo>
                  <a:pt x="2454" y="2233"/>
                </a:lnTo>
                <a:lnTo>
                  <a:pt x="2445" y="2239"/>
                </a:lnTo>
                <a:lnTo>
                  <a:pt x="2439" y="2242"/>
                </a:lnTo>
                <a:lnTo>
                  <a:pt x="2436" y="2243"/>
                </a:lnTo>
                <a:lnTo>
                  <a:pt x="2435" y="2243"/>
                </a:lnTo>
                <a:lnTo>
                  <a:pt x="2436" y="2242"/>
                </a:lnTo>
                <a:lnTo>
                  <a:pt x="2437" y="2240"/>
                </a:lnTo>
                <a:lnTo>
                  <a:pt x="2453" y="2230"/>
                </a:lnTo>
                <a:lnTo>
                  <a:pt x="2472" y="2219"/>
                </a:lnTo>
                <a:lnTo>
                  <a:pt x="2479" y="2214"/>
                </a:lnTo>
                <a:lnTo>
                  <a:pt x="2485" y="2207"/>
                </a:lnTo>
                <a:lnTo>
                  <a:pt x="2486" y="2204"/>
                </a:lnTo>
                <a:lnTo>
                  <a:pt x="2487" y="2200"/>
                </a:lnTo>
                <a:lnTo>
                  <a:pt x="2486" y="2197"/>
                </a:lnTo>
                <a:lnTo>
                  <a:pt x="2483" y="2194"/>
                </a:lnTo>
                <a:lnTo>
                  <a:pt x="2476" y="2187"/>
                </a:lnTo>
                <a:lnTo>
                  <a:pt x="2470" y="2183"/>
                </a:lnTo>
                <a:lnTo>
                  <a:pt x="2463" y="2180"/>
                </a:lnTo>
                <a:lnTo>
                  <a:pt x="2456" y="2177"/>
                </a:lnTo>
                <a:lnTo>
                  <a:pt x="2450" y="2175"/>
                </a:lnTo>
                <a:lnTo>
                  <a:pt x="2444" y="2172"/>
                </a:lnTo>
                <a:lnTo>
                  <a:pt x="2440" y="2169"/>
                </a:lnTo>
                <a:lnTo>
                  <a:pt x="2435" y="2164"/>
                </a:lnTo>
                <a:lnTo>
                  <a:pt x="2427" y="2150"/>
                </a:lnTo>
                <a:lnTo>
                  <a:pt x="2415" y="2132"/>
                </a:lnTo>
                <a:lnTo>
                  <a:pt x="2405" y="2116"/>
                </a:lnTo>
                <a:lnTo>
                  <a:pt x="2400" y="2110"/>
                </a:lnTo>
                <a:lnTo>
                  <a:pt x="2402" y="2107"/>
                </a:lnTo>
                <a:lnTo>
                  <a:pt x="2405" y="2100"/>
                </a:lnTo>
                <a:lnTo>
                  <a:pt x="2407" y="2097"/>
                </a:lnTo>
                <a:lnTo>
                  <a:pt x="2407" y="2093"/>
                </a:lnTo>
                <a:lnTo>
                  <a:pt x="2407" y="2089"/>
                </a:lnTo>
                <a:lnTo>
                  <a:pt x="2405" y="2085"/>
                </a:lnTo>
                <a:lnTo>
                  <a:pt x="2397" y="2068"/>
                </a:lnTo>
                <a:lnTo>
                  <a:pt x="2384" y="2041"/>
                </a:lnTo>
                <a:lnTo>
                  <a:pt x="2374" y="2016"/>
                </a:lnTo>
                <a:lnTo>
                  <a:pt x="2369" y="2004"/>
                </a:lnTo>
                <a:lnTo>
                  <a:pt x="2365" y="1995"/>
                </a:lnTo>
                <a:lnTo>
                  <a:pt x="2355" y="1976"/>
                </a:lnTo>
                <a:lnTo>
                  <a:pt x="2348" y="1966"/>
                </a:lnTo>
                <a:lnTo>
                  <a:pt x="2343" y="1960"/>
                </a:lnTo>
                <a:lnTo>
                  <a:pt x="2340" y="1958"/>
                </a:lnTo>
                <a:lnTo>
                  <a:pt x="2338" y="1958"/>
                </a:lnTo>
                <a:lnTo>
                  <a:pt x="2336" y="1959"/>
                </a:lnTo>
                <a:lnTo>
                  <a:pt x="2335" y="1961"/>
                </a:lnTo>
                <a:lnTo>
                  <a:pt x="2332" y="1972"/>
                </a:lnTo>
                <a:lnTo>
                  <a:pt x="2324" y="1985"/>
                </a:lnTo>
                <a:lnTo>
                  <a:pt x="2317" y="2001"/>
                </a:lnTo>
                <a:lnTo>
                  <a:pt x="2308" y="2018"/>
                </a:lnTo>
                <a:lnTo>
                  <a:pt x="2297" y="2032"/>
                </a:lnTo>
                <a:lnTo>
                  <a:pt x="2287" y="2044"/>
                </a:lnTo>
                <a:lnTo>
                  <a:pt x="2282" y="2048"/>
                </a:lnTo>
                <a:lnTo>
                  <a:pt x="2278" y="2050"/>
                </a:lnTo>
                <a:lnTo>
                  <a:pt x="2274" y="2051"/>
                </a:lnTo>
                <a:lnTo>
                  <a:pt x="2270" y="2050"/>
                </a:lnTo>
                <a:lnTo>
                  <a:pt x="2264" y="2045"/>
                </a:lnTo>
                <a:lnTo>
                  <a:pt x="2256" y="2040"/>
                </a:lnTo>
                <a:lnTo>
                  <a:pt x="2250" y="2034"/>
                </a:lnTo>
                <a:lnTo>
                  <a:pt x="2245" y="2028"/>
                </a:lnTo>
                <a:lnTo>
                  <a:pt x="2240" y="2023"/>
                </a:lnTo>
                <a:lnTo>
                  <a:pt x="2237" y="2017"/>
                </a:lnTo>
                <a:lnTo>
                  <a:pt x="2235" y="2011"/>
                </a:lnTo>
                <a:lnTo>
                  <a:pt x="2234" y="2007"/>
                </a:lnTo>
                <a:lnTo>
                  <a:pt x="2236" y="1994"/>
                </a:lnTo>
                <a:lnTo>
                  <a:pt x="2236" y="1974"/>
                </a:lnTo>
                <a:lnTo>
                  <a:pt x="2236" y="1963"/>
                </a:lnTo>
                <a:lnTo>
                  <a:pt x="2234" y="1954"/>
                </a:lnTo>
                <a:lnTo>
                  <a:pt x="2234" y="1951"/>
                </a:lnTo>
                <a:lnTo>
                  <a:pt x="2232" y="1946"/>
                </a:lnTo>
                <a:lnTo>
                  <a:pt x="2231" y="1944"/>
                </a:lnTo>
                <a:lnTo>
                  <a:pt x="2229" y="1942"/>
                </a:lnTo>
                <a:lnTo>
                  <a:pt x="2216" y="1936"/>
                </a:lnTo>
                <a:lnTo>
                  <a:pt x="2198" y="1929"/>
                </a:lnTo>
                <a:lnTo>
                  <a:pt x="2189" y="1924"/>
                </a:lnTo>
                <a:lnTo>
                  <a:pt x="2181" y="1920"/>
                </a:lnTo>
                <a:lnTo>
                  <a:pt x="2178" y="1918"/>
                </a:lnTo>
                <a:lnTo>
                  <a:pt x="2176" y="1916"/>
                </a:lnTo>
                <a:lnTo>
                  <a:pt x="2174" y="1913"/>
                </a:lnTo>
                <a:lnTo>
                  <a:pt x="2173" y="1911"/>
                </a:lnTo>
                <a:lnTo>
                  <a:pt x="2172" y="1906"/>
                </a:lnTo>
                <a:lnTo>
                  <a:pt x="2169" y="1898"/>
                </a:lnTo>
                <a:lnTo>
                  <a:pt x="2165" y="1891"/>
                </a:lnTo>
                <a:lnTo>
                  <a:pt x="2160" y="1885"/>
                </a:lnTo>
                <a:lnTo>
                  <a:pt x="2150" y="1871"/>
                </a:lnTo>
                <a:lnTo>
                  <a:pt x="2144" y="1865"/>
                </a:lnTo>
                <a:lnTo>
                  <a:pt x="2136" y="1860"/>
                </a:lnTo>
                <a:lnTo>
                  <a:pt x="2125" y="1858"/>
                </a:lnTo>
                <a:lnTo>
                  <a:pt x="2121" y="1857"/>
                </a:lnTo>
                <a:lnTo>
                  <a:pt x="2116" y="1857"/>
                </a:lnTo>
                <a:lnTo>
                  <a:pt x="2114" y="1858"/>
                </a:lnTo>
                <a:lnTo>
                  <a:pt x="2112" y="1860"/>
                </a:lnTo>
                <a:lnTo>
                  <a:pt x="2113" y="1866"/>
                </a:lnTo>
                <a:lnTo>
                  <a:pt x="2113" y="1871"/>
                </a:lnTo>
                <a:lnTo>
                  <a:pt x="2112" y="1872"/>
                </a:lnTo>
                <a:lnTo>
                  <a:pt x="2111" y="1874"/>
                </a:lnTo>
                <a:lnTo>
                  <a:pt x="2108" y="1874"/>
                </a:lnTo>
                <a:lnTo>
                  <a:pt x="2105" y="1873"/>
                </a:lnTo>
                <a:lnTo>
                  <a:pt x="2098" y="1870"/>
                </a:lnTo>
                <a:lnTo>
                  <a:pt x="2091" y="1866"/>
                </a:lnTo>
                <a:lnTo>
                  <a:pt x="2083" y="1863"/>
                </a:lnTo>
                <a:lnTo>
                  <a:pt x="2078" y="1863"/>
                </a:lnTo>
                <a:lnTo>
                  <a:pt x="2070" y="1863"/>
                </a:lnTo>
                <a:lnTo>
                  <a:pt x="2060" y="1863"/>
                </a:lnTo>
                <a:lnTo>
                  <a:pt x="2054" y="1864"/>
                </a:lnTo>
                <a:lnTo>
                  <a:pt x="2050" y="1865"/>
                </a:lnTo>
                <a:lnTo>
                  <a:pt x="2046" y="1868"/>
                </a:lnTo>
                <a:lnTo>
                  <a:pt x="2044" y="1873"/>
                </a:lnTo>
                <a:lnTo>
                  <a:pt x="2041" y="1879"/>
                </a:lnTo>
                <a:lnTo>
                  <a:pt x="2041" y="1887"/>
                </a:lnTo>
                <a:lnTo>
                  <a:pt x="2042" y="1896"/>
                </a:lnTo>
                <a:lnTo>
                  <a:pt x="2044" y="1906"/>
                </a:lnTo>
                <a:lnTo>
                  <a:pt x="2044" y="1915"/>
                </a:lnTo>
                <a:lnTo>
                  <a:pt x="2044" y="1923"/>
                </a:lnTo>
                <a:lnTo>
                  <a:pt x="2044" y="1931"/>
                </a:lnTo>
                <a:lnTo>
                  <a:pt x="2041" y="1936"/>
                </a:lnTo>
                <a:lnTo>
                  <a:pt x="2036" y="1943"/>
                </a:lnTo>
                <a:lnTo>
                  <a:pt x="2035" y="1948"/>
                </a:lnTo>
                <a:lnTo>
                  <a:pt x="2036" y="1953"/>
                </a:lnTo>
                <a:lnTo>
                  <a:pt x="2040" y="1960"/>
                </a:lnTo>
                <a:lnTo>
                  <a:pt x="2044" y="1967"/>
                </a:lnTo>
                <a:lnTo>
                  <a:pt x="2047" y="1975"/>
                </a:lnTo>
                <a:lnTo>
                  <a:pt x="2047" y="1979"/>
                </a:lnTo>
                <a:lnTo>
                  <a:pt x="2047" y="1982"/>
                </a:lnTo>
                <a:lnTo>
                  <a:pt x="2047" y="1986"/>
                </a:lnTo>
                <a:lnTo>
                  <a:pt x="2045" y="1989"/>
                </a:lnTo>
                <a:lnTo>
                  <a:pt x="2037" y="1996"/>
                </a:lnTo>
                <a:lnTo>
                  <a:pt x="2026" y="2002"/>
                </a:lnTo>
                <a:lnTo>
                  <a:pt x="2024" y="2004"/>
                </a:lnTo>
                <a:lnTo>
                  <a:pt x="2022" y="2006"/>
                </a:lnTo>
                <a:lnTo>
                  <a:pt x="2022" y="2009"/>
                </a:lnTo>
                <a:lnTo>
                  <a:pt x="2022" y="2013"/>
                </a:lnTo>
                <a:lnTo>
                  <a:pt x="2024" y="2018"/>
                </a:lnTo>
                <a:lnTo>
                  <a:pt x="2027" y="2023"/>
                </a:lnTo>
                <a:lnTo>
                  <a:pt x="2032" y="2029"/>
                </a:lnTo>
                <a:lnTo>
                  <a:pt x="2038" y="2035"/>
                </a:lnTo>
                <a:lnTo>
                  <a:pt x="2051" y="2050"/>
                </a:lnTo>
                <a:lnTo>
                  <a:pt x="2060" y="2063"/>
                </a:lnTo>
                <a:lnTo>
                  <a:pt x="2067" y="2073"/>
                </a:lnTo>
                <a:lnTo>
                  <a:pt x="2071" y="2084"/>
                </a:lnTo>
                <a:lnTo>
                  <a:pt x="2073" y="2093"/>
                </a:lnTo>
                <a:lnTo>
                  <a:pt x="2073" y="2103"/>
                </a:lnTo>
                <a:lnTo>
                  <a:pt x="2071" y="2112"/>
                </a:lnTo>
                <a:lnTo>
                  <a:pt x="2069" y="2121"/>
                </a:lnTo>
                <a:lnTo>
                  <a:pt x="2066" y="2131"/>
                </a:lnTo>
                <a:lnTo>
                  <a:pt x="2060" y="2140"/>
                </a:lnTo>
                <a:lnTo>
                  <a:pt x="2054" y="2151"/>
                </a:lnTo>
                <a:lnTo>
                  <a:pt x="2048" y="2159"/>
                </a:lnTo>
                <a:lnTo>
                  <a:pt x="2034" y="2175"/>
                </a:lnTo>
                <a:lnTo>
                  <a:pt x="2025" y="2184"/>
                </a:lnTo>
                <a:lnTo>
                  <a:pt x="2018" y="2188"/>
                </a:lnTo>
                <a:lnTo>
                  <a:pt x="2012" y="2193"/>
                </a:lnTo>
                <a:lnTo>
                  <a:pt x="2010" y="2196"/>
                </a:lnTo>
                <a:lnTo>
                  <a:pt x="2009" y="2198"/>
                </a:lnTo>
                <a:lnTo>
                  <a:pt x="2008" y="2201"/>
                </a:lnTo>
                <a:lnTo>
                  <a:pt x="2009" y="2204"/>
                </a:lnTo>
                <a:lnTo>
                  <a:pt x="2010" y="2214"/>
                </a:lnTo>
                <a:lnTo>
                  <a:pt x="2011" y="2225"/>
                </a:lnTo>
                <a:lnTo>
                  <a:pt x="2011" y="2237"/>
                </a:lnTo>
                <a:lnTo>
                  <a:pt x="2010" y="2244"/>
                </a:lnTo>
                <a:lnTo>
                  <a:pt x="2011" y="2250"/>
                </a:lnTo>
                <a:lnTo>
                  <a:pt x="2014" y="2260"/>
                </a:lnTo>
                <a:lnTo>
                  <a:pt x="2017" y="2269"/>
                </a:lnTo>
                <a:lnTo>
                  <a:pt x="2018" y="2276"/>
                </a:lnTo>
                <a:lnTo>
                  <a:pt x="2018" y="2288"/>
                </a:lnTo>
                <a:lnTo>
                  <a:pt x="2017" y="2303"/>
                </a:lnTo>
                <a:lnTo>
                  <a:pt x="2015" y="2309"/>
                </a:lnTo>
                <a:lnTo>
                  <a:pt x="2012" y="2314"/>
                </a:lnTo>
                <a:lnTo>
                  <a:pt x="2010" y="2316"/>
                </a:lnTo>
                <a:lnTo>
                  <a:pt x="2008" y="2317"/>
                </a:lnTo>
                <a:lnTo>
                  <a:pt x="2005" y="2318"/>
                </a:lnTo>
                <a:lnTo>
                  <a:pt x="2002" y="2318"/>
                </a:lnTo>
                <a:lnTo>
                  <a:pt x="1996" y="2316"/>
                </a:lnTo>
                <a:lnTo>
                  <a:pt x="1991" y="2313"/>
                </a:lnTo>
                <a:lnTo>
                  <a:pt x="1986" y="2309"/>
                </a:lnTo>
                <a:lnTo>
                  <a:pt x="1983" y="2305"/>
                </a:lnTo>
                <a:lnTo>
                  <a:pt x="1975" y="2295"/>
                </a:lnTo>
                <a:lnTo>
                  <a:pt x="1969" y="2285"/>
                </a:lnTo>
                <a:lnTo>
                  <a:pt x="1961" y="2276"/>
                </a:lnTo>
                <a:lnTo>
                  <a:pt x="1953" y="2271"/>
                </a:lnTo>
                <a:lnTo>
                  <a:pt x="1950" y="2268"/>
                </a:lnTo>
                <a:lnTo>
                  <a:pt x="1948" y="2266"/>
                </a:lnTo>
                <a:lnTo>
                  <a:pt x="1947" y="2264"/>
                </a:lnTo>
                <a:lnTo>
                  <a:pt x="1947" y="2261"/>
                </a:lnTo>
                <a:lnTo>
                  <a:pt x="1948" y="2258"/>
                </a:lnTo>
                <a:lnTo>
                  <a:pt x="1950" y="2255"/>
                </a:lnTo>
                <a:lnTo>
                  <a:pt x="1953" y="2254"/>
                </a:lnTo>
                <a:lnTo>
                  <a:pt x="1956" y="2252"/>
                </a:lnTo>
                <a:lnTo>
                  <a:pt x="1957" y="2251"/>
                </a:lnTo>
                <a:lnTo>
                  <a:pt x="1958" y="2250"/>
                </a:lnTo>
                <a:lnTo>
                  <a:pt x="1958" y="2248"/>
                </a:lnTo>
                <a:lnTo>
                  <a:pt x="1956" y="2246"/>
                </a:lnTo>
                <a:lnTo>
                  <a:pt x="1951" y="2241"/>
                </a:lnTo>
                <a:lnTo>
                  <a:pt x="1948" y="2237"/>
                </a:lnTo>
                <a:lnTo>
                  <a:pt x="1946" y="2235"/>
                </a:lnTo>
                <a:lnTo>
                  <a:pt x="1946" y="2231"/>
                </a:lnTo>
                <a:lnTo>
                  <a:pt x="1946" y="2228"/>
                </a:lnTo>
                <a:lnTo>
                  <a:pt x="1947" y="2225"/>
                </a:lnTo>
                <a:lnTo>
                  <a:pt x="1948" y="2221"/>
                </a:lnTo>
                <a:lnTo>
                  <a:pt x="1951" y="2219"/>
                </a:lnTo>
                <a:lnTo>
                  <a:pt x="1953" y="2217"/>
                </a:lnTo>
                <a:lnTo>
                  <a:pt x="1957" y="2215"/>
                </a:lnTo>
                <a:lnTo>
                  <a:pt x="1958" y="2214"/>
                </a:lnTo>
                <a:lnTo>
                  <a:pt x="1959" y="2210"/>
                </a:lnTo>
                <a:lnTo>
                  <a:pt x="1959" y="2206"/>
                </a:lnTo>
                <a:lnTo>
                  <a:pt x="1956" y="2201"/>
                </a:lnTo>
                <a:lnTo>
                  <a:pt x="1948" y="2189"/>
                </a:lnTo>
                <a:lnTo>
                  <a:pt x="1942" y="2178"/>
                </a:lnTo>
                <a:lnTo>
                  <a:pt x="1939" y="2174"/>
                </a:lnTo>
                <a:lnTo>
                  <a:pt x="1935" y="2171"/>
                </a:lnTo>
                <a:lnTo>
                  <a:pt x="1929" y="2170"/>
                </a:lnTo>
                <a:lnTo>
                  <a:pt x="1923" y="2169"/>
                </a:lnTo>
                <a:lnTo>
                  <a:pt x="1920" y="2167"/>
                </a:lnTo>
                <a:lnTo>
                  <a:pt x="1915" y="2163"/>
                </a:lnTo>
                <a:lnTo>
                  <a:pt x="1909" y="2157"/>
                </a:lnTo>
                <a:lnTo>
                  <a:pt x="1904" y="2150"/>
                </a:lnTo>
                <a:lnTo>
                  <a:pt x="1891" y="2130"/>
                </a:lnTo>
                <a:lnTo>
                  <a:pt x="1877" y="2107"/>
                </a:lnTo>
                <a:lnTo>
                  <a:pt x="1863" y="2083"/>
                </a:lnTo>
                <a:lnTo>
                  <a:pt x="1851" y="2062"/>
                </a:lnTo>
                <a:lnTo>
                  <a:pt x="1841" y="2045"/>
                </a:lnTo>
                <a:lnTo>
                  <a:pt x="1834" y="2037"/>
                </a:lnTo>
                <a:lnTo>
                  <a:pt x="1828" y="2032"/>
                </a:lnTo>
                <a:lnTo>
                  <a:pt x="1819" y="2028"/>
                </a:lnTo>
                <a:lnTo>
                  <a:pt x="1809" y="2025"/>
                </a:lnTo>
                <a:lnTo>
                  <a:pt x="1796" y="2022"/>
                </a:lnTo>
                <a:lnTo>
                  <a:pt x="1785" y="2020"/>
                </a:lnTo>
                <a:lnTo>
                  <a:pt x="1774" y="2020"/>
                </a:lnTo>
                <a:lnTo>
                  <a:pt x="1769" y="2020"/>
                </a:lnTo>
                <a:lnTo>
                  <a:pt x="1764" y="2021"/>
                </a:lnTo>
                <a:lnTo>
                  <a:pt x="1760" y="2022"/>
                </a:lnTo>
                <a:lnTo>
                  <a:pt x="1756" y="2024"/>
                </a:lnTo>
                <a:lnTo>
                  <a:pt x="1753" y="2027"/>
                </a:lnTo>
                <a:lnTo>
                  <a:pt x="1751" y="2030"/>
                </a:lnTo>
                <a:lnTo>
                  <a:pt x="1749" y="2033"/>
                </a:lnTo>
                <a:lnTo>
                  <a:pt x="1747" y="2038"/>
                </a:lnTo>
                <a:lnTo>
                  <a:pt x="1744" y="2047"/>
                </a:lnTo>
                <a:lnTo>
                  <a:pt x="1742" y="2056"/>
                </a:lnTo>
                <a:lnTo>
                  <a:pt x="1740" y="2064"/>
                </a:lnTo>
                <a:lnTo>
                  <a:pt x="1738" y="2070"/>
                </a:lnTo>
                <a:lnTo>
                  <a:pt x="1737" y="2071"/>
                </a:lnTo>
                <a:lnTo>
                  <a:pt x="1734" y="2072"/>
                </a:lnTo>
                <a:lnTo>
                  <a:pt x="1733" y="2072"/>
                </a:lnTo>
                <a:lnTo>
                  <a:pt x="1731" y="2071"/>
                </a:lnTo>
                <a:lnTo>
                  <a:pt x="1729" y="2070"/>
                </a:lnTo>
                <a:lnTo>
                  <a:pt x="1728" y="2070"/>
                </a:lnTo>
                <a:lnTo>
                  <a:pt x="1726" y="2072"/>
                </a:lnTo>
                <a:lnTo>
                  <a:pt x="1724" y="2075"/>
                </a:lnTo>
                <a:lnTo>
                  <a:pt x="1720" y="2085"/>
                </a:lnTo>
                <a:lnTo>
                  <a:pt x="1717" y="2095"/>
                </a:lnTo>
                <a:lnTo>
                  <a:pt x="1712" y="2106"/>
                </a:lnTo>
                <a:lnTo>
                  <a:pt x="1707" y="2115"/>
                </a:lnTo>
                <a:lnTo>
                  <a:pt x="1705" y="2119"/>
                </a:lnTo>
                <a:lnTo>
                  <a:pt x="1703" y="2121"/>
                </a:lnTo>
                <a:lnTo>
                  <a:pt x="1700" y="2122"/>
                </a:lnTo>
                <a:lnTo>
                  <a:pt x="1697" y="2121"/>
                </a:lnTo>
                <a:lnTo>
                  <a:pt x="1694" y="2119"/>
                </a:lnTo>
                <a:lnTo>
                  <a:pt x="1690" y="2116"/>
                </a:lnTo>
                <a:lnTo>
                  <a:pt x="1687" y="2111"/>
                </a:lnTo>
                <a:lnTo>
                  <a:pt x="1684" y="2105"/>
                </a:lnTo>
                <a:lnTo>
                  <a:pt x="1678" y="2090"/>
                </a:lnTo>
                <a:lnTo>
                  <a:pt x="1672" y="2073"/>
                </a:lnTo>
                <a:lnTo>
                  <a:pt x="1667" y="2054"/>
                </a:lnTo>
                <a:lnTo>
                  <a:pt x="1663" y="2038"/>
                </a:lnTo>
                <a:lnTo>
                  <a:pt x="1661" y="2022"/>
                </a:lnTo>
                <a:lnTo>
                  <a:pt x="1661" y="2010"/>
                </a:lnTo>
                <a:lnTo>
                  <a:pt x="1664" y="1988"/>
                </a:lnTo>
                <a:lnTo>
                  <a:pt x="1668" y="1965"/>
                </a:lnTo>
                <a:lnTo>
                  <a:pt x="1672" y="1953"/>
                </a:lnTo>
                <a:lnTo>
                  <a:pt x="1675" y="1941"/>
                </a:lnTo>
                <a:lnTo>
                  <a:pt x="1680" y="1931"/>
                </a:lnTo>
                <a:lnTo>
                  <a:pt x="1687" y="1922"/>
                </a:lnTo>
                <a:lnTo>
                  <a:pt x="1708" y="1899"/>
                </a:lnTo>
                <a:lnTo>
                  <a:pt x="1733" y="1870"/>
                </a:lnTo>
                <a:lnTo>
                  <a:pt x="1755" y="1846"/>
                </a:lnTo>
                <a:lnTo>
                  <a:pt x="1765" y="1835"/>
                </a:lnTo>
                <a:lnTo>
                  <a:pt x="1764" y="1834"/>
                </a:lnTo>
                <a:lnTo>
                  <a:pt x="1763" y="1829"/>
                </a:lnTo>
                <a:lnTo>
                  <a:pt x="1764" y="1826"/>
                </a:lnTo>
                <a:lnTo>
                  <a:pt x="1765" y="1822"/>
                </a:lnTo>
                <a:lnTo>
                  <a:pt x="1767" y="1819"/>
                </a:lnTo>
                <a:lnTo>
                  <a:pt x="1770" y="1815"/>
                </a:lnTo>
                <a:lnTo>
                  <a:pt x="1782" y="1805"/>
                </a:lnTo>
                <a:lnTo>
                  <a:pt x="1789" y="1799"/>
                </a:lnTo>
                <a:lnTo>
                  <a:pt x="1796" y="1794"/>
                </a:lnTo>
                <a:lnTo>
                  <a:pt x="1808" y="1790"/>
                </a:lnTo>
                <a:lnTo>
                  <a:pt x="1813" y="1788"/>
                </a:lnTo>
                <a:lnTo>
                  <a:pt x="1818" y="1786"/>
                </a:lnTo>
                <a:lnTo>
                  <a:pt x="1821" y="1783"/>
                </a:lnTo>
                <a:lnTo>
                  <a:pt x="1823" y="1780"/>
                </a:lnTo>
                <a:lnTo>
                  <a:pt x="1829" y="1770"/>
                </a:lnTo>
                <a:lnTo>
                  <a:pt x="1836" y="1759"/>
                </a:lnTo>
                <a:lnTo>
                  <a:pt x="1840" y="1754"/>
                </a:lnTo>
                <a:lnTo>
                  <a:pt x="1843" y="1749"/>
                </a:lnTo>
                <a:lnTo>
                  <a:pt x="1845" y="1749"/>
                </a:lnTo>
                <a:lnTo>
                  <a:pt x="1847" y="1748"/>
                </a:lnTo>
                <a:lnTo>
                  <a:pt x="1849" y="1749"/>
                </a:lnTo>
                <a:lnTo>
                  <a:pt x="1850" y="1752"/>
                </a:lnTo>
                <a:lnTo>
                  <a:pt x="1850" y="1757"/>
                </a:lnTo>
                <a:lnTo>
                  <a:pt x="1849" y="1765"/>
                </a:lnTo>
                <a:lnTo>
                  <a:pt x="1845" y="1775"/>
                </a:lnTo>
                <a:lnTo>
                  <a:pt x="1841" y="1784"/>
                </a:lnTo>
                <a:lnTo>
                  <a:pt x="1838" y="1793"/>
                </a:lnTo>
                <a:lnTo>
                  <a:pt x="1835" y="1801"/>
                </a:lnTo>
                <a:lnTo>
                  <a:pt x="1834" y="1807"/>
                </a:lnTo>
                <a:lnTo>
                  <a:pt x="1835" y="1811"/>
                </a:lnTo>
                <a:lnTo>
                  <a:pt x="1842" y="1813"/>
                </a:lnTo>
                <a:lnTo>
                  <a:pt x="1854" y="1815"/>
                </a:lnTo>
                <a:lnTo>
                  <a:pt x="1860" y="1816"/>
                </a:lnTo>
                <a:lnTo>
                  <a:pt x="1865" y="1819"/>
                </a:lnTo>
                <a:lnTo>
                  <a:pt x="1871" y="1822"/>
                </a:lnTo>
                <a:lnTo>
                  <a:pt x="1874" y="1826"/>
                </a:lnTo>
                <a:lnTo>
                  <a:pt x="1877" y="1835"/>
                </a:lnTo>
                <a:lnTo>
                  <a:pt x="1880" y="1841"/>
                </a:lnTo>
                <a:lnTo>
                  <a:pt x="1881" y="1842"/>
                </a:lnTo>
                <a:lnTo>
                  <a:pt x="1884" y="1840"/>
                </a:lnTo>
                <a:lnTo>
                  <a:pt x="1887" y="1836"/>
                </a:lnTo>
                <a:lnTo>
                  <a:pt x="1893" y="1831"/>
                </a:lnTo>
                <a:lnTo>
                  <a:pt x="1898" y="1824"/>
                </a:lnTo>
                <a:lnTo>
                  <a:pt x="1902" y="1814"/>
                </a:lnTo>
                <a:lnTo>
                  <a:pt x="1905" y="1805"/>
                </a:lnTo>
                <a:lnTo>
                  <a:pt x="1908" y="1796"/>
                </a:lnTo>
                <a:lnTo>
                  <a:pt x="1911" y="1788"/>
                </a:lnTo>
                <a:lnTo>
                  <a:pt x="1915" y="1784"/>
                </a:lnTo>
                <a:lnTo>
                  <a:pt x="1917" y="1783"/>
                </a:lnTo>
                <a:lnTo>
                  <a:pt x="1919" y="1783"/>
                </a:lnTo>
                <a:lnTo>
                  <a:pt x="1921" y="1784"/>
                </a:lnTo>
                <a:lnTo>
                  <a:pt x="1923" y="1786"/>
                </a:lnTo>
                <a:lnTo>
                  <a:pt x="1930" y="1793"/>
                </a:lnTo>
                <a:lnTo>
                  <a:pt x="1940" y="1799"/>
                </a:lnTo>
                <a:lnTo>
                  <a:pt x="1950" y="1804"/>
                </a:lnTo>
                <a:lnTo>
                  <a:pt x="1961" y="1808"/>
                </a:lnTo>
                <a:lnTo>
                  <a:pt x="1971" y="1811"/>
                </a:lnTo>
                <a:lnTo>
                  <a:pt x="1980" y="1813"/>
                </a:lnTo>
                <a:lnTo>
                  <a:pt x="1983" y="1813"/>
                </a:lnTo>
                <a:lnTo>
                  <a:pt x="1986" y="1813"/>
                </a:lnTo>
                <a:lnTo>
                  <a:pt x="1988" y="1812"/>
                </a:lnTo>
                <a:lnTo>
                  <a:pt x="1988" y="1811"/>
                </a:lnTo>
                <a:lnTo>
                  <a:pt x="1988" y="1808"/>
                </a:lnTo>
                <a:lnTo>
                  <a:pt x="1987" y="1804"/>
                </a:lnTo>
                <a:lnTo>
                  <a:pt x="1985" y="1800"/>
                </a:lnTo>
                <a:lnTo>
                  <a:pt x="1983" y="1794"/>
                </a:lnTo>
                <a:lnTo>
                  <a:pt x="1973" y="1782"/>
                </a:lnTo>
                <a:lnTo>
                  <a:pt x="1960" y="1765"/>
                </a:lnTo>
                <a:lnTo>
                  <a:pt x="1950" y="1757"/>
                </a:lnTo>
                <a:lnTo>
                  <a:pt x="1940" y="1748"/>
                </a:lnTo>
                <a:lnTo>
                  <a:pt x="1928" y="1741"/>
                </a:lnTo>
                <a:lnTo>
                  <a:pt x="1918" y="1735"/>
                </a:lnTo>
                <a:lnTo>
                  <a:pt x="1908" y="1730"/>
                </a:lnTo>
                <a:lnTo>
                  <a:pt x="1901" y="1724"/>
                </a:lnTo>
                <a:lnTo>
                  <a:pt x="1899" y="1722"/>
                </a:lnTo>
                <a:lnTo>
                  <a:pt x="1898" y="1719"/>
                </a:lnTo>
                <a:lnTo>
                  <a:pt x="1898" y="1717"/>
                </a:lnTo>
                <a:lnTo>
                  <a:pt x="1899" y="1716"/>
                </a:lnTo>
                <a:lnTo>
                  <a:pt x="1907" y="1710"/>
                </a:lnTo>
                <a:lnTo>
                  <a:pt x="1917" y="1705"/>
                </a:lnTo>
                <a:lnTo>
                  <a:pt x="1921" y="1702"/>
                </a:lnTo>
                <a:lnTo>
                  <a:pt x="1925" y="1699"/>
                </a:lnTo>
                <a:lnTo>
                  <a:pt x="1928" y="1694"/>
                </a:lnTo>
                <a:lnTo>
                  <a:pt x="1929" y="1688"/>
                </a:lnTo>
                <a:lnTo>
                  <a:pt x="1931" y="1672"/>
                </a:lnTo>
                <a:lnTo>
                  <a:pt x="1933" y="1658"/>
                </a:lnTo>
                <a:lnTo>
                  <a:pt x="1936" y="1653"/>
                </a:lnTo>
                <a:lnTo>
                  <a:pt x="1939" y="1648"/>
                </a:lnTo>
                <a:lnTo>
                  <a:pt x="1942" y="1645"/>
                </a:lnTo>
                <a:lnTo>
                  <a:pt x="1946" y="1643"/>
                </a:lnTo>
                <a:lnTo>
                  <a:pt x="1948" y="1642"/>
                </a:lnTo>
                <a:lnTo>
                  <a:pt x="1950" y="1638"/>
                </a:lnTo>
                <a:lnTo>
                  <a:pt x="1950" y="1635"/>
                </a:lnTo>
                <a:lnTo>
                  <a:pt x="1951" y="1630"/>
                </a:lnTo>
                <a:lnTo>
                  <a:pt x="1951" y="1617"/>
                </a:lnTo>
                <a:lnTo>
                  <a:pt x="1950" y="1604"/>
                </a:lnTo>
                <a:lnTo>
                  <a:pt x="1947" y="1579"/>
                </a:lnTo>
                <a:lnTo>
                  <a:pt x="1946" y="1567"/>
                </a:lnTo>
                <a:lnTo>
                  <a:pt x="1949" y="1559"/>
                </a:lnTo>
                <a:lnTo>
                  <a:pt x="1954" y="1540"/>
                </a:lnTo>
                <a:lnTo>
                  <a:pt x="1958" y="1529"/>
                </a:lnTo>
                <a:lnTo>
                  <a:pt x="1959" y="1519"/>
                </a:lnTo>
                <a:lnTo>
                  <a:pt x="1958" y="1515"/>
                </a:lnTo>
                <a:lnTo>
                  <a:pt x="1957" y="1511"/>
                </a:lnTo>
                <a:lnTo>
                  <a:pt x="1956" y="1507"/>
                </a:lnTo>
                <a:lnTo>
                  <a:pt x="1952" y="1504"/>
                </a:lnTo>
                <a:lnTo>
                  <a:pt x="1936" y="1494"/>
                </a:lnTo>
                <a:lnTo>
                  <a:pt x="1914" y="1479"/>
                </a:lnTo>
                <a:lnTo>
                  <a:pt x="1903" y="1473"/>
                </a:lnTo>
                <a:lnTo>
                  <a:pt x="1895" y="1468"/>
                </a:lnTo>
                <a:lnTo>
                  <a:pt x="1889" y="1463"/>
                </a:lnTo>
                <a:lnTo>
                  <a:pt x="1889" y="1461"/>
                </a:lnTo>
                <a:lnTo>
                  <a:pt x="1904" y="1455"/>
                </a:lnTo>
                <a:lnTo>
                  <a:pt x="1933" y="1445"/>
                </a:lnTo>
                <a:lnTo>
                  <a:pt x="1949" y="1440"/>
                </a:lnTo>
                <a:lnTo>
                  <a:pt x="1962" y="1438"/>
                </a:lnTo>
                <a:lnTo>
                  <a:pt x="1967" y="1439"/>
                </a:lnTo>
                <a:lnTo>
                  <a:pt x="1971" y="1440"/>
                </a:lnTo>
                <a:lnTo>
                  <a:pt x="1974" y="1442"/>
                </a:lnTo>
                <a:lnTo>
                  <a:pt x="1975" y="1446"/>
                </a:lnTo>
                <a:lnTo>
                  <a:pt x="1975" y="1450"/>
                </a:lnTo>
                <a:lnTo>
                  <a:pt x="1976" y="1454"/>
                </a:lnTo>
                <a:lnTo>
                  <a:pt x="1979" y="1457"/>
                </a:lnTo>
                <a:lnTo>
                  <a:pt x="1981" y="1461"/>
                </a:lnTo>
                <a:lnTo>
                  <a:pt x="1986" y="1467"/>
                </a:lnTo>
                <a:lnTo>
                  <a:pt x="1991" y="1471"/>
                </a:lnTo>
                <a:lnTo>
                  <a:pt x="1996" y="1472"/>
                </a:lnTo>
                <a:lnTo>
                  <a:pt x="2002" y="1472"/>
                </a:lnTo>
                <a:lnTo>
                  <a:pt x="2004" y="1471"/>
                </a:lnTo>
                <a:lnTo>
                  <a:pt x="2005" y="1470"/>
                </a:lnTo>
                <a:lnTo>
                  <a:pt x="2006" y="1468"/>
                </a:lnTo>
                <a:lnTo>
                  <a:pt x="2006" y="1464"/>
                </a:lnTo>
                <a:lnTo>
                  <a:pt x="2007" y="1457"/>
                </a:lnTo>
                <a:lnTo>
                  <a:pt x="2009" y="1450"/>
                </a:lnTo>
                <a:lnTo>
                  <a:pt x="2012" y="1442"/>
                </a:lnTo>
                <a:lnTo>
                  <a:pt x="2017" y="1436"/>
                </a:lnTo>
                <a:lnTo>
                  <a:pt x="2019" y="1434"/>
                </a:lnTo>
                <a:lnTo>
                  <a:pt x="2023" y="1432"/>
                </a:lnTo>
                <a:lnTo>
                  <a:pt x="2026" y="1431"/>
                </a:lnTo>
                <a:lnTo>
                  <a:pt x="2029" y="1431"/>
                </a:lnTo>
                <a:lnTo>
                  <a:pt x="2032" y="1432"/>
                </a:lnTo>
                <a:lnTo>
                  <a:pt x="2035" y="1434"/>
                </a:lnTo>
                <a:lnTo>
                  <a:pt x="2038" y="1437"/>
                </a:lnTo>
                <a:lnTo>
                  <a:pt x="2042" y="1442"/>
                </a:lnTo>
                <a:lnTo>
                  <a:pt x="2052" y="1457"/>
                </a:lnTo>
                <a:lnTo>
                  <a:pt x="2067" y="1478"/>
                </a:lnTo>
                <a:lnTo>
                  <a:pt x="2084" y="1504"/>
                </a:lnTo>
                <a:lnTo>
                  <a:pt x="2103" y="1534"/>
                </a:lnTo>
                <a:lnTo>
                  <a:pt x="2121" y="1561"/>
                </a:lnTo>
                <a:lnTo>
                  <a:pt x="2136" y="1586"/>
                </a:lnTo>
                <a:lnTo>
                  <a:pt x="2141" y="1596"/>
                </a:lnTo>
                <a:lnTo>
                  <a:pt x="2145" y="1606"/>
                </a:lnTo>
                <a:lnTo>
                  <a:pt x="2147" y="1612"/>
                </a:lnTo>
                <a:lnTo>
                  <a:pt x="2147" y="1617"/>
                </a:lnTo>
                <a:lnTo>
                  <a:pt x="2147" y="1624"/>
                </a:lnTo>
                <a:lnTo>
                  <a:pt x="2147" y="1629"/>
                </a:lnTo>
                <a:lnTo>
                  <a:pt x="2149" y="1634"/>
                </a:lnTo>
                <a:lnTo>
                  <a:pt x="2151" y="1637"/>
                </a:lnTo>
                <a:lnTo>
                  <a:pt x="2156" y="1643"/>
                </a:lnTo>
                <a:lnTo>
                  <a:pt x="2158" y="1644"/>
                </a:lnTo>
                <a:lnTo>
                  <a:pt x="2170" y="1645"/>
                </a:lnTo>
                <a:lnTo>
                  <a:pt x="2196" y="1649"/>
                </a:lnTo>
                <a:lnTo>
                  <a:pt x="2210" y="1651"/>
                </a:lnTo>
                <a:lnTo>
                  <a:pt x="2221" y="1654"/>
                </a:lnTo>
                <a:lnTo>
                  <a:pt x="2225" y="1656"/>
                </a:lnTo>
                <a:lnTo>
                  <a:pt x="2228" y="1658"/>
                </a:lnTo>
                <a:lnTo>
                  <a:pt x="2229" y="1660"/>
                </a:lnTo>
                <a:lnTo>
                  <a:pt x="2228" y="1664"/>
                </a:lnTo>
                <a:lnTo>
                  <a:pt x="2220" y="1675"/>
                </a:lnTo>
                <a:lnTo>
                  <a:pt x="2212" y="1684"/>
                </a:lnTo>
                <a:lnTo>
                  <a:pt x="2209" y="1688"/>
                </a:lnTo>
                <a:lnTo>
                  <a:pt x="2205" y="1690"/>
                </a:lnTo>
                <a:lnTo>
                  <a:pt x="2203" y="1690"/>
                </a:lnTo>
                <a:lnTo>
                  <a:pt x="2202" y="1689"/>
                </a:lnTo>
                <a:lnTo>
                  <a:pt x="2200" y="1688"/>
                </a:lnTo>
                <a:lnTo>
                  <a:pt x="2198" y="1686"/>
                </a:lnTo>
                <a:lnTo>
                  <a:pt x="2190" y="1676"/>
                </a:lnTo>
                <a:lnTo>
                  <a:pt x="2180" y="1665"/>
                </a:lnTo>
                <a:lnTo>
                  <a:pt x="2173" y="1659"/>
                </a:lnTo>
                <a:lnTo>
                  <a:pt x="2167" y="1656"/>
                </a:lnTo>
                <a:lnTo>
                  <a:pt x="2161" y="1653"/>
                </a:lnTo>
                <a:lnTo>
                  <a:pt x="2154" y="1651"/>
                </a:lnTo>
                <a:lnTo>
                  <a:pt x="2147" y="1651"/>
                </a:lnTo>
                <a:lnTo>
                  <a:pt x="2142" y="1651"/>
                </a:lnTo>
                <a:lnTo>
                  <a:pt x="2137" y="1652"/>
                </a:lnTo>
                <a:lnTo>
                  <a:pt x="2133" y="1654"/>
                </a:lnTo>
                <a:lnTo>
                  <a:pt x="2129" y="1657"/>
                </a:lnTo>
                <a:lnTo>
                  <a:pt x="2127" y="1662"/>
                </a:lnTo>
                <a:lnTo>
                  <a:pt x="2125" y="1669"/>
                </a:lnTo>
                <a:lnTo>
                  <a:pt x="2124" y="1678"/>
                </a:lnTo>
                <a:lnTo>
                  <a:pt x="2124" y="1687"/>
                </a:lnTo>
                <a:lnTo>
                  <a:pt x="2127" y="1695"/>
                </a:lnTo>
                <a:lnTo>
                  <a:pt x="2130" y="1700"/>
                </a:lnTo>
                <a:lnTo>
                  <a:pt x="2133" y="1705"/>
                </a:lnTo>
                <a:lnTo>
                  <a:pt x="2134" y="1708"/>
                </a:lnTo>
                <a:lnTo>
                  <a:pt x="2135" y="1709"/>
                </a:lnTo>
                <a:lnTo>
                  <a:pt x="2135" y="1710"/>
                </a:lnTo>
                <a:lnTo>
                  <a:pt x="2134" y="1711"/>
                </a:lnTo>
                <a:lnTo>
                  <a:pt x="2129" y="1713"/>
                </a:lnTo>
                <a:lnTo>
                  <a:pt x="2121" y="1713"/>
                </a:lnTo>
                <a:lnTo>
                  <a:pt x="2098" y="1711"/>
                </a:lnTo>
                <a:lnTo>
                  <a:pt x="2077" y="1708"/>
                </a:lnTo>
                <a:lnTo>
                  <a:pt x="2072" y="1708"/>
                </a:lnTo>
                <a:lnTo>
                  <a:pt x="2068" y="1709"/>
                </a:lnTo>
                <a:lnTo>
                  <a:pt x="2064" y="1710"/>
                </a:lnTo>
                <a:lnTo>
                  <a:pt x="2060" y="1712"/>
                </a:lnTo>
                <a:lnTo>
                  <a:pt x="2057" y="1714"/>
                </a:lnTo>
                <a:lnTo>
                  <a:pt x="2055" y="1718"/>
                </a:lnTo>
                <a:lnTo>
                  <a:pt x="2053" y="1722"/>
                </a:lnTo>
                <a:lnTo>
                  <a:pt x="2052" y="1728"/>
                </a:lnTo>
                <a:lnTo>
                  <a:pt x="2050" y="1740"/>
                </a:lnTo>
                <a:lnTo>
                  <a:pt x="2046" y="1750"/>
                </a:lnTo>
                <a:lnTo>
                  <a:pt x="2041" y="1760"/>
                </a:lnTo>
                <a:lnTo>
                  <a:pt x="2037" y="1768"/>
                </a:lnTo>
                <a:lnTo>
                  <a:pt x="2034" y="1776"/>
                </a:lnTo>
                <a:lnTo>
                  <a:pt x="2031" y="1781"/>
                </a:lnTo>
                <a:lnTo>
                  <a:pt x="2031" y="1784"/>
                </a:lnTo>
                <a:lnTo>
                  <a:pt x="2031" y="1786"/>
                </a:lnTo>
                <a:lnTo>
                  <a:pt x="2032" y="1788"/>
                </a:lnTo>
                <a:lnTo>
                  <a:pt x="2034" y="1789"/>
                </a:lnTo>
                <a:lnTo>
                  <a:pt x="2036" y="1790"/>
                </a:lnTo>
                <a:lnTo>
                  <a:pt x="2040" y="1790"/>
                </a:lnTo>
                <a:lnTo>
                  <a:pt x="2045" y="1788"/>
                </a:lnTo>
                <a:lnTo>
                  <a:pt x="2050" y="1786"/>
                </a:lnTo>
                <a:lnTo>
                  <a:pt x="2062" y="1779"/>
                </a:lnTo>
                <a:lnTo>
                  <a:pt x="2076" y="1770"/>
                </a:lnTo>
                <a:lnTo>
                  <a:pt x="2091" y="1763"/>
                </a:lnTo>
                <a:lnTo>
                  <a:pt x="2103" y="1758"/>
                </a:lnTo>
                <a:lnTo>
                  <a:pt x="2108" y="1757"/>
                </a:lnTo>
                <a:lnTo>
                  <a:pt x="2113" y="1757"/>
                </a:lnTo>
                <a:lnTo>
                  <a:pt x="2117" y="1758"/>
                </a:lnTo>
                <a:lnTo>
                  <a:pt x="2120" y="1761"/>
                </a:lnTo>
                <a:lnTo>
                  <a:pt x="2124" y="1767"/>
                </a:lnTo>
                <a:lnTo>
                  <a:pt x="2129" y="1774"/>
                </a:lnTo>
                <a:lnTo>
                  <a:pt x="2134" y="1778"/>
                </a:lnTo>
                <a:lnTo>
                  <a:pt x="2138" y="1781"/>
                </a:lnTo>
                <a:lnTo>
                  <a:pt x="2141" y="1784"/>
                </a:lnTo>
                <a:lnTo>
                  <a:pt x="2144" y="1787"/>
                </a:lnTo>
                <a:lnTo>
                  <a:pt x="2146" y="1791"/>
                </a:lnTo>
                <a:lnTo>
                  <a:pt x="2146" y="1796"/>
                </a:lnTo>
                <a:lnTo>
                  <a:pt x="2147" y="1800"/>
                </a:lnTo>
                <a:lnTo>
                  <a:pt x="2150" y="1803"/>
                </a:lnTo>
                <a:lnTo>
                  <a:pt x="2154" y="1806"/>
                </a:lnTo>
                <a:lnTo>
                  <a:pt x="2158" y="1807"/>
                </a:lnTo>
                <a:lnTo>
                  <a:pt x="2162" y="1809"/>
                </a:lnTo>
                <a:lnTo>
                  <a:pt x="2166" y="1810"/>
                </a:lnTo>
                <a:lnTo>
                  <a:pt x="2169" y="1812"/>
                </a:lnTo>
                <a:lnTo>
                  <a:pt x="2171" y="1815"/>
                </a:lnTo>
                <a:lnTo>
                  <a:pt x="2176" y="1825"/>
                </a:lnTo>
                <a:lnTo>
                  <a:pt x="2184" y="1840"/>
                </a:lnTo>
                <a:lnTo>
                  <a:pt x="2188" y="1847"/>
                </a:lnTo>
                <a:lnTo>
                  <a:pt x="2192" y="1853"/>
                </a:lnTo>
                <a:lnTo>
                  <a:pt x="2196" y="1857"/>
                </a:lnTo>
                <a:lnTo>
                  <a:pt x="2201" y="1860"/>
                </a:lnTo>
                <a:lnTo>
                  <a:pt x="2210" y="1862"/>
                </a:lnTo>
                <a:lnTo>
                  <a:pt x="2220" y="1862"/>
                </a:lnTo>
                <a:lnTo>
                  <a:pt x="2224" y="1862"/>
                </a:lnTo>
                <a:lnTo>
                  <a:pt x="2228" y="1863"/>
                </a:lnTo>
                <a:lnTo>
                  <a:pt x="2232" y="1864"/>
                </a:lnTo>
                <a:lnTo>
                  <a:pt x="2236" y="1867"/>
                </a:lnTo>
                <a:lnTo>
                  <a:pt x="2242" y="1870"/>
                </a:lnTo>
                <a:lnTo>
                  <a:pt x="2252" y="1873"/>
                </a:lnTo>
                <a:lnTo>
                  <a:pt x="2265" y="1876"/>
                </a:lnTo>
                <a:lnTo>
                  <a:pt x="2278" y="1878"/>
                </a:lnTo>
                <a:lnTo>
                  <a:pt x="2301" y="1881"/>
                </a:lnTo>
                <a:lnTo>
                  <a:pt x="2310" y="1880"/>
                </a:lnTo>
                <a:lnTo>
                  <a:pt x="2295" y="1867"/>
                </a:lnTo>
                <a:lnTo>
                  <a:pt x="2270" y="1838"/>
                </a:lnTo>
                <a:lnTo>
                  <a:pt x="2257" y="1825"/>
                </a:lnTo>
                <a:lnTo>
                  <a:pt x="2248" y="1812"/>
                </a:lnTo>
                <a:lnTo>
                  <a:pt x="2245" y="1807"/>
                </a:lnTo>
                <a:lnTo>
                  <a:pt x="2243" y="1804"/>
                </a:lnTo>
                <a:lnTo>
                  <a:pt x="2243" y="1802"/>
                </a:lnTo>
                <a:lnTo>
                  <a:pt x="2243" y="1802"/>
                </a:lnTo>
                <a:lnTo>
                  <a:pt x="2243" y="1801"/>
                </a:lnTo>
                <a:lnTo>
                  <a:pt x="2244" y="1801"/>
                </a:lnTo>
                <a:lnTo>
                  <a:pt x="2248" y="1802"/>
                </a:lnTo>
                <a:lnTo>
                  <a:pt x="2252" y="1805"/>
                </a:lnTo>
                <a:lnTo>
                  <a:pt x="2258" y="1810"/>
                </a:lnTo>
                <a:lnTo>
                  <a:pt x="2266" y="1815"/>
                </a:lnTo>
                <a:lnTo>
                  <a:pt x="2281" y="1829"/>
                </a:lnTo>
                <a:lnTo>
                  <a:pt x="2298" y="1844"/>
                </a:lnTo>
                <a:lnTo>
                  <a:pt x="2315" y="1858"/>
                </a:lnTo>
                <a:lnTo>
                  <a:pt x="2329" y="1869"/>
                </a:lnTo>
                <a:lnTo>
                  <a:pt x="2335" y="1873"/>
                </a:lnTo>
                <a:lnTo>
                  <a:pt x="2339" y="1875"/>
                </a:lnTo>
                <a:lnTo>
                  <a:pt x="2341" y="1875"/>
                </a:lnTo>
                <a:lnTo>
                  <a:pt x="2342" y="1875"/>
                </a:lnTo>
                <a:lnTo>
                  <a:pt x="2343" y="1875"/>
                </a:lnTo>
                <a:lnTo>
                  <a:pt x="2343" y="1874"/>
                </a:lnTo>
                <a:lnTo>
                  <a:pt x="2343" y="1868"/>
                </a:lnTo>
                <a:lnTo>
                  <a:pt x="2342" y="1860"/>
                </a:lnTo>
                <a:lnTo>
                  <a:pt x="2340" y="1854"/>
                </a:lnTo>
                <a:lnTo>
                  <a:pt x="2337" y="1848"/>
                </a:lnTo>
                <a:lnTo>
                  <a:pt x="2334" y="1842"/>
                </a:lnTo>
                <a:lnTo>
                  <a:pt x="2332" y="1837"/>
                </a:lnTo>
                <a:lnTo>
                  <a:pt x="2331" y="1833"/>
                </a:lnTo>
                <a:lnTo>
                  <a:pt x="2332" y="1831"/>
                </a:lnTo>
                <a:lnTo>
                  <a:pt x="2339" y="1829"/>
                </a:lnTo>
                <a:lnTo>
                  <a:pt x="2349" y="1824"/>
                </a:lnTo>
                <a:lnTo>
                  <a:pt x="2355" y="1820"/>
                </a:lnTo>
                <a:lnTo>
                  <a:pt x="2359" y="1816"/>
                </a:lnTo>
                <a:lnTo>
                  <a:pt x="2360" y="1814"/>
                </a:lnTo>
                <a:lnTo>
                  <a:pt x="2361" y="1812"/>
                </a:lnTo>
                <a:lnTo>
                  <a:pt x="2361" y="1810"/>
                </a:lnTo>
                <a:lnTo>
                  <a:pt x="2360" y="1808"/>
                </a:lnTo>
                <a:lnTo>
                  <a:pt x="2349" y="1796"/>
                </a:lnTo>
                <a:lnTo>
                  <a:pt x="2331" y="1778"/>
                </a:lnTo>
                <a:lnTo>
                  <a:pt x="2311" y="1759"/>
                </a:lnTo>
                <a:lnTo>
                  <a:pt x="2297" y="1745"/>
                </a:lnTo>
                <a:lnTo>
                  <a:pt x="2293" y="1738"/>
                </a:lnTo>
                <a:lnTo>
                  <a:pt x="2288" y="1724"/>
                </a:lnTo>
                <a:lnTo>
                  <a:pt x="2282" y="1709"/>
                </a:lnTo>
                <a:lnTo>
                  <a:pt x="2277" y="1692"/>
                </a:lnTo>
                <a:lnTo>
                  <a:pt x="2274" y="1677"/>
                </a:lnTo>
                <a:lnTo>
                  <a:pt x="2272" y="1665"/>
                </a:lnTo>
                <a:lnTo>
                  <a:pt x="2272" y="1660"/>
                </a:lnTo>
                <a:lnTo>
                  <a:pt x="2273" y="1658"/>
                </a:lnTo>
                <a:lnTo>
                  <a:pt x="2275" y="1657"/>
                </a:lnTo>
                <a:lnTo>
                  <a:pt x="2278" y="1658"/>
                </a:lnTo>
                <a:lnTo>
                  <a:pt x="2293" y="1668"/>
                </a:lnTo>
                <a:lnTo>
                  <a:pt x="2311" y="1676"/>
                </a:lnTo>
                <a:lnTo>
                  <a:pt x="2318" y="1681"/>
                </a:lnTo>
                <a:lnTo>
                  <a:pt x="2324" y="1687"/>
                </a:lnTo>
                <a:lnTo>
                  <a:pt x="2326" y="1690"/>
                </a:lnTo>
                <a:lnTo>
                  <a:pt x="2329" y="1693"/>
                </a:lnTo>
                <a:lnTo>
                  <a:pt x="2330" y="1696"/>
                </a:lnTo>
                <a:lnTo>
                  <a:pt x="2331" y="1699"/>
                </a:lnTo>
                <a:lnTo>
                  <a:pt x="2331" y="1711"/>
                </a:lnTo>
                <a:lnTo>
                  <a:pt x="2332" y="1717"/>
                </a:lnTo>
                <a:lnTo>
                  <a:pt x="2335" y="1722"/>
                </a:lnTo>
                <a:lnTo>
                  <a:pt x="2339" y="1727"/>
                </a:lnTo>
                <a:lnTo>
                  <a:pt x="2347" y="1736"/>
                </a:lnTo>
                <a:lnTo>
                  <a:pt x="2357" y="1746"/>
                </a:lnTo>
                <a:lnTo>
                  <a:pt x="2361" y="1750"/>
                </a:lnTo>
                <a:lnTo>
                  <a:pt x="2365" y="1754"/>
                </a:lnTo>
                <a:lnTo>
                  <a:pt x="2367" y="1754"/>
                </a:lnTo>
                <a:lnTo>
                  <a:pt x="2369" y="1753"/>
                </a:lnTo>
                <a:lnTo>
                  <a:pt x="2371" y="1752"/>
                </a:lnTo>
                <a:lnTo>
                  <a:pt x="2373" y="1748"/>
                </a:lnTo>
                <a:lnTo>
                  <a:pt x="2376" y="1733"/>
                </a:lnTo>
                <a:lnTo>
                  <a:pt x="2378" y="1712"/>
                </a:lnTo>
                <a:lnTo>
                  <a:pt x="2379" y="1701"/>
                </a:lnTo>
                <a:lnTo>
                  <a:pt x="2380" y="1692"/>
                </a:lnTo>
                <a:lnTo>
                  <a:pt x="2382" y="1684"/>
                </a:lnTo>
                <a:lnTo>
                  <a:pt x="2385" y="1679"/>
                </a:lnTo>
                <a:lnTo>
                  <a:pt x="2395" y="1671"/>
                </a:lnTo>
                <a:lnTo>
                  <a:pt x="2402" y="1664"/>
                </a:lnTo>
                <a:lnTo>
                  <a:pt x="2405" y="1659"/>
                </a:lnTo>
                <a:lnTo>
                  <a:pt x="2406" y="1655"/>
                </a:lnTo>
                <a:lnTo>
                  <a:pt x="2406" y="1650"/>
                </a:lnTo>
                <a:lnTo>
                  <a:pt x="2404" y="1645"/>
                </a:lnTo>
                <a:lnTo>
                  <a:pt x="2399" y="1639"/>
                </a:lnTo>
                <a:lnTo>
                  <a:pt x="2392" y="1634"/>
                </a:lnTo>
                <a:lnTo>
                  <a:pt x="2384" y="1628"/>
                </a:lnTo>
                <a:lnTo>
                  <a:pt x="2375" y="1622"/>
                </a:lnTo>
                <a:lnTo>
                  <a:pt x="2357" y="1611"/>
                </a:lnTo>
                <a:lnTo>
                  <a:pt x="2345" y="1603"/>
                </a:lnTo>
                <a:lnTo>
                  <a:pt x="2330" y="1588"/>
                </a:lnTo>
                <a:lnTo>
                  <a:pt x="2300" y="1564"/>
                </a:lnTo>
                <a:lnTo>
                  <a:pt x="2272" y="1540"/>
                </a:lnTo>
                <a:lnTo>
                  <a:pt x="2255" y="1525"/>
                </a:lnTo>
                <a:lnTo>
                  <a:pt x="2252" y="1521"/>
                </a:lnTo>
                <a:lnTo>
                  <a:pt x="2250" y="1516"/>
                </a:lnTo>
                <a:lnTo>
                  <a:pt x="2247" y="1511"/>
                </a:lnTo>
                <a:lnTo>
                  <a:pt x="2245" y="1505"/>
                </a:lnTo>
                <a:lnTo>
                  <a:pt x="2244" y="1499"/>
                </a:lnTo>
                <a:lnTo>
                  <a:pt x="2244" y="1494"/>
                </a:lnTo>
                <a:lnTo>
                  <a:pt x="2244" y="1487"/>
                </a:lnTo>
                <a:lnTo>
                  <a:pt x="2246" y="1481"/>
                </a:lnTo>
                <a:lnTo>
                  <a:pt x="2248" y="1478"/>
                </a:lnTo>
                <a:lnTo>
                  <a:pt x="2250" y="1475"/>
                </a:lnTo>
                <a:lnTo>
                  <a:pt x="2253" y="1473"/>
                </a:lnTo>
                <a:lnTo>
                  <a:pt x="2256" y="1471"/>
                </a:lnTo>
                <a:lnTo>
                  <a:pt x="2264" y="1468"/>
                </a:lnTo>
                <a:lnTo>
                  <a:pt x="2270" y="1464"/>
                </a:lnTo>
                <a:lnTo>
                  <a:pt x="2275" y="1461"/>
                </a:lnTo>
                <a:lnTo>
                  <a:pt x="2278" y="1458"/>
                </a:lnTo>
                <a:lnTo>
                  <a:pt x="2279" y="1456"/>
                </a:lnTo>
                <a:lnTo>
                  <a:pt x="2278" y="1454"/>
                </a:lnTo>
                <a:lnTo>
                  <a:pt x="2277" y="1452"/>
                </a:lnTo>
                <a:lnTo>
                  <a:pt x="2274" y="1449"/>
                </a:lnTo>
                <a:lnTo>
                  <a:pt x="2270" y="1447"/>
                </a:lnTo>
                <a:lnTo>
                  <a:pt x="2267" y="1446"/>
                </a:lnTo>
                <a:lnTo>
                  <a:pt x="2262" y="1445"/>
                </a:lnTo>
                <a:lnTo>
                  <a:pt x="2259" y="1445"/>
                </a:lnTo>
                <a:lnTo>
                  <a:pt x="2253" y="1445"/>
                </a:lnTo>
                <a:lnTo>
                  <a:pt x="2247" y="1447"/>
                </a:lnTo>
                <a:lnTo>
                  <a:pt x="2237" y="1452"/>
                </a:lnTo>
                <a:lnTo>
                  <a:pt x="2234" y="1455"/>
                </a:lnTo>
                <a:lnTo>
                  <a:pt x="2229" y="1457"/>
                </a:lnTo>
                <a:lnTo>
                  <a:pt x="2221" y="1459"/>
                </a:lnTo>
                <a:lnTo>
                  <a:pt x="2216" y="1459"/>
                </a:lnTo>
                <a:lnTo>
                  <a:pt x="2213" y="1457"/>
                </a:lnTo>
                <a:lnTo>
                  <a:pt x="2212" y="1456"/>
                </a:lnTo>
                <a:lnTo>
                  <a:pt x="2212" y="1454"/>
                </a:lnTo>
                <a:lnTo>
                  <a:pt x="2213" y="1452"/>
                </a:lnTo>
                <a:lnTo>
                  <a:pt x="2214" y="1449"/>
                </a:lnTo>
                <a:lnTo>
                  <a:pt x="2218" y="1443"/>
                </a:lnTo>
                <a:lnTo>
                  <a:pt x="2224" y="1440"/>
                </a:lnTo>
                <a:lnTo>
                  <a:pt x="2229" y="1438"/>
                </a:lnTo>
                <a:lnTo>
                  <a:pt x="2234" y="1436"/>
                </a:lnTo>
                <a:lnTo>
                  <a:pt x="2237" y="1435"/>
                </a:lnTo>
                <a:lnTo>
                  <a:pt x="2239" y="1433"/>
                </a:lnTo>
                <a:lnTo>
                  <a:pt x="2238" y="1430"/>
                </a:lnTo>
                <a:lnTo>
                  <a:pt x="2235" y="1426"/>
                </a:lnTo>
                <a:lnTo>
                  <a:pt x="2229" y="1420"/>
                </a:lnTo>
                <a:lnTo>
                  <a:pt x="2222" y="1417"/>
                </a:lnTo>
                <a:lnTo>
                  <a:pt x="2214" y="1414"/>
                </a:lnTo>
                <a:lnTo>
                  <a:pt x="2207" y="1412"/>
                </a:lnTo>
                <a:lnTo>
                  <a:pt x="2201" y="1411"/>
                </a:lnTo>
                <a:lnTo>
                  <a:pt x="2194" y="1411"/>
                </a:lnTo>
                <a:lnTo>
                  <a:pt x="2190" y="1412"/>
                </a:lnTo>
                <a:lnTo>
                  <a:pt x="2187" y="1413"/>
                </a:lnTo>
                <a:lnTo>
                  <a:pt x="2183" y="1414"/>
                </a:lnTo>
                <a:lnTo>
                  <a:pt x="2178" y="1413"/>
                </a:lnTo>
                <a:lnTo>
                  <a:pt x="2171" y="1411"/>
                </a:lnTo>
                <a:lnTo>
                  <a:pt x="2164" y="1408"/>
                </a:lnTo>
                <a:lnTo>
                  <a:pt x="2159" y="1404"/>
                </a:lnTo>
                <a:lnTo>
                  <a:pt x="2156" y="1399"/>
                </a:lnTo>
                <a:lnTo>
                  <a:pt x="2156" y="1397"/>
                </a:lnTo>
                <a:lnTo>
                  <a:pt x="2156" y="1395"/>
                </a:lnTo>
                <a:lnTo>
                  <a:pt x="2158" y="1393"/>
                </a:lnTo>
                <a:lnTo>
                  <a:pt x="2160" y="1391"/>
                </a:lnTo>
                <a:lnTo>
                  <a:pt x="2171" y="1385"/>
                </a:lnTo>
                <a:lnTo>
                  <a:pt x="2180" y="1382"/>
                </a:lnTo>
                <a:lnTo>
                  <a:pt x="2183" y="1381"/>
                </a:lnTo>
                <a:lnTo>
                  <a:pt x="2185" y="1379"/>
                </a:lnTo>
                <a:lnTo>
                  <a:pt x="2185" y="1375"/>
                </a:lnTo>
                <a:lnTo>
                  <a:pt x="2184" y="1371"/>
                </a:lnTo>
                <a:lnTo>
                  <a:pt x="2181" y="1365"/>
                </a:lnTo>
                <a:lnTo>
                  <a:pt x="2177" y="1357"/>
                </a:lnTo>
                <a:lnTo>
                  <a:pt x="2172" y="1348"/>
                </a:lnTo>
                <a:lnTo>
                  <a:pt x="2167" y="1340"/>
                </a:lnTo>
                <a:lnTo>
                  <a:pt x="2165" y="1337"/>
                </a:lnTo>
                <a:lnTo>
                  <a:pt x="2162" y="1335"/>
                </a:lnTo>
                <a:lnTo>
                  <a:pt x="2160" y="1333"/>
                </a:lnTo>
                <a:lnTo>
                  <a:pt x="2158" y="1333"/>
                </a:lnTo>
                <a:lnTo>
                  <a:pt x="2155" y="1335"/>
                </a:lnTo>
                <a:lnTo>
                  <a:pt x="2152" y="1338"/>
                </a:lnTo>
                <a:lnTo>
                  <a:pt x="2151" y="1342"/>
                </a:lnTo>
                <a:lnTo>
                  <a:pt x="2149" y="1347"/>
                </a:lnTo>
                <a:lnTo>
                  <a:pt x="2147" y="1360"/>
                </a:lnTo>
                <a:lnTo>
                  <a:pt x="2143" y="1368"/>
                </a:lnTo>
                <a:lnTo>
                  <a:pt x="2142" y="1370"/>
                </a:lnTo>
                <a:lnTo>
                  <a:pt x="2140" y="1372"/>
                </a:lnTo>
                <a:lnTo>
                  <a:pt x="2138" y="1373"/>
                </a:lnTo>
                <a:lnTo>
                  <a:pt x="2136" y="1374"/>
                </a:lnTo>
                <a:lnTo>
                  <a:pt x="2132" y="1374"/>
                </a:lnTo>
                <a:lnTo>
                  <a:pt x="2128" y="1372"/>
                </a:lnTo>
                <a:lnTo>
                  <a:pt x="2125" y="1370"/>
                </a:lnTo>
                <a:lnTo>
                  <a:pt x="2122" y="1367"/>
                </a:lnTo>
                <a:lnTo>
                  <a:pt x="2116" y="1362"/>
                </a:lnTo>
                <a:lnTo>
                  <a:pt x="2108" y="1358"/>
                </a:lnTo>
                <a:lnTo>
                  <a:pt x="2105" y="1354"/>
                </a:lnTo>
                <a:lnTo>
                  <a:pt x="2102" y="1350"/>
                </a:lnTo>
                <a:lnTo>
                  <a:pt x="2100" y="1346"/>
                </a:lnTo>
                <a:lnTo>
                  <a:pt x="2098" y="1341"/>
                </a:lnTo>
                <a:lnTo>
                  <a:pt x="2098" y="1329"/>
                </a:lnTo>
                <a:lnTo>
                  <a:pt x="2099" y="1319"/>
                </a:lnTo>
                <a:lnTo>
                  <a:pt x="2100" y="1314"/>
                </a:lnTo>
                <a:lnTo>
                  <a:pt x="2099" y="1309"/>
                </a:lnTo>
                <a:lnTo>
                  <a:pt x="2098" y="1305"/>
                </a:lnTo>
                <a:lnTo>
                  <a:pt x="2094" y="1301"/>
                </a:lnTo>
                <a:lnTo>
                  <a:pt x="2078" y="1284"/>
                </a:lnTo>
                <a:lnTo>
                  <a:pt x="2067" y="1272"/>
                </a:lnTo>
                <a:lnTo>
                  <a:pt x="2064" y="1271"/>
                </a:lnTo>
                <a:lnTo>
                  <a:pt x="2063" y="1269"/>
                </a:lnTo>
                <a:lnTo>
                  <a:pt x="2062" y="1266"/>
                </a:lnTo>
                <a:lnTo>
                  <a:pt x="2063" y="1263"/>
                </a:lnTo>
                <a:lnTo>
                  <a:pt x="2064" y="1258"/>
                </a:lnTo>
                <a:lnTo>
                  <a:pt x="2069" y="1252"/>
                </a:lnTo>
                <a:lnTo>
                  <a:pt x="2070" y="1249"/>
                </a:lnTo>
                <a:lnTo>
                  <a:pt x="2070" y="1242"/>
                </a:lnTo>
                <a:lnTo>
                  <a:pt x="2068" y="1235"/>
                </a:lnTo>
                <a:lnTo>
                  <a:pt x="2064" y="1229"/>
                </a:lnTo>
                <a:lnTo>
                  <a:pt x="2060" y="1221"/>
                </a:lnTo>
                <a:lnTo>
                  <a:pt x="2055" y="1215"/>
                </a:lnTo>
                <a:lnTo>
                  <a:pt x="2052" y="1213"/>
                </a:lnTo>
                <a:lnTo>
                  <a:pt x="2049" y="1211"/>
                </a:lnTo>
                <a:lnTo>
                  <a:pt x="2047" y="1210"/>
                </a:lnTo>
                <a:lnTo>
                  <a:pt x="2042" y="1209"/>
                </a:lnTo>
                <a:lnTo>
                  <a:pt x="2025" y="1209"/>
                </a:lnTo>
                <a:lnTo>
                  <a:pt x="2004" y="1209"/>
                </a:lnTo>
                <a:lnTo>
                  <a:pt x="1993" y="1209"/>
                </a:lnTo>
                <a:lnTo>
                  <a:pt x="1986" y="1211"/>
                </a:lnTo>
                <a:lnTo>
                  <a:pt x="1983" y="1211"/>
                </a:lnTo>
                <a:lnTo>
                  <a:pt x="1981" y="1212"/>
                </a:lnTo>
                <a:lnTo>
                  <a:pt x="1980" y="1214"/>
                </a:lnTo>
                <a:lnTo>
                  <a:pt x="1980" y="1215"/>
                </a:lnTo>
                <a:lnTo>
                  <a:pt x="1984" y="1219"/>
                </a:lnTo>
                <a:lnTo>
                  <a:pt x="1990" y="1226"/>
                </a:lnTo>
                <a:lnTo>
                  <a:pt x="1998" y="1232"/>
                </a:lnTo>
                <a:lnTo>
                  <a:pt x="2008" y="1238"/>
                </a:lnTo>
                <a:lnTo>
                  <a:pt x="2025" y="1250"/>
                </a:lnTo>
                <a:lnTo>
                  <a:pt x="2033" y="1255"/>
                </a:lnTo>
                <a:lnTo>
                  <a:pt x="2037" y="1255"/>
                </a:lnTo>
                <a:lnTo>
                  <a:pt x="2047" y="1256"/>
                </a:lnTo>
                <a:lnTo>
                  <a:pt x="2051" y="1256"/>
                </a:lnTo>
                <a:lnTo>
                  <a:pt x="2054" y="1258"/>
                </a:lnTo>
                <a:lnTo>
                  <a:pt x="2056" y="1259"/>
                </a:lnTo>
                <a:lnTo>
                  <a:pt x="2056" y="1260"/>
                </a:lnTo>
                <a:lnTo>
                  <a:pt x="2056" y="1261"/>
                </a:lnTo>
                <a:lnTo>
                  <a:pt x="2056" y="1262"/>
                </a:lnTo>
                <a:lnTo>
                  <a:pt x="2050" y="1269"/>
                </a:lnTo>
                <a:lnTo>
                  <a:pt x="2042" y="1275"/>
                </a:lnTo>
                <a:lnTo>
                  <a:pt x="2039" y="1278"/>
                </a:lnTo>
                <a:lnTo>
                  <a:pt x="2036" y="1282"/>
                </a:lnTo>
                <a:lnTo>
                  <a:pt x="2033" y="1286"/>
                </a:lnTo>
                <a:lnTo>
                  <a:pt x="2032" y="1292"/>
                </a:lnTo>
                <a:lnTo>
                  <a:pt x="2030" y="1304"/>
                </a:lnTo>
                <a:lnTo>
                  <a:pt x="2027" y="1318"/>
                </a:lnTo>
                <a:lnTo>
                  <a:pt x="2024" y="1322"/>
                </a:lnTo>
                <a:lnTo>
                  <a:pt x="2020" y="1325"/>
                </a:lnTo>
                <a:lnTo>
                  <a:pt x="2018" y="1325"/>
                </a:lnTo>
                <a:lnTo>
                  <a:pt x="2016" y="1325"/>
                </a:lnTo>
                <a:lnTo>
                  <a:pt x="2014" y="1323"/>
                </a:lnTo>
                <a:lnTo>
                  <a:pt x="2011" y="1321"/>
                </a:lnTo>
                <a:lnTo>
                  <a:pt x="2003" y="1309"/>
                </a:lnTo>
                <a:lnTo>
                  <a:pt x="1996" y="1300"/>
                </a:lnTo>
                <a:lnTo>
                  <a:pt x="1994" y="1297"/>
                </a:lnTo>
                <a:lnTo>
                  <a:pt x="1993" y="1296"/>
                </a:lnTo>
                <a:lnTo>
                  <a:pt x="1991" y="1298"/>
                </a:lnTo>
                <a:lnTo>
                  <a:pt x="1990" y="1302"/>
                </a:lnTo>
                <a:lnTo>
                  <a:pt x="1988" y="1307"/>
                </a:lnTo>
                <a:lnTo>
                  <a:pt x="1985" y="1314"/>
                </a:lnTo>
                <a:lnTo>
                  <a:pt x="1982" y="1320"/>
                </a:lnTo>
                <a:lnTo>
                  <a:pt x="1979" y="1324"/>
                </a:lnTo>
                <a:lnTo>
                  <a:pt x="1975" y="1328"/>
                </a:lnTo>
                <a:lnTo>
                  <a:pt x="1972" y="1330"/>
                </a:lnTo>
                <a:lnTo>
                  <a:pt x="1971" y="1330"/>
                </a:lnTo>
                <a:lnTo>
                  <a:pt x="1970" y="1330"/>
                </a:lnTo>
                <a:lnTo>
                  <a:pt x="1969" y="1330"/>
                </a:lnTo>
                <a:lnTo>
                  <a:pt x="1969" y="1328"/>
                </a:lnTo>
                <a:lnTo>
                  <a:pt x="1970" y="1317"/>
                </a:lnTo>
                <a:lnTo>
                  <a:pt x="1974" y="1300"/>
                </a:lnTo>
                <a:lnTo>
                  <a:pt x="1976" y="1292"/>
                </a:lnTo>
                <a:lnTo>
                  <a:pt x="1978" y="1283"/>
                </a:lnTo>
                <a:lnTo>
                  <a:pt x="1978" y="1276"/>
                </a:lnTo>
                <a:lnTo>
                  <a:pt x="1976" y="1271"/>
                </a:lnTo>
                <a:lnTo>
                  <a:pt x="1970" y="1254"/>
                </a:lnTo>
                <a:lnTo>
                  <a:pt x="1964" y="1230"/>
                </a:lnTo>
                <a:lnTo>
                  <a:pt x="1960" y="1217"/>
                </a:lnTo>
                <a:lnTo>
                  <a:pt x="1957" y="1207"/>
                </a:lnTo>
                <a:lnTo>
                  <a:pt x="1953" y="1198"/>
                </a:lnTo>
                <a:lnTo>
                  <a:pt x="1951" y="1195"/>
                </a:lnTo>
                <a:lnTo>
                  <a:pt x="1946" y="1197"/>
                </a:lnTo>
                <a:lnTo>
                  <a:pt x="1936" y="1205"/>
                </a:lnTo>
                <a:lnTo>
                  <a:pt x="1922" y="1215"/>
                </a:lnTo>
                <a:lnTo>
                  <a:pt x="1907" y="1228"/>
                </a:lnTo>
                <a:lnTo>
                  <a:pt x="1894" y="1241"/>
                </a:lnTo>
                <a:lnTo>
                  <a:pt x="1882" y="1254"/>
                </a:lnTo>
                <a:lnTo>
                  <a:pt x="1878" y="1259"/>
                </a:lnTo>
                <a:lnTo>
                  <a:pt x="1875" y="1264"/>
                </a:lnTo>
                <a:lnTo>
                  <a:pt x="1874" y="1269"/>
                </a:lnTo>
                <a:lnTo>
                  <a:pt x="1874" y="1271"/>
                </a:lnTo>
                <a:lnTo>
                  <a:pt x="1882" y="1282"/>
                </a:lnTo>
                <a:lnTo>
                  <a:pt x="1891" y="1294"/>
                </a:lnTo>
                <a:lnTo>
                  <a:pt x="1894" y="1299"/>
                </a:lnTo>
                <a:lnTo>
                  <a:pt x="1896" y="1304"/>
                </a:lnTo>
                <a:lnTo>
                  <a:pt x="1897" y="1308"/>
                </a:lnTo>
                <a:lnTo>
                  <a:pt x="1897" y="1311"/>
                </a:lnTo>
                <a:lnTo>
                  <a:pt x="1893" y="1316"/>
                </a:lnTo>
                <a:lnTo>
                  <a:pt x="1888" y="1321"/>
                </a:lnTo>
                <a:lnTo>
                  <a:pt x="1887" y="1322"/>
                </a:lnTo>
                <a:lnTo>
                  <a:pt x="1886" y="1324"/>
                </a:lnTo>
                <a:lnTo>
                  <a:pt x="1885" y="1326"/>
                </a:lnTo>
                <a:lnTo>
                  <a:pt x="1886" y="1329"/>
                </a:lnTo>
                <a:lnTo>
                  <a:pt x="1888" y="1335"/>
                </a:lnTo>
                <a:lnTo>
                  <a:pt x="1892" y="1342"/>
                </a:lnTo>
                <a:lnTo>
                  <a:pt x="1894" y="1349"/>
                </a:lnTo>
                <a:lnTo>
                  <a:pt x="1894" y="1357"/>
                </a:lnTo>
                <a:lnTo>
                  <a:pt x="1894" y="1367"/>
                </a:lnTo>
                <a:lnTo>
                  <a:pt x="1892" y="1380"/>
                </a:lnTo>
                <a:lnTo>
                  <a:pt x="1891" y="1391"/>
                </a:lnTo>
                <a:lnTo>
                  <a:pt x="1888" y="1395"/>
                </a:lnTo>
                <a:lnTo>
                  <a:pt x="1883" y="1392"/>
                </a:lnTo>
                <a:lnTo>
                  <a:pt x="1874" y="1387"/>
                </a:lnTo>
                <a:lnTo>
                  <a:pt x="1870" y="1384"/>
                </a:lnTo>
                <a:lnTo>
                  <a:pt x="1865" y="1379"/>
                </a:lnTo>
                <a:lnTo>
                  <a:pt x="1862" y="1374"/>
                </a:lnTo>
                <a:lnTo>
                  <a:pt x="1861" y="1369"/>
                </a:lnTo>
                <a:lnTo>
                  <a:pt x="1860" y="1362"/>
                </a:lnTo>
                <a:lnTo>
                  <a:pt x="1857" y="1354"/>
                </a:lnTo>
                <a:lnTo>
                  <a:pt x="1854" y="1345"/>
                </a:lnTo>
                <a:lnTo>
                  <a:pt x="1851" y="1336"/>
                </a:lnTo>
                <a:lnTo>
                  <a:pt x="1843" y="1318"/>
                </a:lnTo>
                <a:lnTo>
                  <a:pt x="1839" y="1306"/>
                </a:lnTo>
                <a:lnTo>
                  <a:pt x="1838" y="1302"/>
                </a:lnTo>
                <a:lnTo>
                  <a:pt x="1839" y="1299"/>
                </a:lnTo>
                <a:lnTo>
                  <a:pt x="1840" y="1297"/>
                </a:lnTo>
                <a:lnTo>
                  <a:pt x="1842" y="1295"/>
                </a:lnTo>
                <a:lnTo>
                  <a:pt x="1847" y="1291"/>
                </a:lnTo>
                <a:lnTo>
                  <a:pt x="1848" y="1287"/>
                </a:lnTo>
                <a:lnTo>
                  <a:pt x="1845" y="1283"/>
                </a:lnTo>
                <a:lnTo>
                  <a:pt x="1840" y="1277"/>
                </a:lnTo>
                <a:lnTo>
                  <a:pt x="1838" y="1273"/>
                </a:lnTo>
                <a:lnTo>
                  <a:pt x="1836" y="1269"/>
                </a:lnTo>
                <a:lnTo>
                  <a:pt x="1836" y="1265"/>
                </a:lnTo>
                <a:lnTo>
                  <a:pt x="1838" y="1262"/>
                </a:lnTo>
                <a:lnTo>
                  <a:pt x="1851" y="1248"/>
                </a:lnTo>
                <a:lnTo>
                  <a:pt x="1869" y="1223"/>
                </a:lnTo>
                <a:lnTo>
                  <a:pt x="1878" y="1211"/>
                </a:lnTo>
                <a:lnTo>
                  <a:pt x="1884" y="1200"/>
                </a:lnTo>
                <a:lnTo>
                  <a:pt x="1886" y="1195"/>
                </a:lnTo>
                <a:lnTo>
                  <a:pt x="1888" y="1192"/>
                </a:lnTo>
                <a:lnTo>
                  <a:pt x="1888" y="1189"/>
                </a:lnTo>
                <a:lnTo>
                  <a:pt x="1888" y="1188"/>
                </a:lnTo>
                <a:lnTo>
                  <a:pt x="1882" y="1187"/>
                </a:lnTo>
                <a:lnTo>
                  <a:pt x="1873" y="1188"/>
                </a:lnTo>
                <a:lnTo>
                  <a:pt x="1859" y="1189"/>
                </a:lnTo>
                <a:lnTo>
                  <a:pt x="1844" y="1192"/>
                </a:lnTo>
                <a:lnTo>
                  <a:pt x="1830" y="1195"/>
                </a:lnTo>
                <a:lnTo>
                  <a:pt x="1817" y="1199"/>
                </a:lnTo>
                <a:lnTo>
                  <a:pt x="1812" y="1203"/>
                </a:lnTo>
                <a:lnTo>
                  <a:pt x="1807" y="1205"/>
                </a:lnTo>
                <a:lnTo>
                  <a:pt x="1804" y="1208"/>
                </a:lnTo>
                <a:lnTo>
                  <a:pt x="1801" y="1210"/>
                </a:lnTo>
                <a:lnTo>
                  <a:pt x="1794" y="1227"/>
                </a:lnTo>
                <a:lnTo>
                  <a:pt x="1782" y="1250"/>
                </a:lnTo>
                <a:lnTo>
                  <a:pt x="1776" y="1262"/>
                </a:lnTo>
                <a:lnTo>
                  <a:pt x="1771" y="1275"/>
                </a:lnTo>
                <a:lnTo>
                  <a:pt x="1767" y="1287"/>
                </a:lnTo>
                <a:lnTo>
                  <a:pt x="1766" y="1299"/>
                </a:lnTo>
                <a:lnTo>
                  <a:pt x="1767" y="1322"/>
                </a:lnTo>
                <a:lnTo>
                  <a:pt x="1768" y="1343"/>
                </a:lnTo>
                <a:lnTo>
                  <a:pt x="1770" y="1352"/>
                </a:lnTo>
                <a:lnTo>
                  <a:pt x="1772" y="1360"/>
                </a:lnTo>
                <a:lnTo>
                  <a:pt x="1775" y="1366"/>
                </a:lnTo>
                <a:lnTo>
                  <a:pt x="1779" y="1370"/>
                </a:lnTo>
                <a:lnTo>
                  <a:pt x="1786" y="1373"/>
                </a:lnTo>
                <a:lnTo>
                  <a:pt x="1794" y="1375"/>
                </a:lnTo>
                <a:lnTo>
                  <a:pt x="1805" y="1379"/>
                </a:lnTo>
                <a:lnTo>
                  <a:pt x="1815" y="1381"/>
                </a:lnTo>
                <a:lnTo>
                  <a:pt x="1823" y="1383"/>
                </a:lnTo>
                <a:lnTo>
                  <a:pt x="1830" y="1385"/>
                </a:lnTo>
                <a:lnTo>
                  <a:pt x="1832" y="1386"/>
                </a:lnTo>
                <a:lnTo>
                  <a:pt x="1833" y="1387"/>
                </a:lnTo>
                <a:lnTo>
                  <a:pt x="1833" y="1389"/>
                </a:lnTo>
                <a:lnTo>
                  <a:pt x="1831" y="1390"/>
                </a:lnTo>
                <a:lnTo>
                  <a:pt x="1816" y="1394"/>
                </a:lnTo>
                <a:lnTo>
                  <a:pt x="1797" y="1398"/>
                </a:lnTo>
                <a:lnTo>
                  <a:pt x="1789" y="1401"/>
                </a:lnTo>
                <a:lnTo>
                  <a:pt x="1783" y="1403"/>
                </a:lnTo>
                <a:lnTo>
                  <a:pt x="1782" y="1403"/>
                </a:lnTo>
                <a:lnTo>
                  <a:pt x="1781" y="1404"/>
                </a:lnTo>
                <a:lnTo>
                  <a:pt x="1781" y="1405"/>
                </a:lnTo>
                <a:lnTo>
                  <a:pt x="1782" y="1406"/>
                </a:lnTo>
                <a:lnTo>
                  <a:pt x="1800" y="1418"/>
                </a:lnTo>
                <a:lnTo>
                  <a:pt x="1834" y="1438"/>
                </a:lnTo>
                <a:lnTo>
                  <a:pt x="1864" y="1458"/>
                </a:lnTo>
                <a:lnTo>
                  <a:pt x="1878" y="1468"/>
                </a:lnTo>
                <a:lnTo>
                  <a:pt x="1877" y="1474"/>
                </a:lnTo>
                <a:lnTo>
                  <a:pt x="1876" y="1489"/>
                </a:lnTo>
                <a:lnTo>
                  <a:pt x="1875" y="1497"/>
                </a:lnTo>
                <a:lnTo>
                  <a:pt x="1875" y="1504"/>
                </a:lnTo>
                <a:lnTo>
                  <a:pt x="1876" y="1511"/>
                </a:lnTo>
                <a:lnTo>
                  <a:pt x="1877" y="1514"/>
                </a:lnTo>
                <a:lnTo>
                  <a:pt x="1881" y="1517"/>
                </a:lnTo>
                <a:lnTo>
                  <a:pt x="1886" y="1520"/>
                </a:lnTo>
                <a:lnTo>
                  <a:pt x="1888" y="1521"/>
                </a:lnTo>
                <a:lnTo>
                  <a:pt x="1889" y="1523"/>
                </a:lnTo>
                <a:lnTo>
                  <a:pt x="1891" y="1524"/>
                </a:lnTo>
                <a:lnTo>
                  <a:pt x="1891" y="1527"/>
                </a:lnTo>
                <a:lnTo>
                  <a:pt x="1888" y="1529"/>
                </a:lnTo>
                <a:lnTo>
                  <a:pt x="1885" y="1531"/>
                </a:lnTo>
                <a:lnTo>
                  <a:pt x="1881" y="1534"/>
                </a:lnTo>
                <a:lnTo>
                  <a:pt x="1876" y="1536"/>
                </a:lnTo>
                <a:lnTo>
                  <a:pt x="1872" y="1538"/>
                </a:lnTo>
                <a:lnTo>
                  <a:pt x="1866" y="1540"/>
                </a:lnTo>
                <a:lnTo>
                  <a:pt x="1863" y="1544"/>
                </a:lnTo>
                <a:lnTo>
                  <a:pt x="1861" y="1548"/>
                </a:lnTo>
                <a:lnTo>
                  <a:pt x="1859" y="1558"/>
                </a:lnTo>
                <a:lnTo>
                  <a:pt x="1859" y="1568"/>
                </a:lnTo>
                <a:lnTo>
                  <a:pt x="1859" y="1573"/>
                </a:lnTo>
                <a:lnTo>
                  <a:pt x="1858" y="1579"/>
                </a:lnTo>
                <a:lnTo>
                  <a:pt x="1856" y="1583"/>
                </a:lnTo>
                <a:lnTo>
                  <a:pt x="1853" y="1588"/>
                </a:lnTo>
                <a:lnTo>
                  <a:pt x="1843" y="1605"/>
                </a:lnTo>
                <a:lnTo>
                  <a:pt x="1836" y="1616"/>
                </a:lnTo>
                <a:lnTo>
                  <a:pt x="1835" y="1617"/>
                </a:lnTo>
                <a:lnTo>
                  <a:pt x="1833" y="1616"/>
                </a:lnTo>
                <a:lnTo>
                  <a:pt x="1831" y="1615"/>
                </a:lnTo>
                <a:lnTo>
                  <a:pt x="1828" y="1613"/>
                </a:lnTo>
                <a:lnTo>
                  <a:pt x="1822" y="1607"/>
                </a:lnTo>
                <a:lnTo>
                  <a:pt x="1817" y="1600"/>
                </a:lnTo>
                <a:lnTo>
                  <a:pt x="1812" y="1591"/>
                </a:lnTo>
                <a:lnTo>
                  <a:pt x="1809" y="1583"/>
                </a:lnTo>
                <a:lnTo>
                  <a:pt x="1809" y="1579"/>
                </a:lnTo>
                <a:lnTo>
                  <a:pt x="1808" y="1574"/>
                </a:lnTo>
                <a:lnTo>
                  <a:pt x="1809" y="1571"/>
                </a:lnTo>
                <a:lnTo>
                  <a:pt x="1810" y="1568"/>
                </a:lnTo>
                <a:lnTo>
                  <a:pt x="1816" y="1557"/>
                </a:lnTo>
                <a:lnTo>
                  <a:pt x="1820" y="1545"/>
                </a:lnTo>
                <a:lnTo>
                  <a:pt x="1821" y="1535"/>
                </a:lnTo>
                <a:lnTo>
                  <a:pt x="1821" y="1525"/>
                </a:lnTo>
                <a:lnTo>
                  <a:pt x="1819" y="1521"/>
                </a:lnTo>
                <a:lnTo>
                  <a:pt x="1815" y="1516"/>
                </a:lnTo>
                <a:lnTo>
                  <a:pt x="1809" y="1512"/>
                </a:lnTo>
                <a:lnTo>
                  <a:pt x="1801" y="1508"/>
                </a:lnTo>
                <a:lnTo>
                  <a:pt x="1794" y="1505"/>
                </a:lnTo>
                <a:lnTo>
                  <a:pt x="1788" y="1503"/>
                </a:lnTo>
                <a:lnTo>
                  <a:pt x="1784" y="1502"/>
                </a:lnTo>
                <a:lnTo>
                  <a:pt x="1782" y="1503"/>
                </a:lnTo>
                <a:lnTo>
                  <a:pt x="1779" y="1514"/>
                </a:lnTo>
                <a:lnTo>
                  <a:pt x="1778" y="1536"/>
                </a:lnTo>
                <a:lnTo>
                  <a:pt x="1777" y="1546"/>
                </a:lnTo>
                <a:lnTo>
                  <a:pt x="1776" y="1556"/>
                </a:lnTo>
                <a:lnTo>
                  <a:pt x="1774" y="1559"/>
                </a:lnTo>
                <a:lnTo>
                  <a:pt x="1773" y="1561"/>
                </a:lnTo>
                <a:lnTo>
                  <a:pt x="1772" y="1562"/>
                </a:lnTo>
                <a:lnTo>
                  <a:pt x="1770" y="1562"/>
                </a:lnTo>
                <a:lnTo>
                  <a:pt x="1763" y="1559"/>
                </a:lnTo>
                <a:lnTo>
                  <a:pt x="1757" y="1557"/>
                </a:lnTo>
                <a:lnTo>
                  <a:pt x="1756" y="1555"/>
                </a:lnTo>
                <a:lnTo>
                  <a:pt x="1755" y="1552"/>
                </a:lnTo>
                <a:lnTo>
                  <a:pt x="1755" y="1548"/>
                </a:lnTo>
                <a:lnTo>
                  <a:pt x="1755" y="1543"/>
                </a:lnTo>
                <a:lnTo>
                  <a:pt x="1757" y="1528"/>
                </a:lnTo>
                <a:lnTo>
                  <a:pt x="1760" y="1515"/>
                </a:lnTo>
                <a:lnTo>
                  <a:pt x="1760" y="1507"/>
                </a:lnTo>
                <a:lnTo>
                  <a:pt x="1759" y="1501"/>
                </a:lnTo>
                <a:lnTo>
                  <a:pt x="1756" y="1496"/>
                </a:lnTo>
                <a:lnTo>
                  <a:pt x="1753" y="1492"/>
                </a:lnTo>
                <a:lnTo>
                  <a:pt x="1748" y="1487"/>
                </a:lnTo>
                <a:lnTo>
                  <a:pt x="1741" y="1485"/>
                </a:lnTo>
                <a:lnTo>
                  <a:pt x="1732" y="1482"/>
                </a:lnTo>
                <a:lnTo>
                  <a:pt x="1724" y="1480"/>
                </a:lnTo>
                <a:lnTo>
                  <a:pt x="1717" y="1477"/>
                </a:lnTo>
                <a:lnTo>
                  <a:pt x="1711" y="1473"/>
                </a:lnTo>
                <a:lnTo>
                  <a:pt x="1710" y="1471"/>
                </a:lnTo>
                <a:lnTo>
                  <a:pt x="1709" y="1468"/>
                </a:lnTo>
                <a:lnTo>
                  <a:pt x="1709" y="1464"/>
                </a:lnTo>
                <a:lnTo>
                  <a:pt x="1710" y="1461"/>
                </a:lnTo>
                <a:lnTo>
                  <a:pt x="1716" y="1448"/>
                </a:lnTo>
                <a:lnTo>
                  <a:pt x="1719" y="1438"/>
                </a:lnTo>
                <a:lnTo>
                  <a:pt x="1720" y="1434"/>
                </a:lnTo>
                <a:lnTo>
                  <a:pt x="1720" y="1430"/>
                </a:lnTo>
                <a:lnTo>
                  <a:pt x="1720" y="1427"/>
                </a:lnTo>
                <a:lnTo>
                  <a:pt x="1719" y="1424"/>
                </a:lnTo>
                <a:lnTo>
                  <a:pt x="1707" y="1410"/>
                </a:lnTo>
                <a:lnTo>
                  <a:pt x="1687" y="1385"/>
                </a:lnTo>
                <a:lnTo>
                  <a:pt x="1683" y="1377"/>
                </a:lnTo>
                <a:lnTo>
                  <a:pt x="1679" y="1370"/>
                </a:lnTo>
                <a:lnTo>
                  <a:pt x="1676" y="1363"/>
                </a:lnTo>
                <a:lnTo>
                  <a:pt x="1674" y="1355"/>
                </a:lnTo>
                <a:lnTo>
                  <a:pt x="1672" y="1349"/>
                </a:lnTo>
                <a:lnTo>
                  <a:pt x="1672" y="1342"/>
                </a:lnTo>
                <a:lnTo>
                  <a:pt x="1673" y="1336"/>
                </a:lnTo>
                <a:lnTo>
                  <a:pt x="1676" y="1330"/>
                </a:lnTo>
                <a:lnTo>
                  <a:pt x="1689" y="1314"/>
                </a:lnTo>
                <a:lnTo>
                  <a:pt x="1698" y="1305"/>
                </a:lnTo>
                <a:lnTo>
                  <a:pt x="1700" y="1302"/>
                </a:lnTo>
                <a:lnTo>
                  <a:pt x="1701" y="1299"/>
                </a:lnTo>
                <a:lnTo>
                  <a:pt x="1700" y="1295"/>
                </a:lnTo>
                <a:lnTo>
                  <a:pt x="1697" y="1291"/>
                </a:lnTo>
                <a:lnTo>
                  <a:pt x="1690" y="1285"/>
                </a:lnTo>
                <a:lnTo>
                  <a:pt x="1684" y="1281"/>
                </a:lnTo>
                <a:lnTo>
                  <a:pt x="1676" y="1277"/>
                </a:lnTo>
                <a:lnTo>
                  <a:pt x="1669" y="1274"/>
                </a:lnTo>
                <a:lnTo>
                  <a:pt x="1667" y="1272"/>
                </a:lnTo>
                <a:lnTo>
                  <a:pt x="1665" y="1271"/>
                </a:lnTo>
                <a:lnTo>
                  <a:pt x="1665" y="1269"/>
                </a:lnTo>
                <a:lnTo>
                  <a:pt x="1665" y="1267"/>
                </a:lnTo>
                <a:lnTo>
                  <a:pt x="1667" y="1265"/>
                </a:lnTo>
                <a:lnTo>
                  <a:pt x="1669" y="1264"/>
                </a:lnTo>
                <a:lnTo>
                  <a:pt x="1675" y="1263"/>
                </a:lnTo>
                <a:lnTo>
                  <a:pt x="1681" y="1261"/>
                </a:lnTo>
                <a:lnTo>
                  <a:pt x="1694" y="1259"/>
                </a:lnTo>
                <a:lnTo>
                  <a:pt x="1702" y="1259"/>
                </a:lnTo>
                <a:lnTo>
                  <a:pt x="1706" y="1259"/>
                </a:lnTo>
                <a:lnTo>
                  <a:pt x="1709" y="1261"/>
                </a:lnTo>
                <a:lnTo>
                  <a:pt x="1713" y="1267"/>
                </a:lnTo>
                <a:lnTo>
                  <a:pt x="1720" y="1275"/>
                </a:lnTo>
                <a:lnTo>
                  <a:pt x="1723" y="1276"/>
                </a:lnTo>
                <a:lnTo>
                  <a:pt x="1725" y="1277"/>
                </a:lnTo>
                <a:lnTo>
                  <a:pt x="1727" y="1277"/>
                </a:lnTo>
                <a:lnTo>
                  <a:pt x="1729" y="1276"/>
                </a:lnTo>
                <a:lnTo>
                  <a:pt x="1731" y="1274"/>
                </a:lnTo>
                <a:lnTo>
                  <a:pt x="1734" y="1270"/>
                </a:lnTo>
                <a:lnTo>
                  <a:pt x="1737" y="1259"/>
                </a:lnTo>
                <a:lnTo>
                  <a:pt x="1738" y="1251"/>
                </a:lnTo>
                <a:lnTo>
                  <a:pt x="1740" y="1241"/>
                </a:lnTo>
                <a:lnTo>
                  <a:pt x="1744" y="1225"/>
                </a:lnTo>
                <a:lnTo>
                  <a:pt x="1747" y="1216"/>
                </a:lnTo>
                <a:lnTo>
                  <a:pt x="1749" y="1209"/>
                </a:lnTo>
                <a:lnTo>
                  <a:pt x="1752" y="1203"/>
                </a:lnTo>
                <a:lnTo>
                  <a:pt x="1754" y="1199"/>
                </a:lnTo>
                <a:lnTo>
                  <a:pt x="1763" y="1193"/>
                </a:lnTo>
                <a:lnTo>
                  <a:pt x="1773" y="1185"/>
                </a:lnTo>
                <a:lnTo>
                  <a:pt x="1777" y="1179"/>
                </a:lnTo>
                <a:lnTo>
                  <a:pt x="1779" y="1175"/>
                </a:lnTo>
                <a:lnTo>
                  <a:pt x="1781" y="1172"/>
                </a:lnTo>
                <a:lnTo>
                  <a:pt x="1781" y="1170"/>
                </a:lnTo>
                <a:lnTo>
                  <a:pt x="1779" y="1167"/>
                </a:lnTo>
                <a:lnTo>
                  <a:pt x="1777" y="1165"/>
                </a:lnTo>
                <a:lnTo>
                  <a:pt x="1775" y="1163"/>
                </a:lnTo>
                <a:lnTo>
                  <a:pt x="1772" y="1162"/>
                </a:lnTo>
                <a:lnTo>
                  <a:pt x="1769" y="1161"/>
                </a:lnTo>
                <a:lnTo>
                  <a:pt x="1766" y="1161"/>
                </a:lnTo>
                <a:lnTo>
                  <a:pt x="1759" y="1161"/>
                </a:lnTo>
                <a:lnTo>
                  <a:pt x="1751" y="1162"/>
                </a:lnTo>
                <a:lnTo>
                  <a:pt x="1744" y="1164"/>
                </a:lnTo>
                <a:lnTo>
                  <a:pt x="1737" y="1165"/>
                </a:lnTo>
                <a:lnTo>
                  <a:pt x="1730" y="1165"/>
                </a:lnTo>
                <a:lnTo>
                  <a:pt x="1725" y="1164"/>
                </a:lnTo>
                <a:lnTo>
                  <a:pt x="1721" y="1163"/>
                </a:lnTo>
                <a:lnTo>
                  <a:pt x="1717" y="1162"/>
                </a:lnTo>
                <a:lnTo>
                  <a:pt x="1712" y="1162"/>
                </a:lnTo>
                <a:lnTo>
                  <a:pt x="1708" y="1162"/>
                </a:lnTo>
                <a:lnTo>
                  <a:pt x="1702" y="1163"/>
                </a:lnTo>
                <a:lnTo>
                  <a:pt x="1697" y="1165"/>
                </a:lnTo>
                <a:lnTo>
                  <a:pt x="1687" y="1169"/>
                </a:lnTo>
                <a:lnTo>
                  <a:pt x="1673" y="1175"/>
                </a:lnTo>
                <a:lnTo>
                  <a:pt x="1665" y="1179"/>
                </a:lnTo>
                <a:lnTo>
                  <a:pt x="1660" y="1184"/>
                </a:lnTo>
                <a:lnTo>
                  <a:pt x="1657" y="1186"/>
                </a:lnTo>
                <a:lnTo>
                  <a:pt x="1655" y="1188"/>
                </a:lnTo>
                <a:lnTo>
                  <a:pt x="1654" y="1191"/>
                </a:lnTo>
                <a:lnTo>
                  <a:pt x="1653" y="1193"/>
                </a:lnTo>
                <a:lnTo>
                  <a:pt x="1654" y="1197"/>
                </a:lnTo>
                <a:lnTo>
                  <a:pt x="1655" y="1200"/>
                </a:lnTo>
                <a:lnTo>
                  <a:pt x="1656" y="1204"/>
                </a:lnTo>
                <a:lnTo>
                  <a:pt x="1658" y="1206"/>
                </a:lnTo>
                <a:lnTo>
                  <a:pt x="1660" y="1209"/>
                </a:lnTo>
                <a:lnTo>
                  <a:pt x="1661" y="1213"/>
                </a:lnTo>
                <a:lnTo>
                  <a:pt x="1661" y="1217"/>
                </a:lnTo>
                <a:lnTo>
                  <a:pt x="1661" y="1222"/>
                </a:lnTo>
                <a:lnTo>
                  <a:pt x="1659" y="1236"/>
                </a:lnTo>
                <a:lnTo>
                  <a:pt x="1657" y="1251"/>
                </a:lnTo>
                <a:lnTo>
                  <a:pt x="1656" y="1262"/>
                </a:lnTo>
                <a:lnTo>
                  <a:pt x="1655" y="1271"/>
                </a:lnTo>
                <a:lnTo>
                  <a:pt x="1657" y="1279"/>
                </a:lnTo>
                <a:lnTo>
                  <a:pt x="1662" y="1289"/>
                </a:lnTo>
                <a:lnTo>
                  <a:pt x="1663" y="1296"/>
                </a:lnTo>
                <a:lnTo>
                  <a:pt x="1665" y="1302"/>
                </a:lnTo>
                <a:lnTo>
                  <a:pt x="1665" y="1308"/>
                </a:lnTo>
                <a:lnTo>
                  <a:pt x="1664" y="1315"/>
                </a:lnTo>
                <a:lnTo>
                  <a:pt x="1660" y="1327"/>
                </a:lnTo>
                <a:lnTo>
                  <a:pt x="1654" y="1338"/>
                </a:lnTo>
                <a:lnTo>
                  <a:pt x="1649" y="1347"/>
                </a:lnTo>
                <a:lnTo>
                  <a:pt x="1645" y="1353"/>
                </a:lnTo>
                <a:lnTo>
                  <a:pt x="1642" y="1357"/>
                </a:lnTo>
                <a:lnTo>
                  <a:pt x="1636" y="1360"/>
                </a:lnTo>
                <a:lnTo>
                  <a:pt x="1633" y="1363"/>
                </a:lnTo>
                <a:lnTo>
                  <a:pt x="1631" y="1367"/>
                </a:lnTo>
                <a:lnTo>
                  <a:pt x="1630" y="1371"/>
                </a:lnTo>
                <a:lnTo>
                  <a:pt x="1630" y="1379"/>
                </a:lnTo>
                <a:lnTo>
                  <a:pt x="1632" y="1385"/>
                </a:lnTo>
                <a:lnTo>
                  <a:pt x="1634" y="1390"/>
                </a:lnTo>
                <a:lnTo>
                  <a:pt x="1636" y="1394"/>
                </a:lnTo>
                <a:lnTo>
                  <a:pt x="1638" y="1396"/>
                </a:lnTo>
                <a:lnTo>
                  <a:pt x="1640" y="1399"/>
                </a:lnTo>
                <a:lnTo>
                  <a:pt x="1641" y="1403"/>
                </a:lnTo>
                <a:lnTo>
                  <a:pt x="1641" y="1407"/>
                </a:lnTo>
                <a:lnTo>
                  <a:pt x="1640" y="1412"/>
                </a:lnTo>
                <a:lnTo>
                  <a:pt x="1636" y="1421"/>
                </a:lnTo>
                <a:lnTo>
                  <a:pt x="1634" y="1427"/>
                </a:lnTo>
                <a:lnTo>
                  <a:pt x="1632" y="1431"/>
                </a:lnTo>
                <a:lnTo>
                  <a:pt x="1632" y="1437"/>
                </a:lnTo>
                <a:lnTo>
                  <a:pt x="1634" y="1441"/>
                </a:lnTo>
                <a:lnTo>
                  <a:pt x="1641" y="1448"/>
                </a:lnTo>
                <a:lnTo>
                  <a:pt x="1651" y="1455"/>
                </a:lnTo>
                <a:lnTo>
                  <a:pt x="1661" y="1462"/>
                </a:lnTo>
                <a:lnTo>
                  <a:pt x="1672" y="1471"/>
                </a:lnTo>
                <a:lnTo>
                  <a:pt x="1681" y="1478"/>
                </a:lnTo>
                <a:lnTo>
                  <a:pt x="1684" y="1481"/>
                </a:lnTo>
                <a:lnTo>
                  <a:pt x="1686" y="1484"/>
                </a:lnTo>
                <a:lnTo>
                  <a:pt x="1688" y="1486"/>
                </a:lnTo>
                <a:lnTo>
                  <a:pt x="1688" y="1490"/>
                </a:lnTo>
                <a:lnTo>
                  <a:pt x="1686" y="1503"/>
                </a:lnTo>
                <a:lnTo>
                  <a:pt x="1685" y="1525"/>
                </a:lnTo>
                <a:lnTo>
                  <a:pt x="1684" y="1537"/>
                </a:lnTo>
                <a:lnTo>
                  <a:pt x="1683" y="1547"/>
                </a:lnTo>
                <a:lnTo>
                  <a:pt x="1680" y="1557"/>
                </a:lnTo>
                <a:lnTo>
                  <a:pt x="1677" y="1563"/>
                </a:lnTo>
                <a:lnTo>
                  <a:pt x="1666" y="1571"/>
                </a:lnTo>
                <a:lnTo>
                  <a:pt x="1656" y="1580"/>
                </a:lnTo>
                <a:lnTo>
                  <a:pt x="1651" y="1583"/>
                </a:lnTo>
                <a:lnTo>
                  <a:pt x="1647" y="1586"/>
                </a:lnTo>
                <a:lnTo>
                  <a:pt x="1645" y="1589"/>
                </a:lnTo>
                <a:lnTo>
                  <a:pt x="1645" y="1592"/>
                </a:lnTo>
                <a:lnTo>
                  <a:pt x="1650" y="1601"/>
                </a:lnTo>
                <a:lnTo>
                  <a:pt x="1654" y="1610"/>
                </a:lnTo>
                <a:lnTo>
                  <a:pt x="1656" y="1614"/>
                </a:lnTo>
                <a:lnTo>
                  <a:pt x="1656" y="1617"/>
                </a:lnTo>
                <a:lnTo>
                  <a:pt x="1656" y="1618"/>
                </a:lnTo>
                <a:lnTo>
                  <a:pt x="1655" y="1620"/>
                </a:lnTo>
                <a:lnTo>
                  <a:pt x="1654" y="1621"/>
                </a:lnTo>
                <a:lnTo>
                  <a:pt x="1653" y="1621"/>
                </a:lnTo>
                <a:lnTo>
                  <a:pt x="1647" y="1620"/>
                </a:lnTo>
                <a:lnTo>
                  <a:pt x="1643" y="1617"/>
                </a:lnTo>
                <a:lnTo>
                  <a:pt x="1638" y="1615"/>
                </a:lnTo>
                <a:lnTo>
                  <a:pt x="1634" y="1612"/>
                </a:lnTo>
                <a:lnTo>
                  <a:pt x="1631" y="1609"/>
                </a:lnTo>
                <a:lnTo>
                  <a:pt x="1628" y="1606"/>
                </a:lnTo>
                <a:lnTo>
                  <a:pt x="1625" y="1602"/>
                </a:lnTo>
                <a:lnTo>
                  <a:pt x="1624" y="1599"/>
                </a:lnTo>
                <a:lnTo>
                  <a:pt x="1627" y="1590"/>
                </a:lnTo>
                <a:lnTo>
                  <a:pt x="1631" y="1580"/>
                </a:lnTo>
                <a:lnTo>
                  <a:pt x="1632" y="1573"/>
                </a:lnTo>
                <a:lnTo>
                  <a:pt x="1632" y="1568"/>
                </a:lnTo>
                <a:lnTo>
                  <a:pt x="1631" y="1566"/>
                </a:lnTo>
                <a:lnTo>
                  <a:pt x="1630" y="1563"/>
                </a:lnTo>
                <a:lnTo>
                  <a:pt x="1629" y="1561"/>
                </a:lnTo>
                <a:lnTo>
                  <a:pt x="1625" y="1559"/>
                </a:lnTo>
                <a:lnTo>
                  <a:pt x="1620" y="1556"/>
                </a:lnTo>
                <a:lnTo>
                  <a:pt x="1617" y="1551"/>
                </a:lnTo>
                <a:lnTo>
                  <a:pt x="1615" y="1548"/>
                </a:lnTo>
                <a:lnTo>
                  <a:pt x="1615" y="1546"/>
                </a:lnTo>
                <a:lnTo>
                  <a:pt x="1616" y="1543"/>
                </a:lnTo>
                <a:lnTo>
                  <a:pt x="1617" y="1542"/>
                </a:lnTo>
                <a:lnTo>
                  <a:pt x="1620" y="1541"/>
                </a:lnTo>
                <a:lnTo>
                  <a:pt x="1623" y="1540"/>
                </a:lnTo>
                <a:lnTo>
                  <a:pt x="1628" y="1540"/>
                </a:lnTo>
                <a:lnTo>
                  <a:pt x="1631" y="1537"/>
                </a:lnTo>
                <a:lnTo>
                  <a:pt x="1634" y="1534"/>
                </a:lnTo>
                <a:lnTo>
                  <a:pt x="1637" y="1528"/>
                </a:lnTo>
                <a:lnTo>
                  <a:pt x="1639" y="1522"/>
                </a:lnTo>
                <a:lnTo>
                  <a:pt x="1641" y="1516"/>
                </a:lnTo>
                <a:lnTo>
                  <a:pt x="1642" y="1509"/>
                </a:lnTo>
                <a:lnTo>
                  <a:pt x="1643" y="1502"/>
                </a:lnTo>
                <a:lnTo>
                  <a:pt x="1642" y="1495"/>
                </a:lnTo>
                <a:lnTo>
                  <a:pt x="1639" y="1485"/>
                </a:lnTo>
                <a:lnTo>
                  <a:pt x="1635" y="1476"/>
                </a:lnTo>
                <a:lnTo>
                  <a:pt x="1631" y="1468"/>
                </a:lnTo>
                <a:lnTo>
                  <a:pt x="1628" y="1463"/>
                </a:lnTo>
                <a:lnTo>
                  <a:pt x="1624" y="1460"/>
                </a:lnTo>
                <a:lnTo>
                  <a:pt x="1621" y="1457"/>
                </a:lnTo>
                <a:lnTo>
                  <a:pt x="1618" y="1456"/>
                </a:lnTo>
                <a:lnTo>
                  <a:pt x="1615" y="1455"/>
                </a:lnTo>
                <a:lnTo>
                  <a:pt x="1612" y="1455"/>
                </a:lnTo>
                <a:lnTo>
                  <a:pt x="1609" y="1457"/>
                </a:lnTo>
                <a:lnTo>
                  <a:pt x="1607" y="1459"/>
                </a:lnTo>
                <a:lnTo>
                  <a:pt x="1592" y="1477"/>
                </a:lnTo>
                <a:lnTo>
                  <a:pt x="1589" y="1480"/>
                </a:lnTo>
                <a:lnTo>
                  <a:pt x="1581" y="1483"/>
                </a:lnTo>
                <a:lnTo>
                  <a:pt x="1566" y="1491"/>
                </a:lnTo>
                <a:lnTo>
                  <a:pt x="1563" y="1494"/>
                </a:lnTo>
                <a:lnTo>
                  <a:pt x="1559" y="1497"/>
                </a:lnTo>
                <a:lnTo>
                  <a:pt x="1557" y="1500"/>
                </a:lnTo>
                <a:lnTo>
                  <a:pt x="1556" y="1504"/>
                </a:lnTo>
                <a:lnTo>
                  <a:pt x="1556" y="1508"/>
                </a:lnTo>
                <a:lnTo>
                  <a:pt x="1556" y="1512"/>
                </a:lnTo>
                <a:lnTo>
                  <a:pt x="1559" y="1517"/>
                </a:lnTo>
                <a:lnTo>
                  <a:pt x="1563" y="1521"/>
                </a:lnTo>
                <a:lnTo>
                  <a:pt x="1572" y="1528"/>
                </a:lnTo>
                <a:lnTo>
                  <a:pt x="1579" y="1534"/>
                </a:lnTo>
                <a:lnTo>
                  <a:pt x="1586" y="1537"/>
                </a:lnTo>
                <a:lnTo>
                  <a:pt x="1590" y="1538"/>
                </a:lnTo>
                <a:lnTo>
                  <a:pt x="1594" y="1539"/>
                </a:lnTo>
                <a:lnTo>
                  <a:pt x="1596" y="1539"/>
                </a:lnTo>
                <a:lnTo>
                  <a:pt x="1597" y="1539"/>
                </a:lnTo>
                <a:lnTo>
                  <a:pt x="1598" y="1540"/>
                </a:lnTo>
                <a:lnTo>
                  <a:pt x="1599" y="1542"/>
                </a:lnTo>
                <a:lnTo>
                  <a:pt x="1601" y="1543"/>
                </a:lnTo>
                <a:lnTo>
                  <a:pt x="1603" y="1544"/>
                </a:lnTo>
                <a:lnTo>
                  <a:pt x="1607" y="1544"/>
                </a:lnTo>
                <a:lnTo>
                  <a:pt x="1610" y="1545"/>
                </a:lnTo>
                <a:lnTo>
                  <a:pt x="1611" y="1546"/>
                </a:lnTo>
                <a:lnTo>
                  <a:pt x="1611" y="1547"/>
                </a:lnTo>
                <a:lnTo>
                  <a:pt x="1608" y="1549"/>
                </a:lnTo>
                <a:lnTo>
                  <a:pt x="1598" y="1555"/>
                </a:lnTo>
                <a:lnTo>
                  <a:pt x="1588" y="1560"/>
                </a:lnTo>
                <a:lnTo>
                  <a:pt x="1584" y="1562"/>
                </a:lnTo>
                <a:lnTo>
                  <a:pt x="1579" y="1564"/>
                </a:lnTo>
                <a:lnTo>
                  <a:pt x="1577" y="1567"/>
                </a:lnTo>
                <a:lnTo>
                  <a:pt x="1576" y="1570"/>
                </a:lnTo>
                <a:lnTo>
                  <a:pt x="1578" y="1578"/>
                </a:lnTo>
                <a:lnTo>
                  <a:pt x="1580" y="1586"/>
                </a:lnTo>
                <a:lnTo>
                  <a:pt x="1581" y="1590"/>
                </a:lnTo>
                <a:lnTo>
                  <a:pt x="1581" y="1592"/>
                </a:lnTo>
                <a:lnTo>
                  <a:pt x="1580" y="1593"/>
                </a:lnTo>
                <a:lnTo>
                  <a:pt x="1577" y="1592"/>
                </a:lnTo>
                <a:lnTo>
                  <a:pt x="1559" y="1589"/>
                </a:lnTo>
                <a:lnTo>
                  <a:pt x="1527" y="1587"/>
                </a:lnTo>
                <a:lnTo>
                  <a:pt x="1510" y="1585"/>
                </a:lnTo>
                <a:lnTo>
                  <a:pt x="1493" y="1583"/>
                </a:lnTo>
                <a:lnTo>
                  <a:pt x="1487" y="1581"/>
                </a:lnTo>
                <a:lnTo>
                  <a:pt x="1481" y="1580"/>
                </a:lnTo>
                <a:lnTo>
                  <a:pt x="1477" y="1578"/>
                </a:lnTo>
                <a:lnTo>
                  <a:pt x="1472" y="1576"/>
                </a:lnTo>
                <a:lnTo>
                  <a:pt x="1458" y="1563"/>
                </a:lnTo>
                <a:lnTo>
                  <a:pt x="1440" y="1550"/>
                </a:lnTo>
                <a:lnTo>
                  <a:pt x="1431" y="1545"/>
                </a:lnTo>
                <a:lnTo>
                  <a:pt x="1422" y="1543"/>
                </a:lnTo>
                <a:lnTo>
                  <a:pt x="1419" y="1543"/>
                </a:lnTo>
                <a:lnTo>
                  <a:pt x="1416" y="1544"/>
                </a:lnTo>
                <a:lnTo>
                  <a:pt x="1413" y="1545"/>
                </a:lnTo>
                <a:lnTo>
                  <a:pt x="1412" y="1548"/>
                </a:lnTo>
                <a:lnTo>
                  <a:pt x="1408" y="1556"/>
                </a:lnTo>
                <a:lnTo>
                  <a:pt x="1403" y="1562"/>
                </a:lnTo>
                <a:lnTo>
                  <a:pt x="1398" y="1568"/>
                </a:lnTo>
                <a:lnTo>
                  <a:pt x="1394" y="1573"/>
                </a:lnTo>
                <a:lnTo>
                  <a:pt x="1390" y="1578"/>
                </a:lnTo>
                <a:lnTo>
                  <a:pt x="1388" y="1583"/>
                </a:lnTo>
                <a:lnTo>
                  <a:pt x="1387" y="1585"/>
                </a:lnTo>
                <a:lnTo>
                  <a:pt x="1387" y="1587"/>
                </a:lnTo>
                <a:lnTo>
                  <a:pt x="1387" y="1589"/>
                </a:lnTo>
                <a:lnTo>
                  <a:pt x="1388" y="1590"/>
                </a:lnTo>
                <a:lnTo>
                  <a:pt x="1394" y="1600"/>
                </a:lnTo>
                <a:lnTo>
                  <a:pt x="1401" y="1611"/>
                </a:lnTo>
                <a:lnTo>
                  <a:pt x="1403" y="1616"/>
                </a:lnTo>
                <a:lnTo>
                  <a:pt x="1405" y="1621"/>
                </a:lnTo>
                <a:lnTo>
                  <a:pt x="1406" y="1625"/>
                </a:lnTo>
                <a:lnTo>
                  <a:pt x="1405" y="1628"/>
                </a:lnTo>
                <a:lnTo>
                  <a:pt x="1400" y="1636"/>
                </a:lnTo>
                <a:lnTo>
                  <a:pt x="1395" y="1649"/>
                </a:lnTo>
                <a:lnTo>
                  <a:pt x="1392" y="1654"/>
                </a:lnTo>
                <a:lnTo>
                  <a:pt x="1389" y="1657"/>
                </a:lnTo>
                <a:lnTo>
                  <a:pt x="1387" y="1657"/>
                </a:lnTo>
                <a:lnTo>
                  <a:pt x="1384" y="1657"/>
                </a:lnTo>
                <a:lnTo>
                  <a:pt x="1383" y="1656"/>
                </a:lnTo>
                <a:lnTo>
                  <a:pt x="1381" y="1653"/>
                </a:lnTo>
                <a:lnTo>
                  <a:pt x="1374" y="1638"/>
                </a:lnTo>
                <a:lnTo>
                  <a:pt x="1366" y="1622"/>
                </a:lnTo>
                <a:lnTo>
                  <a:pt x="1360" y="1614"/>
                </a:lnTo>
                <a:lnTo>
                  <a:pt x="1355" y="1606"/>
                </a:lnTo>
                <a:lnTo>
                  <a:pt x="1350" y="1600"/>
                </a:lnTo>
                <a:lnTo>
                  <a:pt x="1345" y="1594"/>
                </a:lnTo>
                <a:lnTo>
                  <a:pt x="1334" y="1588"/>
                </a:lnTo>
                <a:lnTo>
                  <a:pt x="1327" y="1584"/>
                </a:lnTo>
                <a:lnTo>
                  <a:pt x="1323" y="1583"/>
                </a:lnTo>
                <a:lnTo>
                  <a:pt x="1321" y="1583"/>
                </a:lnTo>
                <a:lnTo>
                  <a:pt x="1301" y="1592"/>
                </a:lnTo>
                <a:lnTo>
                  <a:pt x="1289" y="1592"/>
                </a:lnTo>
                <a:lnTo>
                  <a:pt x="1263" y="1592"/>
                </a:lnTo>
                <a:lnTo>
                  <a:pt x="1236" y="1591"/>
                </a:lnTo>
                <a:lnTo>
                  <a:pt x="1221" y="1589"/>
                </a:lnTo>
                <a:lnTo>
                  <a:pt x="1217" y="1587"/>
                </a:lnTo>
                <a:lnTo>
                  <a:pt x="1214" y="1583"/>
                </a:lnTo>
                <a:lnTo>
                  <a:pt x="1214" y="1581"/>
                </a:lnTo>
                <a:lnTo>
                  <a:pt x="1215" y="1579"/>
                </a:lnTo>
                <a:lnTo>
                  <a:pt x="1217" y="1577"/>
                </a:lnTo>
                <a:lnTo>
                  <a:pt x="1220" y="1574"/>
                </a:lnTo>
                <a:lnTo>
                  <a:pt x="1225" y="1571"/>
                </a:lnTo>
                <a:lnTo>
                  <a:pt x="1229" y="1569"/>
                </a:lnTo>
                <a:lnTo>
                  <a:pt x="1233" y="1565"/>
                </a:lnTo>
                <a:lnTo>
                  <a:pt x="1236" y="1562"/>
                </a:lnTo>
                <a:lnTo>
                  <a:pt x="1239" y="1556"/>
                </a:lnTo>
                <a:lnTo>
                  <a:pt x="1240" y="1552"/>
                </a:lnTo>
                <a:lnTo>
                  <a:pt x="1238" y="1547"/>
                </a:lnTo>
                <a:lnTo>
                  <a:pt x="1232" y="1537"/>
                </a:lnTo>
                <a:lnTo>
                  <a:pt x="1226" y="1530"/>
                </a:lnTo>
                <a:lnTo>
                  <a:pt x="1221" y="1525"/>
                </a:lnTo>
                <a:lnTo>
                  <a:pt x="1218" y="1523"/>
                </a:lnTo>
                <a:lnTo>
                  <a:pt x="1214" y="1521"/>
                </a:lnTo>
                <a:lnTo>
                  <a:pt x="1211" y="1520"/>
                </a:lnTo>
                <a:lnTo>
                  <a:pt x="1206" y="1519"/>
                </a:lnTo>
                <a:lnTo>
                  <a:pt x="1198" y="1519"/>
                </a:lnTo>
                <a:lnTo>
                  <a:pt x="1191" y="1519"/>
                </a:lnTo>
                <a:lnTo>
                  <a:pt x="1185" y="1520"/>
                </a:lnTo>
                <a:lnTo>
                  <a:pt x="1179" y="1521"/>
                </a:lnTo>
                <a:lnTo>
                  <a:pt x="1175" y="1522"/>
                </a:lnTo>
                <a:lnTo>
                  <a:pt x="1170" y="1522"/>
                </a:lnTo>
                <a:lnTo>
                  <a:pt x="1165" y="1521"/>
                </a:lnTo>
                <a:lnTo>
                  <a:pt x="1162" y="1519"/>
                </a:lnTo>
                <a:lnTo>
                  <a:pt x="1155" y="1514"/>
                </a:lnTo>
                <a:lnTo>
                  <a:pt x="1142" y="1505"/>
                </a:lnTo>
                <a:lnTo>
                  <a:pt x="1127" y="1496"/>
                </a:lnTo>
                <a:lnTo>
                  <a:pt x="1109" y="1486"/>
                </a:lnTo>
                <a:lnTo>
                  <a:pt x="1091" y="1478"/>
                </a:lnTo>
                <a:lnTo>
                  <a:pt x="1075" y="1472"/>
                </a:lnTo>
                <a:lnTo>
                  <a:pt x="1068" y="1470"/>
                </a:lnTo>
                <a:lnTo>
                  <a:pt x="1063" y="1470"/>
                </a:lnTo>
                <a:lnTo>
                  <a:pt x="1059" y="1470"/>
                </a:lnTo>
                <a:lnTo>
                  <a:pt x="1055" y="1472"/>
                </a:lnTo>
                <a:lnTo>
                  <a:pt x="1048" y="1481"/>
                </a:lnTo>
                <a:lnTo>
                  <a:pt x="1042" y="1490"/>
                </a:lnTo>
                <a:lnTo>
                  <a:pt x="1039" y="1492"/>
                </a:lnTo>
                <a:lnTo>
                  <a:pt x="1037" y="1493"/>
                </a:lnTo>
                <a:lnTo>
                  <a:pt x="1033" y="1494"/>
                </a:lnTo>
                <a:lnTo>
                  <a:pt x="1030" y="1492"/>
                </a:lnTo>
                <a:lnTo>
                  <a:pt x="1028" y="1489"/>
                </a:lnTo>
                <a:lnTo>
                  <a:pt x="1025" y="1480"/>
                </a:lnTo>
                <a:lnTo>
                  <a:pt x="1022" y="1471"/>
                </a:lnTo>
                <a:lnTo>
                  <a:pt x="1019" y="1461"/>
                </a:lnTo>
                <a:lnTo>
                  <a:pt x="1016" y="1452"/>
                </a:lnTo>
                <a:lnTo>
                  <a:pt x="1013" y="1445"/>
                </a:lnTo>
                <a:lnTo>
                  <a:pt x="1011" y="1442"/>
                </a:lnTo>
                <a:lnTo>
                  <a:pt x="1010" y="1441"/>
                </a:lnTo>
                <a:lnTo>
                  <a:pt x="1008" y="1441"/>
                </a:lnTo>
                <a:lnTo>
                  <a:pt x="1007" y="1442"/>
                </a:lnTo>
                <a:lnTo>
                  <a:pt x="1000" y="1456"/>
                </a:lnTo>
                <a:lnTo>
                  <a:pt x="992" y="1472"/>
                </a:lnTo>
                <a:lnTo>
                  <a:pt x="987" y="1479"/>
                </a:lnTo>
                <a:lnTo>
                  <a:pt x="983" y="1485"/>
                </a:lnTo>
                <a:lnTo>
                  <a:pt x="982" y="1486"/>
                </a:lnTo>
                <a:lnTo>
                  <a:pt x="980" y="1489"/>
                </a:lnTo>
                <a:lnTo>
                  <a:pt x="979" y="1489"/>
                </a:lnTo>
                <a:lnTo>
                  <a:pt x="978" y="1489"/>
                </a:lnTo>
                <a:lnTo>
                  <a:pt x="972" y="1474"/>
                </a:lnTo>
                <a:lnTo>
                  <a:pt x="959" y="1448"/>
                </a:lnTo>
                <a:lnTo>
                  <a:pt x="953" y="1434"/>
                </a:lnTo>
                <a:lnTo>
                  <a:pt x="947" y="1424"/>
                </a:lnTo>
                <a:lnTo>
                  <a:pt x="943" y="1419"/>
                </a:lnTo>
                <a:lnTo>
                  <a:pt x="940" y="1417"/>
                </a:lnTo>
                <a:lnTo>
                  <a:pt x="938" y="1416"/>
                </a:lnTo>
                <a:lnTo>
                  <a:pt x="935" y="1416"/>
                </a:lnTo>
                <a:lnTo>
                  <a:pt x="932" y="1419"/>
                </a:lnTo>
                <a:lnTo>
                  <a:pt x="929" y="1421"/>
                </a:lnTo>
                <a:lnTo>
                  <a:pt x="928" y="1425"/>
                </a:lnTo>
                <a:lnTo>
                  <a:pt x="927" y="1428"/>
                </a:lnTo>
                <a:lnTo>
                  <a:pt x="927" y="1431"/>
                </a:lnTo>
                <a:lnTo>
                  <a:pt x="927" y="1434"/>
                </a:lnTo>
                <a:lnTo>
                  <a:pt x="929" y="1437"/>
                </a:lnTo>
                <a:lnTo>
                  <a:pt x="930" y="1441"/>
                </a:lnTo>
                <a:lnTo>
                  <a:pt x="932" y="1445"/>
                </a:lnTo>
                <a:lnTo>
                  <a:pt x="934" y="1448"/>
                </a:lnTo>
                <a:lnTo>
                  <a:pt x="934" y="1451"/>
                </a:lnTo>
                <a:lnTo>
                  <a:pt x="934" y="1454"/>
                </a:lnTo>
                <a:lnTo>
                  <a:pt x="933" y="1457"/>
                </a:lnTo>
                <a:lnTo>
                  <a:pt x="930" y="1461"/>
                </a:lnTo>
                <a:lnTo>
                  <a:pt x="927" y="1464"/>
                </a:lnTo>
                <a:lnTo>
                  <a:pt x="922" y="1468"/>
                </a:lnTo>
                <a:lnTo>
                  <a:pt x="919" y="1469"/>
                </a:lnTo>
                <a:lnTo>
                  <a:pt x="916" y="1470"/>
                </a:lnTo>
                <a:lnTo>
                  <a:pt x="913" y="1469"/>
                </a:lnTo>
                <a:lnTo>
                  <a:pt x="910" y="1469"/>
                </a:lnTo>
                <a:lnTo>
                  <a:pt x="904" y="1465"/>
                </a:lnTo>
                <a:lnTo>
                  <a:pt x="897" y="1462"/>
                </a:lnTo>
                <a:lnTo>
                  <a:pt x="891" y="1459"/>
                </a:lnTo>
                <a:lnTo>
                  <a:pt x="886" y="1457"/>
                </a:lnTo>
                <a:lnTo>
                  <a:pt x="883" y="1457"/>
                </a:lnTo>
                <a:lnTo>
                  <a:pt x="881" y="1458"/>
                </a:lnTo>
                <a:lnTo>
                  <a:pt x="879" y="1460"/>
                </a:lnTo>
                <a:lnTo>
                  <a:pt x="878" y="1462"/>
                </a:lnTo>
                <a:lnTo>
                  <a:pt x="875" y="1468"/>
                </a:lnTo>
                <a:lnTo>
                  <a:pt x="873" y="1472"/>
                </a:lnTo>
                <a:lnTo>
                  <a:pt x="870" y="1475"/>
                </a:lnTo>
                <a:lnTo>
                  <a:pt x="868" y="1478"/>
                </a:lnTo>
                <a:lnTo>
                  <a:pt x="862" y="1484"/>
                </a:lnTo>
                <a:lnTo>
                  <a:pt x="854" y="1495"/>
                </a:lnTo>
                <a:lnTo>
                  <a:pt x="846" y="1511"/>
                </a:lnTo>
                <a:lnTo>
                  <a:pt x="838" y="1524"/>
                </a:lnTo>
                <a:lnTo>
                  <a:pt x="831" y="1536"/>
                </a:lnTo>
                <a:lnTo>
                  <a:pt x="829" y="1539"/>
                </a:lnTo>
                <a:lnTo>
                  <a:pt x="824" y="1538"/>
                </a:lnTo>
                <a:lnTo>
                  <a:pt x="815" y="1534"/>
                </a:lnTo>
                <a:lnTo>
                  <a:pt x="810" y="1530"/>
                </a:lnTo>
                <a:lnTo>
                  <a:pt x="806" y="1527"/>
                </a:lnTo>
                <a:lnTo>
                  <a:pt x="805" y="1526"/>
                </a:lnTo>
                <a:lnTo>
                  <a:pt x="804" y="1524"/>
                </a:lnTo>
                <a:lnTo>
                  <a:pt x="804" y="1523"/>
                </a:lnTo>
                <a:lnTo>
                  <a:pt x="804" y="1521"/>
                </a:lnTo>
                <a:lnTo>
                  <a:pt x="805" y="1517"/>
                </a:lnTo>
                <a:lnTo>
                  <a:pt x="805" y="1512"/>
                </a:lnTo>
                <a:lnTo>
                  <a:pt x="803" y="1505"/>
                </a:lnTo>
                <a:lnTo>
                  <a:pt x="801" y="1499"/>
                </a:lnTo>
                <a:lnTo>
                  <a:pt x="799" y="1494"/>
                </a:lnTo>
                <a:lnTo>
                  <a:pt x="796" y="1489"/>
                </a:lnTo>
                <a:lnTo>
                  <a:pt x="791" y="1485"/>
                </a:lnTo>
                <a:lnTo>
                  <a:pt x="787" y="1485"/>
                </a:lnTo>
                <a:lnTo>
                  <a:pt x="779" y="1485"/>
                </a:lnTo>
                <a:lnTo>
                  <a:pt x="772" y="1487"/>
                </a:lnTo>
                <a:lnTo>
                  <a:pt x="768" y="1490"/>
                </a:lnTo>
                <a:lnTo>
                  <a:pt x="766" y="1492"/>
                </a:lnTo>
                <a:lnTo>
                  <a:pt x="766" y="1497"/>
                </a:lnTo>
                <a:lnTo>
                  <a:pt x="767" y="1502"/>
                </a:lnTo>
                <a:lnTo>
                  <a:pt x="770" y="1515"/>
                </a:lnTo>
                <a:lnTo>
                  <a:pt x="773" y="1525"/>
                </a:lnTo>
                <a:lnTo>
                  <a:pt x="773" y="1529"/>
                </a:lnTo>
                <a:lnTo>
                  <a:pt x="773" y="1533"/>
                </a:lnTo>
                <a:lnTo>
                  <a:pt x="772" y="1535"/>
                </a:lnTo>
                <a:lnTo>
                  <a:pt x="770" y="1538"/>
                </a:lnTo>
                <a:lnTo>
                  <a:pt x="768" y="1539"/>
                </a:lnTo>
                <a:lnTo>
                  <a:pt x="764" y="1538"/>
                </a:lnTo>
                <a:lnTo>
                  <a:pt x="760" y="1537"/>
                </a:lnTo>
                <a:lnTo>
                  <a:pt x="756" y="1535"/>
                </a:lnTo>
                <a:lnTo>
                  <a:pt x="747" y="1531"/>
                </a:lnTo>
                <a:lnTo>
                  <a:pt x="743" y="1529"/>
                </a:lnTo>
                <a:lnTo>
                  <a:pt x="737" y="1522"/>
                </a:lnTo>
                <a:lnTo>
                  <a:pt x="719" y="1505"/>
                </a:lnTo>
                <a:lnTo>
                  <a:pt x="710" y="1497"/>
                </a:lnTo>
                <a:lnTo>
                  <a:pt x="699" y="1489"/>
                </a:lnTo>
                <a:lnTo>
                  <a:pt x="689" y="1483"/>
                </a:lnTo>
                <a:lnTo>
                  <a:pt x="681" y="1480"/>
                </a:lnTo>
                <a:lnTo>
                  <a:pt x="663" y="1477"/>
                </a:lnTo>
                <a:lnTo>
                  <a:pt x="641" y="1473"/>
                </a:lnTo>
                <a:lnTo>
                  <a:pt x="623" y="1469"/>
                </a:lnTo>
                <a:lnTo>
                  <a:pt x="615" y="1468"/>
                </a:lnTo>
                <a:lnTo>
                  <a:pt x="613" y="1463"/>
                </a:lnTo>
                <a:lnTo>
                  <a:pt x="608" y="1454"/>
                </a:lnTo>
                <a:lnTo>
                  <a:pt x="604" y="1449"/>
                </a:lnTo>
                <a:lnTo>
                  <a:pt x="598" y="1446"/>
                </a:lnTo>
                <a:lnTo>
                  <a:pt x="594" y="1446"/>
                </a:lnTo>
                <a:lnTo>
                  <a:pt x="590" y="1445"/>
                </a:lnTo>
                <a:lnTo>
                  <a:pt x="585" y="1446"/>
                </a:lnTo>
                <a:lnTo>
                  <a:pt x="581" y="1447"/>
                </a:lnTo>
                <a:lnTo>
                  <a:pt x="564" y="1454"/>
                </a:lnTo>
                <a:lnTo>
                  <a:pt x="556" y="1459"/>
                </a:lnTo>
                <a:lnTo>
                  <a:pt x="553" y="1461"/>
                </a:lnTo>
                <a:lnTo>
                  <a:pt x="550" y="1461"/>
                </a:lnTo>
                <a:lnTo>
                  <a:pt x="547" y="1460"/>
                </a:lnTo>
                <a:lnTo>
                  <a:pt x="544" y="1457"/>
                </a:lnTo>
                <a:lnTo>
                  <a:pt x="537" y="1450"/>
                </a:lnTo>
                <a:lnTo>
                  <a:pt x="528" y="1442"/>
                </a:lnTo>
                <a:lnTo>
                  <a:pt x="524" y="1439"/>
                </a:lnTo>
                <a:lnTo>
                  <a:pt x="521" y="1438"/>
                </a:lnTo>
                <a:lnTo>
                  <a:pt x="518" y="1438"/>
                </a:lnTo>
                <a:lnTo>
                  <a:pt x="516" y="1440"/>
                </a:lnTo>
                <a:lnTo>
                  <a:pt x="514" y="1442"/>
                </a:lnTo>
                <a:lnTo>
                  <a:pt x="510" y="1443"/>
                </a:lnTo>
                <a:lnTo>
                  <a:pt x="505" y="1445"/>
                </a:lnTo>
                <a:lnTo>
                  <a:pt x="501" y="1446"/>
                </a:lnTo>
                <a:lnTo>
                  <a:pt x="494" y="1446"/>
                </a:lnTo>
                <a:lnTo>
                  <a:pt x="491" y="1446"/>
                </a:lnTo>
                <a:lnTo>
                  <a:pt x="482" y="1441"/>
                </a:lnTo>
                <a:lnTo>
                  <a:pt x="465" y="1431"/>
                </a:lnTo>
                <a:lnTo>
                  <a:pt x="454" y="1426"/>
                </a:lnTo>
                <a:lnTo>
                  <a:pt x="445" y="1421"/>
                </a:lnTo>
                <a:lnTo>
                  <a:pt x="437" y="1419"/>
                </a:lnTo>
                <a:lnTo>
                  <a:pt x="433" y="1419"/>
                </a:lnTo>
                <a:lnTo>
                  <a:pt x="427" y="1425"/>
                </a:lnTo>
                <a:lnTo>
                  <a:pt x="421" y="1431"/>
                </a:lnTo>
                <a:lnTo>
                  <a:pt x="418" y="1433"/>
                </a:lnTo>
                <a:lnTo>
                  <a:pt x="415" y="1434"/>
                </a:lnTo>
                <a:lnTo>
                  <a:pt x="413" y="1434"/>
                </a:lnTo>
                <a:lnTo>
                  <a:pt x="411" y="1431"/>
                </a:lnTo>
                <a:lnTo>
                  <a:pt x="408" y="1419"/>
                </a:lnTo>
                <a:lnTo>
                  <a:pt x="403" y="1406"/>
                </a:lnTo>
                <a:lnTo>
                  <a:pt x="399" y="1399"/>
                </a:lnTo>
                <a:lnTo>
                  <a:pt x="394" y="1395"/>
                </a:lnTo>
                <a:lnTo>
                  <a:pt x="391" y="1394"/>
                </a:lnTo>
                <a:lnTo>
                  <a:pt x="388" y="1394"/>
                </a:lnTo>
                <a:lnTo>
                  <a:pt x="385" y="1394"/>
                </a:lnTo>
                <a:lnTo>
                  <a:pt x="382" y="1394"/>
                </a:lnTo>
                <a:lnTo>
                  <a:pt x="374" y="1397"/>
                </a:lnTo>
                <a:lnTo>
                  <a:pt x="369" y="1401"/>
                </a:lnTo>
                <a:lnTo>
                  <a:pt x="366" y="1405"/>
                </a:lnTo>
                <a:lnTo>
                  <a:pt x="363" y="1408"/>
                </a:lnTo>
                <a:lnTo>
                  <a:pt x="361" y="1414"/>
                </a:lnTo>
                <a:lnTo>
                  <a:pt x="360" y="1419"/>
                </a:lnTo>
                <a:lnTo>
                  <a:pt x="360" y="1423"/>
                </a:lnTo>
                <a:lnTo>
                  <a:pt x="360" y="1425"/>
                </a:lnTo>
                <a:lnTo>
                  <a:pt x="360" y="1426"/>
                </a:lnTo>
                <a:lnTo>
                  <a:pt x="358" y="1426"/>
                </a:lnTo>
                <a:lnTo>
                  <a:pt x="356" y="1423"/>
                </a:lnTo>
                <a:lnTo>
                  <a:pt x="353" y="1415"/>
                </a:lnTo>
                <a:lnTo>
                  <a:pt x="352" y="1408"/>
                </a:lnTo>
                <a:lnTo>
                  <a:pt x="352" y="1403"/>
                </a:lnTo>
                <a:lnTo>
                  <a:pt x="351" y="1399"/>
                </a:lnTo>
                <a:lnTo>
                  <a:pt x="349" y="1395"/>
                </a:lnTo>
                <a:lnTo>
                  <a:pt x="346" y="1392"/>
                </a:lnTo>
                <a:lnTo>
                  <a:pt x="343" y="1390"/>
                </a:lnTo>
                <a:lnTo>
                  <a:pt x="337" y="1386"/>
                </a:lnTo>
                <a:lnTo>
                  <a:pt x="327" y="1381"/>
                </a:lnTo>
                <a:lnTo>
                  <a:pt x="321" y="1377"/>
                </a:lnTo>
                <a:lnTo>
                  <a:pt x="316" y="1376"/>
                </a:lnTo>
                <a:lnTo>
                  <a:pt x="313" y="1376"/>
                </a:lnTo>
                <a:lnTo>
                  <a:pt x="309" y="1376"/>
                </a:lnTo>
                <a:lnTo>
                  <a:pt x="306" y="1376"/>
                </a:lnTo>
                <a:lnTo>
                  <a:pt x="303" y="1379"/>
                </a:lnTo>
                <a:lnTo>
                  <a:pt x="290" y="1387"/>
                </a:lnTo>
                <a:lnTo>
                  <a:pt x="273" y="1398"/>
                </a:lnTo>
                <a:lnTo>
                  <a:pt x="265" y="1403"/>
                </a:lnTo>
                <a:lnTo>
                  <a:pt x="259" y="1407"/>
                </a:lnTo>
                <a:lnTo>
                  <a:pt x="256" y="1407"/>
                </a:lnTo>
                <a:lnTo>
                  <a:pt x="254" y="1408"/>
                </a:lnTo>
                <a:lnTo>
                  <a:pt x="252" y="1408"/>
                </a:lnTo>
                <a:lnTo>
                  <a:pt x="251" y="1407"/>
                </a:lnTo>
                <a:lnTo>
                  <a:pt x="249" y="1403"/>
                </a:lnTo>
                <a:lnTo>
                  <a:pt x="247" y="1401"/>
                </a:lnTo>
                <a:lnTo>
                  <a:pt x="245" y="1401"/>
                </a:lnTo>
                <a:lnTo>
                  <a:pt x="242" y="1403"/>
                </a:lnTo>
                <a:lnTo>
                  <a:pt x="236" y="1407"/>
                </a:lnTo>
                <a:lnTo>
                  <a:pt x="230" y="1411"/>
                </a:lnTo>
                <a:lnTo>
                  <a:pt x="225" y="1417"/>
                </a:lnTo>
                <a:lnTo>
                  <a:pt x="215" y="1427"/>
                </a:lnTo>
                <a:lnTo>
                  <a:pt x="209" y="1431"/>
                </a:lnTo>
                <a:lnTo>
                  <a:pt x="203" y="1435"/>
                </a:lnTo>
                <a:lnTo>
                  <a:pt x="197" y="1438"/>
                </a:lnTo>
                <a:lnTo>
                  <a:pt x="192" y="1440"/>
                </a:lnTo>
                <a:lnTo>
                  <a:pt x="187" y="1441"/>
                </a:lnTo>
                <a:lnTo>
                  <a:pt x="183" y="1443"/>
                </a:lnTo>
                <a:lnTo>
                  <a:pt x="177" y="1447"/>
                </a:lnTo>
                <a:lnTo>
                  <a:pt x="173" y="1451"/>
                </a:lnTo>
                <a:lnTo>
                  <a:pt x="169" y="1456"/>
                </a:lnTo>
                <a:lnTo>
                  <a:pt x="165" y="1461"/>
                </a:lnTo>
                <a:lnTo>
                  <a:pt x="163" y="1467"/>
                </a:lnTo>
                <a:lnTo>
                  <a:pt x="160" y="1472"/>
                </a:lnTo>
                <a:lnTo>
                  <a:pt x="154" y="1484"/>
                </a:lnTo>
                <a:lnTo>
                  <a:pt x="147" y="1499"/>
                </a:lnTo>
                <a:lnTo>
                  <a:pt x="143" y="1505"/>
                </a:lnTo>
                <a:lnTo>
                  <a:pt x="139" y="1511"/>
                </a:lnTo>
                <a:lnTo>
                  <a:pt x="136" y="1514"/>
                </a:lnTo>
                <a:lnTo>
                  <a:pt x="133" y="1516"/>
                </a:lnTo>
                <a:lnTo>
                  <a:pt x="124" y="1518"/>
                </a:lnTo>
                <a:lnTo>
                  <a:pt x="108" y="1523"/>
                </a:lnTo>
                <a:lnTo>
                  <a:pt x="100" y="1525"/>
                </a:lnTo>
                <a:lnTo>
                  <a:pt x="93" y="1528"/>
                </a:lnTo>
                <a:lnTo>
                  <a:pt x="87" y="1531"/>
                </a:lnTo>
                <a:lnTo>
                  <a:pt x="84" y="1535"/>
                </a:lnTo>
                <a:lnTo>
                  <a:pt x="80" y="1541"/>
                </a:lnTo>
                <a:lnTo>
                  <a:pt x="77" y="1548"/>
                </a:lnTo>
                <a:lnTo>
                  <a:pt x="76" y="1552"/>
                </a:lnTo>
                <a:lnTo>
                  <a:pt x="75" y="1556"/>
                </a:lnTo>
                <a:lnTo>
                  <a:pt x="75" y="1559"/>
                </a:lnTo>
                <a:lnTo>
                  <a:pt x="77" y="1561"/>
                </a:lnTo>
                <a:lnTo>
                  <a:pt x="88" y="1568"/>
                </a:lnTo>
                <a:lnTo>
                  <a:pt x="107" y="1582"/>
                </a:lnTo>
                <a:lnTo>
                  <a:pt x="117" y="1589"/>
                </a:lnTo>
                <a:lnTo>
                  <a:pt x="125" y="1595"/>
                </a:lnTo>
                <a:lnTo>
                  <a:pt x="131" y="1602"/>
                </a:lnTo>
                <a:lnTo>
                  <a:pt x="135" y="1607"/>
                </a:lnTo>
                <a:lnTo>
                  <a:pt x="139" y="1617"/>
                </a:lnTo>
                <a:lnTo>
                  <a:pt x="146" y="1628"/>
                </a:lnTo>
                <a:lnTo>
                  <a:pt x="153" y="1636"/>
                </a:lnTo>
                <a:lnTo>
                  <a:pt x="155" y="1639"/>
                </a:lnTo>
                <a:lnTo>
                  <a:pt x="160" y="1639"/>
                </a:lnTo>
                <a:lnTo>
                  <a:pt x="169" y="1638"/>
                </a:lnTo>
                <a:lnTo>
                  <a:pt x="173" y="1639"/>
                </a:lnTo>
                <a:lnTo>
                  <a:pt x="177" y="1640"/>
                </a:lnTo>
                <a:lnTo>
                  <a:pt x="180" y="1642"/>
                </a:lnTo>
                <a:lnTo>
                  <a:pt x="181" y="1643"/>
                </a:lnTo>
                <a:lnTo>
                  <a:pt x="182" y="1644"/>
                </a:lnTo>
                <a:lnTo>
                  <a:pt x="182" y="1646"/>
                </a:lnTo>
                <a:lnTo>
                  <a:pt x="185" y="1658"/>
                </a:lnTo>
                <a:lnTo>
                  <a:pt x="189" y="1667"/>
                </a:lnTo>
                <a:lnTo>
                  <a:pt x="189" y="1670"/>
                </a:lnTo>
                <a:lnTo>
                  <a:pt x="189" y="1674"/>
                </a:lnTo>
                <a:lnTo>
                  <a:pt x="189" y="1679"/>
                </a:lnTo>
                <a:lnTo>
                  <a:pt x="187" y="1684"/>
                </a:lnTo>
                <a:lnTo>
                  <a:pt x="186" y="1687"/>
                </a:lnTo>
                <a:lnTo>
                  <a:pt x="185" y="1688"/>
                </a:lnTo>
                <a:lnTo>
                  <a:pt x="183" y="1689"/>
                </a:lnTo>
                <a:lnTo>
                  <a:pt x="181" y="1690"/>
                </a:lnTo>
                <a:lnTo>
                  <a:pt x="177" y="1690"/>
                </a:lnTo>
                <a:lnTo>
                  <a:pt x="174" y="1688"/>
                </a:lnTo>
                <a:lnTo>
                  <a:pt x="170" y="1686"/>
                </a:lnTo>
                <a:lnTo>
                  <a:pt x="165" y="1683"/>
                </a:lnTo>
                <a:lnTo>
                  <a:pt x="140" y="1664"/>
                </a:lnTo>
                <a:lnTo>
                  <a:pt x="136" y="1659"/>
                </a:lnTo>
                <a:lnTo>
                  <a:pt x="130" y="1664"/>
                </a:lnTo>
                <a:lnTo>
                  <a:pt x="119" y="1675"/>
                </a:lnTo>
                <a:lnTo>
                  <a:pt x="103" y="1689"/>
                </a:lnTo>
                <a:lnTo>
                  <a:pt x="88" y="1700"/>
                </a:lnTo>
                <a:lnTo>
                  <a:pt x="81" y="1704"/>
                </a:lnTo>
                <a:lnTo>
                  <a:pt x="74" y="1706"/>
                </a:lnTo>
                <a:lnTo>
                  <a:pt x="66" y="1709"/>
                </a:lnTo>
                <a:lnTo>
                  <a:pt x="60" y="1710"/>
                </a:lnTo>
                <a:lnTo>
                  <a:pt x="55" y="1710"/>
                </a:lnTo>
                <a:lnTo>
                  <a:pt x="51" y="1712"/>
                </a:lnTo>
                <a:lnTo>
                  <a:pt x="50" y="1712"/>
                </a:lnTo>
                <a:lnTo>
                  <a:pt x="49" y="1713"/>
                </a:lnTo>
                <a:lnTo>
                  <a:pt x="49" y="1714"/>
                </a:lnTo>
                <a:lnTo>
                  <a:pt x="50" y="1716"/>
                </a:lnTo>
                <a:lnTo>
                  <a:pt x="65" y="1730"/>
                </a:lnTo>
                <a:lnTo>
                  <a:pt x="79" y="1741"/>
                </a:lnTo>
                <a:lnTo>
                  <a:pt x="79" y="1746"/>
                </a:lnTo>
                <a:lnTo>
                  <a:pt x="81" y="1754"/>
                </a:lnTo>
                <a:lnTo>
                  <a:pt x="82" y="1758"/>
                </a:lnTo>
                <a:lnTo>
                  <a:pt x="84" y="1761"/>
                </a:lnTo>
                <a:lnTo>
                  <a:pt x="87" y="1764"/>
                </a:lnTo>
                <a:lnTo>
                  <a:pt x="92" y="1767"/>
                </a:lnTo>
                <a:lnTo>
                  <a:pt x="97" y="1770"/>
                </a:lnTo>
                <a:lnTo>
                  <a:pt x="105" y="1772"/>
                </a:lnTo>
                <a:lnTo>
                  <a:pt x="114" y="1776"/>
                </a:lnTo>
                <a:lnTo>
                  <a:pt x="123" y="1777"/>
                </a:lnTo>
                <a:lnTo>
                  <a:pt x="140" y="1780"/>
                </a:lnTo>
                <a:lnTo>
                  <a:pt x="150" y="1782"/>
                </a:lnTo>
                <a:lnTo>
                  <a:pt x="157" y="1782"/>
                </a:lnTo>
                <a:lnTo>
                  <a:pt x="164" y="1780"/>
                </a:lnTo>
                <a:lnTo>
                  <a:pt x="168" y="1779"/>
                </a:lnTo>
                <a:lnTo>
                  <a:pt x="172" y="1778"/>
                </a:lnTo>
                <a:lnTo>
                  <a:pt x="174" y="1776"/>
                </a:lnTo>
                <a:lnTo>
                  <a:pt x="176" y="1774"/>
                </a:lnTo>
                <a:lnTo>
                  <a:pt x="181" y="1767"/>
                </a:lnTo>
                <a:lnTo>
                  <a:pt x="185" y="1762"/>
                </a:lnTo>
                <a:lnTo>
                  <a:pt x="187" y="1761"/>
                </a:lnTo>
                <a:lnTo>
                  <a:pt x="188" y="1761"/>
                </a:lnTo>
                <a:lnTo>
                  <a:pt x="189" y="1762"/>
                </a:lnTo>
                <a:lnTo>
                  <a:pt x="190" y="1765"/>
                </a:lnTo>
                <a:lnTo>
                  <a:pt x="192" y="1775"/>
                </a:lnTo>
                <a:lnTo>
                  <a:pt x="196" y="1782"/>
                </a:lnTo>
                <a:lnTo>
                  <a:pt x="199" y="1787"/>
                </a:lnTo>
                <a:lnTo>
                  <a:pt x="204" y="1790"/>
                </a:lnTo>
                <a:lnTo>
                  <a:pt x="206" y="1794"/>
                </a:lnTo>
                <a:lnTo>
                  <a:pt x="206" y="1798"/>
                </a:lnTo>
                <a:lnTo>
                  <a:pt x="204" y="1802"/>
                </a:lnTo>
                <a:lnTo>
                  <a:pt x="199" y="1805"/>
                </a:lnTo>
                <a:lnTo>
                  <a:pt x="182" y="1811"/>
                </a:lnTo>
                <a:lnTo>
                  <a:pt x="169" y="1813"/>
                </a:lnTo>
                <a:lnTo>
                  <a:pt x="168" y="1819"/>
                </a:lnTo>
                <a:lnTo>
                  <a:pt x="165" y="1828"/>
                </a:lnTo>
                <a:lnTo>
                  <a:pt x="163" y="1833"/>
                </a:lnTo>
                <a:lnTo>
                  <a:pt x="160" y="1837"/>
                </a:lnTo>
                <a:lnTo>
                  <a:pt x="159" y="1838"/>
                </a:lnTo>
                <a:lnTo>
                  <a:pt x="158" y="1840"/>
                </a:lnTo>
                <a:lnTo>
                  <a:pt x="155" y="1841"/>
                </a:lnTo>
                <a:lnTo>
                  <a:pt x="154" y="1840"/>
                </a:lnTo>
                <a:lnTo>
                  <a:pt x="148" y="1835"/>
                </a:lnTo>
                <a:lnTo>
                  <a:pt x="142" y="1832"/>
                </a:lnTo>
                <a:lnTo>
                  <a:pt x="139" y="1831"/>
                </a:lnTo>
                <a:lnTo>
                  <a:pt x="136" y="1831"/>
                </a:lnTo>
                <a:lnTo>
                  <a:pt x="132" y="1832"/>
                </a:lnTo>
                <a:lnTo>
                  <a:pt x="130" y="1835"/>
                </a:lnTo>
                <a:lnTo>
                  <a:pt x="123" y="1843"/>
                </a:lnTo>
                <a:lnTo>
                  <a:pt x="117" y="1850"/>
                </a:lnTo>
                <a:lnTo>
                  <a:pt x="114" y="1853"/>
                </a:lnTo>
                <a:lnTo>
                  <a:pt x="113" y="1856"/>
                </a:lnTo>
                <a:lnTo>
                  <a:pt x="111" y="1859"/>
                </a:lnTo>
                <a:lnTo>
                  <a:pt x="113" y="1863"/>
                </a:lnTo>
                <a:lnTo>
                  <a:pt x="114" y="1866"/>
                </a:lnTo>
                <a:lnTo>
                  <a:pt x="115" y="1868"/>
                </a:lnTo>
                <a:lnTo>
                  <a:pt x="114" y="1870"/>
                </a:lnTo>
                <a:lnTo>
                  <a:pt x="114" y="1872"/>
                </a:lnTo>
                <a:lnTo>
                  <a:pt x="110" y="1874"/>
                </a:lnTo>
                <a:lnTo>
                  <a:pt x="107" y="1878"/>
                </a:lnTo>
                <a:lnTo>
                  <a:pt x="102" y="1880"/>
                </a:lnTo>
                <a:lnTo>
                  <a:pt x="97" y="1882"/>
                </a:lnTo>
                <a:lnTo>
                  <a:pt x="95" y="1885"/>
                </a:lnTo>
                <a:lnTo>
                  <a:pt x="93" y="1889"/>
                </a:lnTo>
                <a:lnTo>
                  <a:pt x="92" y="1895"/>
                </a:lnTo>
                <a:lnTo>
                  <a:pt x="92" y="1904"/>
                </a:lnTo>
                <a:lnTo>
                  <a:pt x="92" y="1915"/>
                </a:lnTo>
                <a:lnTo>
                  <a:pt x="94" y="1924"/>
                </a:lnTo>
                <a:lnTo>
                  <a:pt x="96" y="1933"/>
                </a:lnTo>
                <a:lnTo>
                  <a:pt x="98" y="1940"/>
                </a:lnTo>
                <a:lnTo>
                  <a:pt x="101" y="1947"/>
                </a:lnTo>
                <a:lnTo>
                  <a:pt x="104" y="1953"/>
                </a:lnTo>
                <a:lnTo>
                  <a:pt x="107" y="1957"/>
                </a:lnTo>
                <a:lnTo>
                  <a:pt x="110" y="1960"/>
                </a:lnTo>
                <a:lnTo>
                  <a:pt x="122" y="1971"/>
                </a:lnTo>
                <a:lnTo>
                  <a:pt x="141" y="1990"/>
                </a:lnTo>
                <a:lnTo>
                  <a:pt x="144" y="1994"/>
                </a:lnTo>
                <a:lnTo>
                  <a:pt x="148" y="1996"/>
                </a:lnTo>
                <a:lnTo>
                  <a:pt x="151" y="1996"/>
                </a:lnTo>
                <a:lnTo>
                  <a:pt x="154" y="1997"/>
                </a:lnTo>
                <a:lnTo>
                  <a:pt x="161" y="1996"/>
                </a:lnTo>
                <a:lnTo>
                  <a:pt x="167" y="1993"/>
                </a:lnTo>
                <a:lnTo>
                  <a:pt x="172" y="1989"/>
                </a:lnTo>
                <a:lnTo>
                  <a:pt x="177" y="1987"/>
                </a:lnTo>
                <a:lnTo>
                  <a:pt x="179" y="1986"/>
                </a:lnTo>
                <a:lnTo>
                  <a:pt x="181" y="1986"/>
                </a:lnTo>
                <a:lnTo>
                  <a:pt x="183" y="1986"/>
                </a:lnTo>
                <a:lnTo>
                  <a:pt x="184" y="1987"/>
                </a:lnTo>
                <a:lnTo>
                  <a:pt x="185" y="1991"/>
                </a:lnTo>
                <a:lnTo>
                  <a:pt x="185" y="1999"/>
                </a:lnTo>
                <a:lnTo>
                  <a:pt x="184" y="2006"/>
                </a:lnTo>
                <a:lnTo>
                  <a:pt x="182" y="2015"/>
                </a:lnTo>
                <a:lnTo>
                  <a:pt x="182" y="2024"/>
                </a:lnTo>
                <a:lnTo>
                  <a:pt x="182" y="2032"/>
                </a:lnTo>
                <a:lnTo>
                  <a:pt x="182" y="2037"/>
                </a:lnTo>
                <a:lnTo>
                  <a:pt x="184" y="2041"/>
                </a:lnTo>
                <a:lnTo>
                  <a:pt x="185" y="2044"/>
                </a:lnTo>
                <a:lnTo>
                  <a:pt x="188" y="2047"/>
                </a:lnTo>
                <a:lnTo>
                  <a:pt x="194" y="2051"/>
                </a:lnTo>
                <a:lnTo>
                  <a:pt x="201" y="2053"/>
                </a:lnTo>
                <a:lnTo>
                  <a:pt x="207" y="2053"/>
                </a:lnTo>
                <a:lnTo>
                  <a:pt x="213" y="2052"/>
                </a:lnTo>
                <a:lnTo>
                  <a:pt x="218" y="2051"/>
                </a:lnTo>
                <a:lnTo>
                  <a:pt x="224" y="2048"/>
                </a:lnTo>
                <a:lnTo>
                  <a:pt x="228" y="2046"/>
                </a:lnTo>
                <a:lnTo>
                  <a:pt x="231" y="2043"/>
                </a:lnTo>
                <a:lnTo>
                  <a:pt x="233" y="2042"/>
                </a:lnTo>
                <a:lnTo>
                  <a:pt x="235" y="2042"/>
                </a:lnTo>
                <a:lnTo>
                  <a:pt x="237" y="2043"/>
                </a:lnTo>
                <a:lnTo>
                  <a:pt x="239" y="2045"/>
                </a:lnTo>
                <a:lnTo>
                  <a:pt x="241" y="2048"/>
                </a:lnTo>
                <a:lnTo>
                  <a:pt x="245" y="2050"/>
                </a:lnTo>
                <a:lnTo>
                  <a:pt x="248" y="2051"/>
                </a:lnTo>
                <a:lnTo>
                  <a:pt x="252" y="2052"/>
                </a:lnTo>
                <a:lnTo>
                  <a:pt x="258" y="2051"/>
                </a:lnTo>
                <a:lnTo>
                  <a:pt x="264" y="2048"/>
                </a:lnTo>
                <a:lnTo>
                  <a:pt x="272" y="2044"/>
                </a:lnTo>
                <a:lnTo>
                  <a:pt x="279" y="2040"/>
                </a:lnTo>
                <a:lnTo>
                  <a:pt x="285" y="2035"/>
                </a:lnTo>
                <a:lnTo>
                  <a:pt x="291" y="2033"/>
                </a:lnTo>
                <a:lnTo>
                  <a:pt x="292" y="2032"/>
                </a:lnTo>
                <a:lnTo>
                  <a:pt x="293" y="2033"/>
                </a:lnTo>
                <a:lnTo>
                  <a:pt x="293" y="2033"/>
                </a:lnTo>
                <a:lnTo>
                  <a:pt x="293" y="2035"/>
                </a:lnTo>
                <a:lnTo>
                  <a:pt x="287" y="2043"/>
                </a:lnTo>
                <a:lnTo>
                  <a:pt x="282" y="2047"/>
                </a:lnTo>
                <a:lnTo>
                  <a:pt x="281" y="2049"/>
                </a:lnTo>
                <a:lnTo>
                  <a:pt x="280" y="2051"/>
                </a:lnTo>
                <a:lnTo>
                  <a:pt x="279" y="2054"/>
                </a:lnTo>
                <a:lnTo>
                  <a:pt x="280" y="2059"/>
                </a:lnTo>
                <a:lnTo>
                  <a:pt x="284" y="2070"/>
                </a:lnTo>
                <a:lnTo>
                  <a:pt x="286" y="2073"/>
                </a:lnTo>
                <a:lnTo>
                  <a:pt x="278" y="2084"/>
                </a:lnTo>
                <a:lnTo>
                  <a:pt x="265" y="2100"/>
                </a:lnTo>
                <a:lnTo>
                  <a:pt x="250" y="2113"/>
                </a:lnTo>
                <a:lnTo>
                  <a:pt x="220" y="2134"/>
                </a:lnTo>
                <a:lnTo>
                  <a:pt x="189" y="2155"/>
                </a:lnTo>
                <a:lnTo>
                  <a:pt x="170" y="2167"/>
                </a:lnTo>
                <a:lnTo>
                  <a:pt x="160" y="2176"/>
                </a:lnTo>
                <a:lnTo>
                  <a:pt x="148" y="2185"/>
                </a:lnTo>
                <a:lnTo>
                  <a:pt x="138" y="2195"/>
                </a:lnTo>
                <a:lnTo>
                  <a:pt x="130" y="2200"/>
                </a:lnTo>
                <a:lnTo>
                  <a:pt x="124" y="2201"/>
                </a:lnTo>
                <a:lnTo>
                  <a:pt x="117" y="2202"/>
                </a:lnTo>
                <a:lnTo>
                  <a:pt x="114" y="2203"/>
                </a:lnTo>
                <a:lnTo>
                  <a:pt x="110" y="2204"/>
                </a:lnTo>
                <a:lnTo>
                  <a:pt x="108" y="2205"/>
                </a:lnTo>
                <a:lnTo>
                  <a:pt x="108" y="2208"/>
                </a:lnTo>
                <a:lnTo>
                  <a:pt x="108" y="2213"/>
                </a:lnTo>
                <a:lnTo>
                  <a:pt x="107" y="2217"/>
                </a:lnTo>
                <a:lnTo>
                  <a:pt x="107" y="2219"/>
                </a:lnTo>
                <a:lnTo>
                  <a:pt x="105" y="2220"/>
                </a:lnTo>
                <a:lnTo>
                  <a:pt x="103" y="2221"/>
                </a:lnTo>
                <a:lnTo>
                  <a:pt x="100" y="2221"/>
                </a:lnTo>
                <a:lnTo>
                  <a:pt x="92" y="2222"/>
                </a:lnTo>
                <a:lnTo>
                  <a:pt x="83" y="2223"/>
                </a:lnTo>
                <a:lnTo>
                  <a:pt x="80" y="2224"/>
                </a:lnTo>
                <a:lnTo>
                  <a:pt x="77" y="2225"/>
                </a:lnTo>
                <a:lnTo>
                  <a:pt x="74" y="2226"/>
                </a:lnTo>
                <a:lnTo>
                  <a:pt x="73" y="2228"/>
                </a:lnTo>
                <a:lnTo>
                  <a:pt x="70" y="2232"/>
                </a:lnTo>
                <a:lnTo>
                  <a:pt x="64" y="2237"/>
                </a:lnTo>
                <a:lnTo>
                  <a:pt x="59" y="2240"/>
                </a:lnTo>
                <a:lnTo>
                  <a:pt x="53" y="2242"/>
                </a:lnTo>
                <a:lnTo>
                  <a:pt x="46" y="2244"/>
                </a:lnTo>
                <a:lnTo>
                  <a:pt x="40" y="2249"/>
                </a:lnTo>
                <a:lnTo>
                  <a:pt x="36" y="2254"/>
                </a:lnTo>
                <a:lnTo>
                  <a:pt x="32" y="2261"/>
                </a:lnTo>
                <a:lnTo>
                  <a:pt x="29" y="2263"/>
                </a:lnTo>
                <a:lnTo>
                  <a:pt x="24" y="2263"/>
                </a:lnTo>
                <a:lnTo>
                  <a:pt x="19" y="2263"/>
                </a:lnTo>
                <a:lnTo>
                  <a:pt x="13" y="2263"/>
                </a:lnTo>
                <a:lnTo>
                  <a:pt x="8" y="2264"/>
                </a:lnTo>
                <a:lnTo>
                  <a:pt x="4" y="2265"/>
                </a:lnTo>
                <a:lnTo>
                  <a:pt x="2" y="2266"/>
                </a:lnTo>
                <a:lnTo>
                  <a:pt x="1" y="2268"/>
                </a:lnTo>
                <a:lnTo>
                  <a:pt x="0" y="2270"/>
                </a:lnTo>
                <a:lnTo>
                  <a:pt x="1" y="2273"/>
                </a:lnTo>
                <a:lnTo>
                  <a:pt x="2" y="2280"/>
                </a:lnTo>
                <a:lnTo>
                  <a:pt x="5" y="2285"/>
                </a:lnTo>
                <a:lnTo>
                  <a:pt x="7" y="2288"/>
                </a:lnTo>
                <a:lnTo>
                  <a:pt x="8" y="2290"/>
                </a:lnTo>
                <a:lnTo>
                  <a:pt x="10" y="2290"/>
                </a:lnTo>
                <a:lnTo>
                  <a:pt x="12" y="2290"/>
                </a:lnTo>
                <a:lnTo>
                  <a:pt x="14" y="2289"/>
                </a:lnTo>
                <a:lnTo>
                  <a:pt x="15" y="2287"/>
                </a:lnTo>
                <a:lnTo>
                  <a:pt x="19" y="2282"/>
                </a:lnTo>
                <a:lnTo>
                  <a:pt x="24" y="2274"/>
                </a:lnTo>
                <a:lnTo>
                  <a:pt x="27" y="2272"/>
                </a:lnTo>
                <a:lnTo>
                  <a:pt x="30" y="2270"/>
                </a:lnTo>
                <a:lnTo>
                  <a:pt x="32" y="2268"/>
                </a:lnTo>
                <a:lnTo>
                  <a:pt x="35" y="2268"/>
                </a:lnTo>
                <a:lnTo>
                  <a:pt x="41" y="2269"/>
                </a:lnTo>
                <a:lnTo>
                  <a:pt x="50" y="2267"/>
                </a:lnTo>
                <a:lnTo>
                  <a:pt x="55" y="2266"/>
                </a:lnTo>
                <a:lnTo>
                  <a:pt x="59" y="2264"/>
                </a:lnTo>
                <a:lnTo>
                  <a:pt x="64" y="2261"/>
                </a:lnTo>
                <a:lnTo>
                  <a:pt x="69" y="2258"/>
                </a:lnTo>
                <a:lnTo>
                  <a:pt x="73" y="2253"/>
                </a:lnTo>
                <a:lnTo>
                  <a:pt x="75" y="2248"/>
                </a:lnTo>
                <a:lnTo>
                  <a:pt x="76" y="2244"/>
                </a:lnTo>
                <a:lnTo>
                  <a:pt x="77" y="2240"/>
                </a:lnTo>
                <a:lnTo>
                  <a:pt x="79" y="2236"/>
                </a:lnTo>
                <a:lnTo>
                  <a:pt x="81" y="2232"/>
                </a:lnTo>
                <a:lnTo>
                  <a:pt x="85" y="2230"/>
                </a:lnTo>
                <a:lnTo>
                  <a:pt x="92" y="2230"/>
                </a:lnTo>
                <a:lnTo>
                  <a:pt x="103" y="2232"/>
                </a:lnTo>
                <a:lnTo>
                  <a:pt x="113" y="2233"/>
                </a:lnTo>
                <a:lnTo>
                  <a:pt x="116" y="2233"/>
                </a:lnTo>
                <a:lnTo>
                  <a:pt x="120" y="2231"/>
                </a:lnTo>
                <a:lnTo>
                  <a:pt x="124" y="2228"/>
                </a:lnTo>
                <a:lnTo>
                  <a:pt x="128" y="2223"/>
                </a:lnTo>
                <a:lnTo>
                  <a:pt x="137" y="2214"/>
                </a:lnTo>
                <a:lnTo>
                  <a:pt x="144" y="2206"/>
                </a:lnTo>
                <a:lnTo>
                  <a:pt x="147" y="2204"/>
                </a:lnTo>
                <a:lnTo>
                  <a:pt x="151" y="2203"/>
                </a:lnTo>
                <a:lnTo>
                  <a:pt x="155" y="2204"/>
                </a:lnTo>
                <a:lnTo>
                  <a:pt x="161" y="2205"/>
                </a:lnTo>
                <a:lnTo>
                  <a:pt x="167" y="2206"/>
                </a:lnTo>
                <a:lnTo>
                  <a:pt x="172" y="2206"/>
                </a:lnTo>
                <a:lnTo>
                  <a:pt x="176" y="2204"/>
                </a:lnTo>
                <a:lnTo>
                  <a:pt x="182" y="2203"/>
                </a:lnTo>
                <a:lnTo>
                  <a:pt x="187" y="2199"/>
                </a:lnTo>
                <a:lnTo>
                  <a:pt x="190" y="2197"/>
                </a:lnTo>
                <a:lnTo>
                  <a:pt x="191" y="2192"/>
                </a:lnTo>
                <a:lnTo>
                  <a:pt x="194" y="2183"/>
                </a:lnTo>
                <a:lnTo>
                  <a:pt x="196" y="2181"/>
                </a:lnTo>
                <a:lnTo>
                  <a:pt x="197" y="2180"/>
                </a:lnTo>
                <a:lnTo>
                  <a:pt x="199" y="2179"/>
                </a:lnTo>
                <a:lnTo>
                  <a:pt x="203" y="2178"/>
                </a:lnTo>
                <a:lnTo>
                  <a:pt x="205" y="2178"/>
                </a:lnTo>
                <a:lnTo>
                  <a:pt x="208" y="2179"/>
                </a:lnTo>
                <a:lnTo>
                  <a:pt x="212" y="2181"/>
                </a:lnTo>
                <a:lnTo>
                  <a:pt x="215" y="2184"/>
                </a:lnTo>
                <a:lnTo>
                  <a:pt x="224" y="2192"/>
                </a:lnTo>
                <a:lnTo>
                  <a:pt x="233" y="2197"/>
                </a:lnTo>
                <a:lnTo>
                  <a:pt x="242" y="2201"/>
                </a:lnTo>
                <a:lnTo>
                  <a:pt x="251" y="2203"/>
                </a:lnTo>
                <a:lnTo>
                  <a:pt x="257" y="2204"/>
                </a:lnTo>
                <a:lnTo>
                  <a:pt x="261" y="2204"/>
                </a:lnTo>
                <a:lnTo>
                  <a:pt x="262" y="2202"/>
                </a:lnTo>
                <a:lnTo>
                  <a:pt x="262" y="2201"/>
                </a:lnTo>
                <a:lnTo>
                  <a:pt x="261" y="2199"/>
                </a:lnTo>
                <a:lnTo>
                  <a:pt x="259" y="2196"/>
                </a:lnTo>
                <a:lnTo>
                  <a:pt x="248" y="2184"/>
                </a:lnTo>
                <a:lnTo>
                  <a:pt x="237" y="2174"/>
                </a:lnTo>
                <a:lnTo>
                  <a:pt x="232" y="2170"/>
                </a:lnTo>
                <a:lnTo>
                  <a:pt x="230" y="2165"/>
                </a:lnTo>
                <a:lnTo>
                  <a:pt x="229" y="2164"/>
                </a:lnTo>
                <a:lnTo>
                  <a:pt x="229" y="2163"/>
                </a:lnTo>
                <a:lnTo>
                  <a:pt x="230" y="2162"/>
                </a:lnTo>
                <a:lnTo>
                  <a:pt x="231" y="2162"/>
                </a:lnTo>
                <a:lnTo>
                  <a:pt x="239" y="2161"/>
                </a:lnTo>
                <a:lnTo>
                  <a:pt x="252" y="2160"/>
                </a:lnTo>
                <a:lnTo>
                  <a:pt x="258" y="2159"/>
                </a:lnTo>
                <a:lnTo>
                  <a:pt x="263" y="2158"/>
                </a:lnTo>
                <a:lnTo>
                  <a:pt x="268" y="2156"/>
                </a:lnTo>
                <a:lnTo>
                  <a:pt x="270" y="2153"/>
                </a:lnTo>
                <a:lnTo>
                  <a:pt x="274" y="2148"/>
                </a:lnTo>
                <a:lnTo>
                  <a:pt x="280" y="2140"/>
                </a:lnTo>
                <a:lnTo>
                  <a:pt x="290" y="2132"/>
                </a:lnTo>
                <a:lnTo>
                  <a:pt x="300" y="2122"/>
                </a:lnTo>
                <a:lnTo>
                  <a:pt x="311" y="2113"/>
                </a:lnTo>
                <a:lnTo>
                  <a:pt x="320" y="2104"/>
                </a:lnTo>
                <a:lnTo>
                  <a:pt x="326" y="2096"/>
                </a:lnTo>
                <a:lnTo>
                  <a:pt x="330" y="2089"/>
                </a:lnTo>
                <a:lnTo>
                  <a:pt x="333" y="2083"/>
                </a:lnTo>
                <a:lnTo>
                  <a:pt x="337" y="2075"/>
                </a:lnTo>
                <a:lnTo>
                  <a:pt x="342" y="2067"/>
                </a:lnTo>
                <a:lnTo>
                  <a:pt x="348" y="2059"/>
                </a:lnTo>
                <a:lnTo>
                  <a:pt x="360" y="2044"/>
                </a:lnTo>
                <a:lnTo>
                  <a:pt x="367" y="2034"/>
                </a:lnTo>
                <a:lnTo>
                  <a:pt x="374" y="2021"/>
                </a:lnTo>
                <a:lnTo>
                  <a:pt x="385" y="1996"/>
                </a:lnTo>
                <a:lnTo>
                  <a:pt x="394" y="1973"/>
                </a:lnTo>
                <a:lnTo>
                  <a:pt x="397" y="1963"/>
                </a:lnTo>
                <a:lnTo>
                  <a:pt x="406" y="1955"/>
                </a:lnTo>
                <a:lnTo>
                  <a:pt x="423" y="1939"/>
                </a:lnTo>
                <a:lnTo>
                  <a:pt x="432" y="1932"/>
                </a:lnTo>
                <a:lnTo>
                  <a:pt x="440" y="1925"/>
                </a:lnTo>
                <a:lnTo>
                  <a:pt x="444" y="1924"/>
                </a:lnTo>
                <a:lnTo>
                  <a:pt x="446" y="1923"/>
                </a:lnTo>
                <a:lnTo>
                  <a:pt x="448" y="1924"/>
                </a:lnTo>
                <a:lnTo>
                  <a:pt x="449" y="1926"/>
                </a:lnTo>
                <a:lnTo>
                  <a:pt x="450" y="1936"/>
                </a:lnTo>
                <a:lnTo>
                  <a:pt x="450" y="1942"/>
                </a:lnTo>
                <a:lnTo>
                  <a:pt x="449" y="1944"/>
                </a:lnTo>
                <a:lnTo>
                  <a:pt x="448" y="1945"/>
                </a:lnTo>
                <a:lnTo>
                  <a:pt x="446" y="1946"/>
                </a:lnTo>
                <a:lnTo>
                  <a:pt x="444" y="1946"/>
                </a:lnTo>
                <a:lnTo>
                  <a:pt x="438" y="1946"/>
                </a:lnTo>
                <a:lnTo>
                  <a:pt x="434" y="1946"/>
                </a:lnTo>
                <a:lnTo>
                  <a:pt x="432" y="1946"/>
                </a:lnTo>
                <a:lnTo>
                  <a:pt x="429" y="1948"/>
                </a:lnTo>
                <a:lnTo>
                  <a:pt x="427" y="1952"/>
                </a:lnTo>
                <a:lnTo>
                  <a:pt x="425" y="1956"/>
                </a:lnTo>
                <a:lnTo>
                  <a:pt x="419" y="1966"/>
                </a:lnTo>
                <a:lnTo>
                  <a:pt x="414" y="1977"/>
                </a:lnTo>
                <a:lnTo>
                  <a:pt x="411" y="1981"/>
                </a:lnTo>
                <a:lnTo>
                  <a:pt x="410" y="1985"/>
                </a:lnTo>
                <a:lnTo>
                  <a:pt x="409" y="1989"/>
                </a:lnTo>
                <a:lnTo>
                  <a:pt x="410" y="1993"/>
                </a:lnTo>
                <a:lnTo>
                  <a:pt x="410" y="1997"/>
                </a:lnTo>
                <a:lnTo>
                  <a:pt x="410" y="2001"/>
                </a:lnTo>
                <a:lnTo>
                  <a:pt x="409" y="2005"/>
                </a:lnTo>
                <a:lnTo>
                  <a:pt x="408" y="2010"/>
                </a:lnTo>
                <a:lnTo>
                  <a:pt x="404" y="2019"/>
                </a:lnTo>
                <a:lnTo>
                  <a:pt x="399" y="2024"/>
                </a:lnTo>
                <a:lnTo>
                  <a:pt x="395" y="2031"/>
                </a:lnTo>
                <a:lnTo>
                  <a:pt x="391" y="2044"/>
                </a:lnTo>
                <a:lnTo>
                  <a:pt x="388" y="2051"/>
                </a:lnTo>
                <a:lnTo>
                  <a:pt x="385" y="2059"/>
                </a:lnTo>
                <a:lnTo>
                  <a:pt x="381" y="2065"/>
                </a:lnTo>
                <a:lnTo>
                  <a:pt x="375" y="2070"/>
                </a:lnTo>
                <a:lnTo>
                  <a:pt x="363" y="2077"/>
                </a:lnTo>
                <a:lnTo>
                  <a:pt x="351" y="2081"/>
                </a:lnTo>
                <a:lnTo>
                  <a:pt x="347" y="2083"/>
                </a:lnTo>
                <a:lnTo>
                  <a:pt x="344" y="2085"/>
                </a:lnTo>
                <a:lnTo>
                  <a:pt x="342" y="2088"/>
                </a:lnTo>
                <a:lnTo>
                  <a:pt x="342" y="2092"/>
                </a:lnTo>
                <a:lnTo>
                  <a:pt x="343" y="2096"/>
                </a:lnTo>
                <a:lnTo>
                  <a:pt x="346" y="2100"/>
                </a:lnTo>
                <a:lnTo>
                  <a:pt x="349" y="2103"/>
                </a:lnTo>
                <a:lnTo>
                  <a:pt x="353" y="2105"/>
                </a:lnTo>
                <a:lnTo>
                  <a:pt x="357" y="2108"/>
                </a:lnTo>
                <a:lnTo>
                  <a:pt x="359" y="2110"/>
                </a:lnTo>
                <a:lnTo>
                  <a:pt x="360" y="2111"/>
                </a:lnTo>
                <a:lnTo>
                  <a:pt x="360" y="2113"/>
                </a:lnTo>
                <a:lnTo>
                  <a:pt x="359" y="2115"/>
                </a:lnTo>
                <a:lnTo>
                  <a:pt x="357" y="2117"/>
                </a:lnTo>
                <a:lnTo>
                  <a:pt x="353" y="2121"/>
                </a:lnTo>
                <a:lnTo>
                  <a:pt x="351" y="2126"/>
                </a:lnTo>
                <a:lnTo>
                  <a:pt x="349" y="2129"/>
                </a:lnTo>
                <a:lnTo>
                  <a:pt x="348" y="2133"/>
                </a:lnTo>
                <a:lnTo>
                  <a:pt x="348" y="2136"/>
                </a:lnTo>
                <a:lnTo>
                  <a:pt x="348" y="2139"/>
                </a:lnTo>
                <a:lnTo>
                  <a:pt x="349" y="2140"/>
                </a:lnTo>
                <a:lnTo>
                  <a:pt x="351" y="2141"/>
                </a:lnTo>
                <a:lnTo>
                  <a:pt x="355" y="2141"/>
                </a:lnTo>
                <a:lnTo>
                  <a:pt x="358" y="2139"/>
                </a:lnTo>
                <a:lnTo>
                  <a:pt x="362" y="2136"/>
                </a:lnTo>
                <a:lnTo>
                  <a:pt x="366" y="2133"/>
                </a:lnTo>
                <a:lnTo>
                  <a:pt x="372" y="2127"/>
                </a:lnTo>
                <a:lnTo>
                  <a:pt x="375" y="2123"/>
                </a:lnTo>
                <a:lnTo>
                  <a:pt x="387" y="2118"/>
                </a:lnTo>
                <a:lnTo>
                  <a:pt x="403" y="2108"/>
                </a:lnTo>
                <a:lnTo>
                  <a:pt x="405" y="2104"/>
                </a:lnTo>
                <a:lnTo>
                  <a:pt x="406" y="2098"/>
                </a:lnTo>
                <a:lnTo>
                  <a:pt x="407" y="2091"/>
                </a:lnTo>
                <a:lnTo>
                  <a:pt x="408" y="2084"/>
                </a:lnTo>
                <a:lnTo>
                  <a:pt x="408" y="2069"/>
                </a:lnTo>
                <a:lnTo>
                  <a:pt x="408" y="2064"/>
                </a:lnTo>
                <a:lnTo>
                  <a:pt x="407" y="2060"/>
                </a:lnTo>
                <a:lnTo>
                  <a:pt x="405" y="2049"/>
                </a:lnTo>
                <a:lnTo>
                  <a:pt x="406" y="2043"/>
                </a:lnTo>
                <a:lnTo>
                  <a:pt x="409" y="2035"/>
                </a:lnTo>
                <a:lnTo>
                  <a:pt x="411" y="2031"/>
                </a:lnTo>
                <a:lnTo>
                  <a:pt x="414" y="2028"/>
                </a:lnTo>
                <a:lnTo>
                  <a:pt x="418" y="2025"/>
                </a:lnTo>
                <a:lnTo>
                  <a:pt x="424" y="2022"/>
                </a:lnTo>
                <a:lnTo>
                  <a:pt x="443" y="2009"/>
                </a:lnTo>
                <a:lnTo>
                  <a:pt x="454" y="2001"/>
                </a:lnTo>
                <a:lnTo>
                  <a:pt x="462" y="1995"/>
                </a:lnTo>
                <a:lnTo>
                  <a:pt x="467" y="1993"/>
                </a:lnTo>
                <a:lnTo>
                  <a:pt x="471" y="1988"/>
                </a:lnTo>
                <a:lnTo>
                  <a:pt x="477" y="1982"/>
                </a:lnTo>
                <a:lnTo>
                  <a:pt x="480" y="1979"/>
                </a:lnTo>
                <a:lnTo>
                  <a:pt x="483" y="1978"/>
                </a:lnTo>
                <a:lnTo>
                  <a:pt x="486" y="1978"/>
                </a:lnTo>
                <a:lnTo>
                  <a:pt x="488" y="1978"/>
                </a:lnTo>
                <a:lnTo>
                  <a:pt x="490" y="1980"/>
                </a:lnTo>
                <a:lnTo>
                  <a:pt x="491" y="1981"/>
                </a:lnTo>
                <a:lnTo>
                  <a:pt x="493" y="1983"/>
                </a:lnTo>
                <a:lnTo>
                  <a:pt x="495" y="1984"/>
                </a:lnTo>
                <a:lnTo>
                  <a:pt x="497" y="1984"/>
                </a:lnTo>
                <a:lnTo>
                  <a:pt x="499" y="1984"/>
                </a:lnTo>
                <a:lnTo>
                  <a:pt x="503" y="1981"/>
                </a:lnTo>
                <a:lnTo>
                  <a:pt x="506" y="1977"/>
                </a:lnTo>
                <a:lnTo>
                  <a:pt x="509" y="1972"/>
                </a:lnTo>
                <a:lnTo>
                  <a:pt x="510" y="1966"/>
                </a:lnTo>
                <a:lnTo>
                  <a:pt x="510" y="1961"/>
                </a:lnTo>
                <a:lnTo>
                  <a:pt x="508" y="1958"/>
                </a:lnTo>
                <a:lnTo>
                  <a:pt x="505" y="1954"/>
                </a:lnTo>
                <a:lnTo>
                  <a:pt x="505" y="1950"/>
                </a:lnTo>
                <a:lnTo>
                  <a:pt x="505" y="1944"/>
                </a:lnTo>
                <a:lnTo>
                  <a:pt x="508" y="1939"/>
                </a:lnTo>
                <a:lnTo>
                  <a:pt x="510" y="1937"/>
                </a:lnTo>
                <a:lnTo>
                  <a:pt x="511" y="1936"/>
                </a:lnTo>
                <a:lnTo>
                  <a:pt x="513" y="1934"/>
                </a:lnTo>
                <a:lnTo>
                  <a:pt x="515" y="1934"/>
                </a:lnTo>
                <a:lnTo>
                  <a:pt x="517" y="1934"/>
                </a:lnTo>
                <a:lnTo>
                  <a:pt x="519" y="1935"/>
                </a:lnTo>
                <a:lnTo>
                  <a:pt x="521" y="1937"/>
                </a:lnTo>
                <a:lnTo>
                  <a:pt x="524" y="1940"/>
                </a:lnTo>
                <a:lnTo>
                  <a:pt x="530" y="1947"/>
                </a:lnTo>
                <a:lnTo>
                  <a:pt x="535" y="1953"/>
                </a:lnTo>
                <a:lnTo>
                  <a:pt x="540" y="1957"/>
                </a:lnTo>
                <a:lnTo>
                  <a:pt x="545" y="1960"/>
                </a:lnTo>
                <a:lnTo>
                  <a:pt x="553" y="1964"/>
                </a:lnTo>
                <a:lnTo>
                  <a:pt x="555" y="1966"/>
                </a:lnTo>
                <a:lnTo>
                  <a:pt x="564" y="1972"/>
                </a:lnTo>
                <a:lnTo>
                  <a:pt x="586" y="1981"/>
                </a:lnTo>
                <a:lnTo>
                  <a:pt x="590" y="1982"/>
                </a:lnTo>
                <a:lnTo>
                  <a:pt x="594" y="1982"/>
                </a:lnTo>
                <a:lnTo>
                  <a:pt x="598" y="1980"/>
                </a:lnTo>
                <a:lnTo>
                  <a:pt x="601" y="1978"/>
                </a:lnTo>
                <a:lnTo>
                  <a:pt x="606" y="1977"/>
                </a:lnTo>
                <a:lnTo>
                  <a:pt x="612" y="1978"/>
                </a:lnTo>
                <a:lnTo>
                  <a:pt x="622" y="1980"/>
                </a:lnTo>
                <a:lnTo>
                  <a:pt x="634" y="1986"/>
                </a:lnTo>
                <a:lnTo>
                  <a:pt x="657" y="2000"/>
                </a:lnTo>
                <a:lnTo>
                  <a:pt x="674" y="2010"/>
                </a:lnTo>
                <a:lnTo>
                  <a:pt x="687" y="2020"/>
                </a:lnTo>
                <a:lnTo>
                  <a:pt x="698" y="2028"/>
                </a:lnTo>
                <a:lnTo>
                  <a:pt x="706" y="2032"/>
                </a:lnTo>
                <a:lnTo>
                  <a:pt x="713" y="2034"/>
                </a:lnTo>
                <a:lnTo>
                  <a:pt x="721" y="2037"/>
                </a:lnTo>
                <a:lnTo>
                  <a:pt x="729" y="2038"/>
                </a:lnTo>
                <a:lnTo>
                  <a:pt x="733" y="2039"/>
                </a:lnTo>
                <a:lnTo>
                  <a:pt x="736" y="2041"/>
                </a:lnTo>
                <a:lnTo>
                  <a:pt x="739" y="2042"/>
                </a:lnTo>
                <a:lnTo>
                  <a:pt x="741" y="2045"/>
                </a:lnTo>
                <a:lnTo>
                  <a:pt x="744" y="2048"/>
                </a:lnTo>
                <a:lnTo>
                  <a:pt x="745" y="2052"/>
                </a:lnTo>
                <a:lnTo>
                  <a:pt x="747" y="2056"/>
                </a:lnTo>
                <a:lnTo>
                  <a:pt x="747" y="2063"/>
                </a:lnTo>
                <a:lnTo>
                  <a:pt x="750" y="2085"/>
                </a:lnTo>
                <a:lnTo>
                  <a:pt x="752" y="2103"/>
                </a:lnTo>
                <a:lnTo>
                  <a:pt x="754" y="2110"/>
                </a:lnTo>
                <a:lnTo>
                  <a:pt x="756" y="2116"/>
                </a:lnTo>
                <a:lnTo>
                  <a:pt x="760" y="2121"/>
                </a:lnTo>
                <a:lnTo>
                  <a:pt x="765" y="2126"/>
                </a:lnTo>
                <a:lnTo>
                  <a:pt x="783" y="2140"/>
                </a:lnTo>
                <a:lnTo>
                  <a:pt x="807" y="2163"/>
                </a:lnTo>
                <a:lnTo>
                  <a:pt x="832" y="2185"/>
                </a:lnTo>
                <a:lnTo>
                  <a:pt x="850" y="2201"/>
                </a:lnTo>
                <a:lnTo>
                  <a:pt x="857" y="2204"/>
                </a:lnTo>
                <a:lnTo>
                  <a:pt x="864" y="2206"/>
                </a:lnTo>
                <a:lnTo>
                  <a:pt x="872" y="2207"/>
                </a:lnTo>
                <a:lnTo>
                  <a:pt x="879" y="2209"/>
                </a:lnTo>
                <a:lnTo>
                  <a:pt x="886" y="2210"/>
                </a:lnTo>
                <a:lnTo>
                  <a:pt x="892" y="2214"/>
                </a:lnTo>
                <a:lnTo>
                  <a:pt x="895" y="2217"/>
                </a:lnTo>
                <a:lnTo>
                  <a:pt x="898" y="2219"/>
                </a:lnTo>
                <a:lnTo>
                  <a:pt x="900" y="2223"/>
                </a:lnTo>
                <a:lnTo>
                  <a:pt x="901" y="2227"/>
                </a:lnTo>
                <a:lnTo>
                  <a:pt x="906" y="2239"/>
                </a:lnTo>
                <a:lnTo>
                  <a:pt x="912" y="2250"/>
                </a:lnTo>
                <a:lnTo>
                  <a:pt x="918" y="2262"/>
                </a:lnTo>
                <a:lnTo>
                  <a:pt x="926" y="2272"/>
                </a:lnTo>
                <a:lnTo>
                  <a:pt x="937" y="2290"/>
                </a:lnTo>
                <a:lnTo>
                  <a:pt x="942" y="2297"/>
                </a:lnTo>
                <a:lnTo>
                  <a:pt x="944" y="2301"/>
                </a:lnTo>
                <a:lnTo>
                  <a:pt x="947" y="2309"/>
                </a:lnTo>
                <a:lnTo>
                  <a:pt x="948" y="2315"/>
                </a:lnTo>
                <a:lnTo>
                  <a:pt x="948" y="2324"/>
                </a:lnTo>
                <a:lnTo>
                  <a:pt x="945" y="2332"/>
                </a:lnTo>
                <a:lnTo>
                  <a:pt x="942" y="2342"/>
                </a:lnTo>
                <a:lnTo>
                  <a:pt x="941" y="2348"/>
                </a:lnTo>
                <a:lnTo>
                  <a:pt x="941" y="2352"/>
                </a:lnTo>
                <a:lnTo>
                  <a:pt x="943" y="2356"/>
                </a:lnTo>
                <a:lnTo>
                  <a:pt x="945" y="2360"/>
                </a:lnTo>
                <a:lnTo>
                  <a:pt x="952" y="2367"/>
                </a:lnTo>
                <a:lnTo>
                  <a:pt x="961" y="2374"/>
                </a:lnTo>
                <a:lnTo>
                  <a:pt x="972" y="2380"/>
                </a:lnTo>
                <a:lnTo>
                  <a:pt x="982" y="2389"/>
                </a:lnTo>
                <a:lnTo>
                  <a:pt x="987" y="2393"/>
                </a:lnTo>
                <a:lnTo>
                  <a:pt x="992" y="2398"/>
                </a:lnTo>
                <a:lnTo>
                  <a:pt x="995" y="2404"/>
                </a:lnTo>
                <a:lnTo>
                  <a:pt x="998" y="2411"/>
                </a:lnTo>
                <a:lnTo>
                  <a:pt x="1009" y="2436"/>
                </a:lnTo>
                <a:lnTo>
                  <a:pt x="1019" y="2460"/>
                </a:lnTo>
                <a:lnTo>
                  <a:pt x="1023" y="2472"/>
                </a:lnTo>
                <a:lnTo>
                  <a:pt x="1025" y="2485"/>
                </a:lnTo>
                <a:lnTo>
                  <a:pt x="1027" y="2500"/>
                </a:lnTo>
                <a:lnTo>
                  <a:pt x="1027" y="2515"/>
                </a:lnTo>
                <a:lnTo>
                  <a:pt x="1025" y="2532"/>
                </a:lnTo>
                <a:lnTo>
                  <a:pt x="1022" y="2547"/>
                </a:lnTo>
                <a:lnTo>
                  <a:pt x="1017" y="2562"/>
                </a:lnTo>
                <a:lnTo>
                  <a:pt x="1013" y="2576"/>
                </a:lnTo>
                <a:lnTo>
                  <a:pt x="1007" y="2590"/>
                </a:lnTo>
                <a:lnTo>
                  <a:pt x="1003" y="2602"/>
                </a:lnTo>
                <a:lnTo>
                  <a:pt x="1001" y="2614"/>
                </a:lnTo>
                <a:lnTo>
                  <a:pt x="1000" y="2626"/>
                </a:lnTo>
                <a:lnTo>
                  <a:pt x="1001" y="2632"/>
                </a:lnTo>
                <a:lnTo>
                  <a:pt x="1003" y="2639"/>
                </a:lnTo>
                <a:lnTo>
                  <a:pt x="1005" y="2645"/>
                </a:lnTo>
                <a:lnTo>
                  <a:pt x="1007" y="2653"/>
                </a:lnTo>
                <a:lnTo>
                  <a:pt x="1015" y="2667"/>
                </a:lnTo>
                <a:lnTo>
                  <a:pt x="1022" y="2683"/>
                </a:lnTo>
                <a:lnTo>
                  <a:pt x="1040" y="2713"/>
                </a:lnTo>
                <a:lnTo>
                  <a:pt x="1053" y="2742"/>
                </a:lnTo>
                <a:lnTo>
                  <a:pt x="1066" y="2768"/>
                </a:lnTo>
                <a:lnTo>
                  <a:pt x="1079" y="2794"/>
                </a:lnTo>
                <a:lnTo>
                  <a:pt x="1086" y="2806"/>
                </a:lnTo>
                <a:lnTo>
                  <a:pt x="1092" y="2816"/>
                </a:lnTo>
                <a:lnTo>
                  <a:pt x="1099" y="2824"/>
                </a:lnTo>
                <a:lnTo>
                  <a:pt x="1106" y="2831"/>
                </a:lnTo>
                <a:lnTo>
                  <a:pt x="1123" y="2837"/>
                </a:lnTo>
                <a:lnTo>
                  <a:pt x="1140" y="2843"/>
                </a:lnTo>
                <a:lnTo>
                  <a:pt x="1149" y="2845"/>
                </a:lnTo>
                <a:lnTo>
                  <a:pt x="1157" y="2850"/>
                </a:lnTo>
                <a:lnTo>
                  <a:pt x="1163" y="2854"/>
                </a:lnTo>
                <a:lnTo>
                  <a:pt x="1168" y="2858"/>
                </a:lnTo>
                <a:lnTo>
                  <a:pt x="1175" y="2872"/>
                </a:lnTo>
                <a:lnTo>
                  <a:pt x="1184" y="2886"/>
                </a:lnTo>
                <a:lnTo>
                  <a:pt x="1192" y="2900"/>
                </a:lnTo>
                <a:lnTo>
                  <a:pt x="1196" y="2910"/>
                </a:lnTo>
                <a:lnTo>
                  <a:pt x="1198" y="2920"/>
                </a:lnTo>
                <a:lnTo>
                  <a:pt x="1199" y="2931"/>
                </a:lnTo>
                <a:lnTo>
                  <a:pt x="1201" y="2938"/>
                </a:lnTo>
                <a:lnTo>
                  <a:pt x="1202" y="2943"/>
                </a:lnTo>
                <a:lnTo>
                  <a:pt x="1205" y="2949"/>
                </a:lnTo>
                <a:lnTo>
                  <a:pt x="1207" y="2953"/>
                </a:lnTo>
                <a:lnTo>
                  <a:pt x="1212" y="2957"/>
                </a:lnTo>
                <a:lnTo>
                  <a:pt x="1216" y="2960"/>
                </a:lnTo>
                <a:lnTo>
                  <a:pt x="1221" y="2962"/>
                </a:lnTo>
                <a:lnTo>
                  <a:pt x="1225" y="2964"/>
                </a:lnTo>
                <a:lnTo>
                  <a:pt x="1229" y="2966"/>
                </a:lnTo>
                <a:lnTo>
                  <a:pt x="1234" y="2968"/>
                </a:lnTo>
                <a:lnTo>
                  <a:pt x="1237" y="2970"/>
                </a:lnTo>
                <a:lnTo>
                  <a:pt x="1239" y="2974"/>
                </a:lnTo>
                <a:lnTo>
                  <a:pt x="1241" y="2989"/>
                </a:lnTo>
                <a:lnTo>
                  <a:pt x="1240" y="2996"/>
                </a:lnTo>
                <a:lnTo>
                  <a:pt x="1238" y="2997"/>
                </a:lnTo>
                <a:lnTo>
                  <a:pt x="1235" y="3000"/>
                </a:lnTo>
                <a:lnTo>
                  <a:pt x="1233" y="3003"/>
                </a:lnTo>
                <a:lnTo>
                  <a:pt x="1232" y="3005"/>
                </a:lnTo>
                <a:lnTo>
                  <a:pt x="1232" y="3008"/>
                </a:lnTo>
                <a:lnTo>
                  <a:pt x="1233" y="3010"/>
                </a:lnTo>
                <a:lnTo>
                  <a:pt x="1235" y="3013"/>
                </a:lnTo>
                <a:lnTo>
                  <a:pt x="1239" y="3015"/>
                </a:lnTo>
                <a:lnTo>
                  <a:pt x="1243" y="3017"/>
                </a:lnTo>
                <a:lnTo>
                  <a:pt x="1248" y="3019"/>
                </a:lnTo>
                <a:lnTo>
                  <a:pt x="1259" y="3023"/>
                </a:lnTo>
                <a:lnTo>
                  <a:pt x="1267" y="3028"/>
                </a:lnTo>
                <a:lnTo>
                  <a:pt x="1273" y="3035"/>
                </a:lnTo>
                <a:lnTo>
                  <a:pt x="1280" y="3044"/>
                </a:lnTo>
                <a:lnTo>
                  <a:pt x="1283" y="3050"/>
                </a:lnTo>
                <a:lnTo>
                  <a:pt x="1285" y="3055"/>
                </a:lnTo>
                <a:lnTo>
                  <a:pt x="1287" y="3060"/>
                </a:lnTo>
                <a:lnTo>
                  <a:pt x="1287" y="3065"/>
                </a:lnTo>
                <a:lnTo>
                  <a:pt x="1287" y="3074"/>
                </a:lnTo>
                <a:lnTo>
                  <a:pt x="1287" y="3079"/>
                </a:lnTo>
                <a:lnTo>
                  <a:pt x="1289" y="3082"/>
                </a:lnTo>
                <a:lnTo>
                  <a:pt x="1294" y="3087"/>
                </a:lnTo>
                <a:lnTo>
                  <a:pt x="1309" y="3092"/>
                </a:lnTo>
                <a:lnTo>
                  <a:pt x="1324" y="3097"/>
                </a:lnTo>
                <a:lnTo>
                  <a:pt x="1327" y="3100"/>
                </a:lnTo>
                <a:lnTo>
                  <a:pt x="1330" y="3101"/>
                </a:lnTo>
                <a:lnTo>
                  <a:pt x="1332" y="3101"/>
                </a:lnTo>
                <a:lnTo>
                  <a:pt x="1334" y="3102"/>
                </a:lnTo>
                <a:lnTo>
                  <a:pt x="1335" y="3102"/>
                </a:lnTo>
                <a:lnTo>
                  <a:pt x="1336" y="3103"/>
                </a:lnTo>
                <a:lnTo>
                  <a:pt x="1337" y="3105"/>
                </a:lnTo>
                <a:lnTo>
                  <a:pt x="1337" y="3108"/>
                </a:lnTo>
                <a:lnTo>
                  <a:pt x="1337" y="3116"/>
                </a:lnTo>
                <a:lnTo>
                  <a:pt x="1338" y="3121"/>
                </a:lnTo>
                <a:lnTo>
                  <a:pt x="1339" y="3124"/>
                </a:lnTo>
                <a:lnTo>
                  <a:pt x="1342" y="3125"/>
                </a:lnTo>
                <a:lnTo>
                  <a:pt x="1347" y="3124"/>
                </a:lnTo>
                <a:lnTo>
                  <a:pt x="1353" y="3122"/>
                </a:lnTo>
                <a:lnTo>
                  <a:pt x="1356" y="3120"/>
                </a:lnTo>
                <a:lnTo>
                  <a:pt x="1358" y="3118"/>
                </a:lnTo>
                <a:lnTo>
                  <a:pt x="1359" y="3115"/>
                </a:lnTo>
                <a:lnTo>
                  <a:pt x="1359" y="3110"/>
                </a:lnTo>
                <a:lnTo>
                  <a:pt x="1357" y="3104"/>
                </a:lnTo>
                <a:lnTo>
                  <a:pt x="1353" y="3098"/>
                </a:lnTo>
                <a:lnTo>
                  <a:pt x="1347" y="3091"/>
                </a:lnTo>
                <a:lnTo>
                  <a:pt x="1339" y="3083"/>
                </a:lnTo>
                <a:lnTo>
                  <a:pt x="1330" y="3072"/>
                </a:lnTo>
                <a:lnTo>
                  <a:pt x="1323" y="3060"/>
                </a:lnTo>
                <a:lnTo>
                  <a:pt x="1317" y="3050"/>
                </a:lnTo>
                <a:lnTo>
                  <a:pt x="1314" y="3041"/>
                </a:lnTo>
                <a:lnTo>
                  <a:pt x="1312" y="3036"/>
                </a:lnTo>
                <a:lnTo>
                  <a:pt x="1310" y="3032"/>
                </a:lnTo>
                <a:lnTo>
                  <a:pt x="1307" y="3029"/>
                </a:lnTo>
                <a:lnTo>
                  <a:pt x="1305" y="3027"/>
                </a:lnTo>
                <a:lnTo>
                  <a:pt x="1295" y="3015"/>
                </a:lnTo>
                <a:lnTo>
                  <a:pt x="1278" y="2992"/>
                </a:lnTo>
                <a:lnTo>
                  <a:pt x="1260" y="2969"/>
                </a:lnTo>
                <a:lnTo>
                  <a:pt x="1250" y="2957"/>
                </a:lnTo>
                <a:lnTo>
                  <a:pt x="1247" y="2951"/>
                </a:lnTo>
                <a:lnTo>
                  <a:pt x="1242" y="2941"/>
                </a:lnTo>
                <a:lnTo>
                  <a:pt x="1240" y="2934"/>
                </a:lnTo>
                <a:lnTo>
                  <a:pt x="1239" y="2929"/>
                </a:lnTo>
                <a:lnTo>
                  <a:pt x="1239" y="2926"/>
                </a:lnTo>
                <a:lnTo>
                  <a:pt x="1239" y="2924"/>
                </a:lnTo>
                <a:lnTo>
                  <a:pt x="1240" y="2923"/>
                </a:lnTo>
                <a:lnTo>
                  <a:pt x="1241" y="2921"/>
                </a:lnTo>
                <a:lnTo>
                  <a:pt x="1247" y="2917"/>
                </a:lnTo>
                <a:lnTo>
                  <a:pt x="1252" y="2915"/>
                </a:lnTo>
                <a:lnTo>
                  <a:pt x="1256" y="2915"/>
                </a:lnTo>
                <a:lnTo>
                  <a:pt x="1259" y="2915"/>
                </a:lnTo>
                <a:lnTo>
                  <a:pt x="1261" y="2917"/>
                </a:lnTo>
                <a:lnTo>
                  <a:pt x="1264" y="2921"/>
                </a:lnTo>
                <a:lnTo>
                  <a:pt x="1269" y="2933"/>
                </a:lnTo>
                <a:lnTo>
                  <a:pt x="1276" y="2944"/>
                </a:lnTo>
                <a:lnTo>
                  <a:pt x="1279" y="2948"/>
                </a:lnTo>
                <a:lnTo>
                  <a:pt x="1280" y="2952"/>
                </a:lnTo>
                <a:lnTo>
                  <a:pt x="1280" y="2956"/>
                </a:lnTo>
                <a:lnTo>
                  <a:pt x="1280" y="2962"/>
                </a:lnTo>
                <a:lnTo>
                  <a:pt x="1280" y="2966"/>
                </a:lnTo>
                <a:lnTo>
                  <a:pt x="1282" y="2971"/>
                </a:lnTo>
                <a:lnTo>
                  <a:pt x="1285" y="2975"/>
                </a:lnTo>
                <a:lnTo>
                  <a:pt x="1290" y="2981"/>
                </a:lnTo>
                <a:lnTo>
                  <a:pt x="1298" y="2986"/>
                </a:lnTo>
                <a:lnTo>
                  <a:pt x="1306" y="2994"/>
                </a:lnTo>
                <a:lnTo>
                  <a:pt x="1314" y="3004"/>
                </a:lnTo>
                <a:lnTo>
                  <a:pt x="1322" y="3013"/>
                </a:lnTo>
                <a:lnTo>
                  <a:pt x="1335" y="3032"/>
                </a:lnTo>
                <a:lnTo>
                  <a:pt x="1343" y="3042"/>
                </a:lnTo>
                <a:lnTo>
                  <a:pt x="1348" y="3049"/>
                </a:lnTo>
                <a:lnTo>
                  <a:pt x="1357" y="3055"/>
                </a:lnTo>
                <a:lnTo>
                  <a:pt x="1368" y="3063"/>
                </a:lnTo>
                <a:lnTo>
                  <a:pt x="1380" y="3074"/>
                </a:lnTo>
                <a:lnTo>
                  <a:pt x="1392" y="3084"/>
                </a:lnTo>
                <a:lnTo>
                  <a:pt x="1401" y="3093"/>
                </a:lnTo>
                <a:lnTo>
                  <a:pt x="1405" y="3097"/>
                </a:lnTo>
                <a:lnTo>
                  <a:pt x="1410" y="3101"/>
                </a:lnTo>
                <a:lnTo>
                  <a:pt x="1413" y="3106"/>
                </a:lnTo>
                <a:lnTo>
                  <a:pt x="1417" y="3113"/>
                </a:lnTo>
                <a:lnTo>
                  <a:pt x="1421" y="3119"/>
                </a:lnTo>
                <a:lnTo>
                  <a:pt x="1425" y="3124"/>
                </a:lnTo>
                <a:lnTo>
                  <a:pt x="1431" y="3129"/>
                </a:lnTo>
                <a:lnTo>
                  <a:pt x="1435" y="3134"/>
                </a:lnTo>
                <a:lnTo>
                  <a:pt x="1439" y="3138"/>
                </a:lnTo>
                <a:lnTo>
                  <a:pt x="1442" y="3142"/>
                </a:lnTo>
                <a:lnTo>
                  <a:pt x="1443" y="3146"/>
                </a:lnTo>
                <a:lnTo>
                  <a:pt x="1442" y="3152"/>
                </a:lnTo>
                <a:lnTo>
                  <a:pt x="1438" y="3162"/>
                </a:lnTo>
                <a:lnTo>
                  <a:pt x="1433" y="3168"/>
                </a:lnTo>
                <a:lnTo>
                  <a:pt x="1432" y="3171"/>
                </a:lnTo>
                <a:lnTo>
                  <a:pt x="1431" y="3173"/>
                </a:lnTo>
                <a:lnTo>
                  <a:pt x="1431" y="3175"/>
                </a:lnTo>
                <a:lnTo>
                  <a:pt x="1431" y="3178"/>
                </a:lnTo>
                <a:lnTo>
                  <a:pt x="1436" y="3185"/>
                </a:lnTo>
                <a:lnTo>
                  <a:pt x="1446" y="3196"/>
                </a:lnTo>
                <a:lnTo>
                  <a:pt x="1461" y="3209"/>
                </a:lnTo>
                <a:lnTo>
                  <a:pt x="1477" y="3222"/>
                </a:lnTo>
                <a:lnTo>
                  <a:pt x="1487" y="3227"/>
                </a:lnTo>
                <a:lnTo>
                  <a:pt x="1499" y="3233"/>
                </a:lnTo>
                <a:lnTo>
                  <a:pt x="1513" y="3238"/>
                </a:lnTo>
                <a:lnTo>
                  <a:pt x="1528" y="3245"/>
                </a:lnTo>
                <a:lnTo>
                  <a:pt x="1555" y="3254"/>
                </a:lnTo>
                <a:lnTo>
                  <a:pt x="1577" y="3262"/>
                </a:lnTo>
                <a:lnTo>
                  <a:pt x="1596" y="3273"/>
                </a:lnTo>
                <a:lnTo>
                  <a:pt x="1617" y="3284"/>
                </a:lnTo>
                <a:lnTo>
                  <a:pt x="1628" y="3290"/>
                </a:lnTo>
                <a:lnTo>
                  <a:pt x="1636" y="3294"/>
                </a:lnTo>
                <a:lnTo>
                  <a:pt x="1639" y="3294"/>
                </a:lnTo>
                <a:lnTo>
                  <a:pt x="1642" y="3295"/>
                </a:lnTo>
                <a:lnTo>
                  <a:pt x="1645" y="3294"/>
                </a:lnTo>
                <a:lnTo>
                  <a:pt x="1647" y="3292"/>
                </a:lnTo>
                <a:lnTo>
                  <a:pt x="1656" y="3282"/>
                </a:lnTo>
                <a:lnTo>
                  <a:pt x="1666" y="3273"/>
                </a:lnTo>
                <a:lnTo>
                  <a:pt x="1672" y="3269"/>
                </a:lnTo>
                <a:lnTo>
                  <a:pt x="1677" y="3267"/>
                </a:lnTo>
                <a:lnTo>
                  <a:pt x="1681" y="3264"/>
                </a:lnTo>
                <a:lnTo>
                  <a:pt x="1684" y="3266"/>
                </a:lnTo>
                <a:lnTo>
                  <a:pt x="1688" y="3270"/>
                </a:lnTo>
                <a:lnTo>
                  <a:pt x="1693" y="3277"/>
                </a:lnTo>
                <a:lnTo>
                  <a:pt x="1695" y="3280"/>
                </a:lnTo>
                <a:lnTo>
                  <a:pt x="1698" y="3282"/>
                </a:lnTo>
                <a:lnTo>
                  <a:pt x="1703" y="3284"/>
                </a:lnTo>
                <a:lnTo>
                  <a:pt x="1708" y="3284"/>
                </a:lnTo>
                <a:lnTo>
                  <a:pt x="1716" y="3285"/>
                </a:lnTo>
                <a:lnTo>
                  <a:pt x="1722" y="3289"/>
                </a:lnTo>
                <a:lnTo>
                  <a:pt x="1728" y="3292"/>
                </a:lnTo>
                <a:lnTo>
                  <a:pt x="1734" y="3297"/>
                </a:lnTo>
                <a:lnTo>
                  <a:pt x="1745" y="3306"/>
                </a:lnTo>
                <a:lnTo>
                  <a:pt x="1753" y="3315"/>
                </a:lnTo>
                <a:lnTo>
                  <a:pt x="1764" y="3321"/>
                </a:lnTo>
                <a:lnTo>
                  <a:pt x="1778" y="3329"/>
                </a:lnTo>
                <a:lnTo>
                  <a:pt x="1793" y="3336"/>
                </a:lnTo>
                <a:lnTo>
                  <a:pt x="1803" y="3341"/>
                </a:lnTo>
                <a:lnTo>
                  <a:pt x="1806" y="3342"/>
                </a:lnTo>
                <a:lnTo>
                  <a:pt x="1810" y="3341"/>
                </a:lnTo>
                <a:lnTo>
                  <a:pt x="1813" y="3338"/>
                </a:lnTo>
                <a:lnTo>
                  <a:pt x="1818" y="3337"/>
                </a:lnTo>
                <a:lnTo>
                  <a:pt x="1820" y="3336"/>
                </a:lnTo>
                <a:lnTo>
                  <a:pt x="1822" y="3336"/>
                </a:lnTo>
                <a:lnTo>
                  <a:pt x="1826" y="3337"/>
                </a:lnTo>
                <a:lnTo>
                  <a:pt x="1828" y="3338"/>
                </a:lnTo>
                <a:lnTo>
                  <a:pt x="1831" y="3340"/>
                </a:lnTo>
                <a:lnTo>
                  <a:pt x="1833" y="3343"/>
                </a:lnTo>
                <a:lnTo>
                  <a:pt x="1836" y="3348"/>
                </a:lnTo>
                <a:lnTo>
                  <a:pt x="1839" y="3354"/>
                </a:lnTo>
                <a:lnTo>
                  <a:pt x="1849" y="3374"/>
                </a:lnTo>
                <a:lnTo>
                  <a:pt x="1856" y="3387"/>
                </a:lnTo>
                <a:lnTo>
                  <a:pt x="1862" y="3396"/>
                </a:lnTo>
                <a:lnTo>
                  <a:pt x="1870" y="3407"/>
                </a:lnTo>
                <a:lnTo>
                  <a:pt x="1876" y="3413"/>
                </a:lnTo>
                <a:lnTo>
                  <a:pt x="1884" y="3421"/>
                </a:lnTo>
                <a:lnTo>
                  <a:pt x="1895" y="3429"/>
                </a:lnTo>
                <a:lnTo>
                  <a:pt x="1905" y="3436"/>
                </a:lnTo>
                <a:lnTo>
                  <a:pt x="1925" y="3450"/>
                </a:lnTo>
                <a:lnTo>
                  <a:pt x="1936" y="3458"/>
                </a:lnTo>
                <a:lnTo>
                  <a:pt x="1938" y="3460"/>
                </a:lnTo>
                <a:lnTo>
                  <a:pt x="1942" y="3465"/>
                </a:lnTo>
                <a:lnTo>
                  <a:pt x="1947" y="3468"/>
                </a:lnTo>
                <a:lnTo>
                  <a:pt x="1953" y="3472"/>
                </a:lnTo>
                <a:lnTo>
                  <a:pt x="1962" y="3474"/>
                </a:lnTo>
                <a:lnTo>
                  <a:pt x="1969" y="3476"/>
                </a:lnTo>
                <a:lnTo>
                  <a:pt x="1973" y="3476"/>
                </a:lnTo>
                <a:lnTo>
                  <a:pt x="1978" y="3476"/>
                </a:lnTo>
                <a:lnTo>
                  <a:pt x="1982" y="3476"/>
                </a:lnTo>
                <a:lnTo>
                  <a:pt x="1986" y="3475"/>
                </a:lnTo>
                <a:lnTo>
                  <a:pt x="1998" y="3467"/>
                </a:lnTo>
                <a:lnTo>
                  <a:pt x="2007" y="3459"/>
                </a:lnTo>
                <a:lnTo>
                  <a:pt x="2011" y="3457"/>
                </a:lnTo>
                <a:lnTo>
                  <a:pt x="2015" y="3456"/>
                </a:lnTo>
                <a:lnTo>
                  <a:pt x="2020" y="3457"/>
                </a:lnTo>
                <a:lnTo>
                  <a:pt x="2027" y="3460"/>
                </a:lnTo>
                <a:lnTo>
                  <a:pt x="2033" y="3464"/>
                </a:lnTo>
                <a:lnTo>
                  <a:pt x="2039" y="3466"/>
                </a:lnTo>
                <a:lnTo>
                  <a:pt x="2045" y="3467"/>
                </a:lnTo>
                <a:lnTo>
                  <a:pt x="2049" y="3468"/>
                </a:lnTo>
                <a:lnTo>
                  <a:pt x="2053" y="3469"/>
                </a:lnTo>
                <a:lnTo>
                  <a:pt x="2055" y="3471"/>
                </a:lnTo>
                <a:lnTo>
                  <a:pt x="2057" y="3474"/>
                </a:lnTo>
                <a:lnTo>
                  <a:pt x="2057" y="3478"/>
                </a:lnTo>
                <a:lnTo>
                  <a:pt x="2058" y="3485"/>
                </a:lnTo>
                <a:lnTo>
                  <a:pt x="2061" y="3491"/>
                </a:lnTo>
                <a:lnTo>
                  <a:pt x="2064" y="3497"/>
                </a:lnTo>
                <a:lnTo>
                  <a:pt x="2068" y="3504"/>
                </a:lnTo>
                <a:lnTo>
                  <a:pt x="2070" y="3512"/>
                </a:lnTo>
                <a:lnTo>
                  <a:pt x="2070" y="3520"/>
                </a:lnTo>
                <a:lnTo>
                  <a:pt x="2069" y="3524"/>
                </a:lnTo>
                <a:lnTo>
                  <a:pt x="2068" y="3530"/>
                </a:lnTo>
                <a:lnTo>
                  <a:pt x="2064" y="3534"/>
                </a:lnTo>
                <a:lnTo>
                  <a:pt x="2060" y="3539"/>
                </a:lnTo>
                <a:lnTo>
                  <a:pt x="2039" y="3564"/>
                </a:lnTo>
                <a:lnTo>
                  <a:pt x="2016" y="3591"/>
                </a:lnTo>
                <a:lnTo>
                  <a:pt x="2006" y="3604"/>
                </a:lnTo>
                <a:lnTo>
                  <a:pt x="1996" y="3615"/>
                </a:lnTo>
                <a:lnTo>
                  <a:pt x="1989" y="3626"/>
                </a:lnTo>
                <a:lnTo>
                  <a:pt x="1986" y="3633"/>
                </a:lnTo>
                <a:lnTo>
                  <a:pt x="1985" y="3641"/>
                </a:lnTo>
                <a:lnTo>
                  <a:pt x="1985" y="3651"/>
                </a:lnTo>
                <a:lnTo>
                  <a:pt x="1986" y="3662"/>
                </a:lnTo>
                <a:lnTo>
                  <a:pt x="1987" y="3672"/>
                </a:lnTo>
                <a:lnTo>
                  <a:pt x="1991" y="3691"/>
                </a:lnTo>
                <a:lnTo>
                  <a:pt x="1992" y="3698"/>
                </a:lnTo>
                <a:lnTo>
                  <a:pt x="1987" y="3703"/>
                </a:lnTo>
                <a:lnTo>
                  <a:pt x="1978" y="3717"/>
                </a:lnTo>
                <a:lnTo>
                  <a:pt x="1972" y="3727"/>
                </a:lnTo>
                <a:lnTo>
                  <a:pt x="1968" y="3736"/>
                </a:lnTo>
                <a:lnTo>
                  <a:pt x="1967" y="3740"/>
                </a:lnTo>
                <a:lnTo>
                  <a:pt x="1966" y="3745"/>
                </a:lnTo>
                <a:lnTo>
                  <a:pt x="1967" y="3750"/>
                </a:lnTo>
                <a:lnTo>
                  <a:pt x="1968" y="3754"/>
                </a:lnTo>
                <a:lnTo>
                  <a:pt x="1972" y="3762"/>
                </a:lnTo>
                <a:lnTo>
                  <a:pt x="1981" y="3772"/>
                </a:lnTo>
                <a:lnTo>
                  <a:pt x="1990" y="3782"/>
                </a:lnTo>
                <a:lnTo>
                  <a:pt x="2001" y="3794"/>
                </a:lnTo>
                <a:lnTo>
                  <a:pt x="2012" y="3807"/>
                </a:lnTo>
                <a:lnTo>
                  <a:pt x="2023" y="3824"/>
                </a:lnTo>
                <a:lnTo>
                  <a:pt x="2028" y="3832"/>
                </a:lnTo>
                <a:lnTo>
                  <a:pt x="2032" y="3843"/>
                </a:lnTo>
                <a:lnTo>
                  <a:pt x="2036" y="3853"/>
                </a:lnTo>
                <a:lnTo>
                  <a:pt x="2039" y="3865"/>
                </a:lnTo>
                <a:lnTo>
                  <a:pt x="2046" y="3886"/>
                </a:lnTo>
                <a:lnTo>
                  <a:pt x="2050" y="3903"/>
                </a:lnTo>
                <a:lnTo>
                  <a:pt x="2054" y="3915"/>
                </a:lnTo>
                <a:lnTo>
                  <a:pt x="2058" y="3925"/>
                </a:lnTo>
                <a:lnTo>
                  <a:pt x="2063" y="3934"/>
                </a:lnTo>
                <a:lnTo>
                  <a:pt x="2070" y="3942"/>
                </a:lnTo>
                <a:lnTo>
                  <a:pt x="2077" y="3952"/>
                </a:lnTo>
                <a:lnTo>
                  <a:pt x="2086" y="3963"/>
                </a:lnTo>
                <a:lnTo>
                  <a:pt x="2093" y="3970"/>
                </a:lnTo>
                <a:lnTo>
                  <a:pt x="2101" y="3976"/>
                </a:lnTo>
                <a:lnTo>
                  <a:pt x="2110" y="3982"/>
                </a:lnTo>
                <a:lnTo>
                  <a:pt x="2119" y="3987"/>
                </a:lnTo>
                <a:lnTo>
                  <a:pt x="2140" y="3998"/>
                </a:lnTo>
                <a:lnTo>
                  <a:pt x="2162" y="4008"/>
                </a:lnTo>
                <a:lnTo>
                  <a:pt x="2182" y="4018"/>
                </a:lnTo>
                <a:lnTo>
                  <a:pt x="2199" y="4028"/>
                </a:lnTo>
                <a:lnTo>
                  <a:pt x="2205" y="4032"/>
                </a:lnTo>
                <a:lnTo>
                  <a:pt x="2209" y="4038"/>
                </a:lnTo>
                <a:lnTo>
                  <a:pt x="2211" y="4040"/>
                </a:lnTo>
                <a:lnTo>
                  <a:pt x="2212" y="4043"/>
                </a:lnTo>
                <a:lnTo>
                  <a:pt x="2212" y="4045"/>
                </a:lnTo>
                <a:lnTo>
                  <a:pt x="2212" y="4047"/>
                </a:lnTo>
                <a:lnTo>
                  <a:pt x="2210" y="4067"/>
                </a:lnTo>
                <a:lnTo>
                  <a:pt x="2209" y="4086"/>
                </a:lnTo>
                <a:lnTo>
                  <a:pt x="2209" y="4103"/>
                </a:lnTo>
                <a:lnTo>
                  <a:pt x="2211" y="4116"/>
                </a:lnTo>
                <a:lnTo>
                  <a:pt x="2213" y="4127"/>
                </a:lnTo>
                <a:lnTo>
                  <a:pt x="2214" y="4132"/>
                </a:lnTo>
                <a:lnTo>
                  <a:pt x="2214" y="4136"/>
                </a:lnTo>
                <a:lnTo>
                  <a:pt x="2213" y="4139"/>
                </a:lnTo>
                <a:lnTo>
                  <a:pt x="2211" y="4146"/>
                </a:lnTo>
                <a:lnTo>
                  <a:pt x="2209" y="4155"/>
                </a:lnTo>
                <a:lnTo>
                  <a:pt x="2207" y="4166"/>
                </a:lnTo>
                <a:lnTo>
                  <a:pt x="2206" y="4175"/>
                </a:lnTo>
                <a:lnTo>
                  <a:pt x="2205" y="4185"/>
                </a:lnTo>
                <a:lnTo>
                  <a:pt x="2204" y="4196"/>
                </a:lnTo>
                <a:lnTo>
                  <a:pt x="2202" y="4204"/>
                </a:lnTo>
                <a:lnTo>
                  <a:pt x="2201" y="4210"/>
                </a:lnTo>
                <a:lnTo>
                  <a:pt x="2199" y="4221"/>
                </a:lnTo>
                <a:lnTo>
                  <a:pt x="2195" y="4243"/>
                </a:lnTo>
                <a:lnTo>
                  <a:pt x="2193" y="4263"/>
                </a:lnTo>
                <a:lnTo>
                  <a:pt x="2192" y="4272"/>
                </a:lnTo>
                <a:lnTo>
                  <a:pt x="2188" y="4271"/>
                </a:lnTo>
                <a:lnTo>
                  <a:pt x="2179" y="4270"/>
                </a:lnTo>
                <a:lnTo>
                  <a:pt x="2173" y="4270"/>
                </a:lnTo>
                <a:lnTo>
                  <a:pt x="2170" y="4271"/>
                </a:lnTo>
                <a:lnTo>
                  <a:pt x="2168" y="4272"/>
                </a:lnTo>
                <a:lnTo>
                  <a:pt x="2167" y="4273"/>
                </a:lnTo>
                <a:lnTo>
                  <a:pt x="2167" y="4276"/>
                </a:lnTo>
                <a:lnTo>
                  <a:pt x="2167" y="4278"/>
                </a:lnTo>
                <a:lnTo>
                  <a:pt x="2179" y="4288"/>
                </a:lnTo>
                <a:lnTo>
                  <a:pt x="2190" y="4298"/>
                </a:lnTo>
                <a:lnTo>
                  <a:pt x="2190" y="4306"/>
                </a:lnTo>
                <a:lnTo>
                  <a:pt x="2189" y="4315"/>
                </a:lnTo>
                <a:lnTo>
                  <a:pt x="2187" y="4324"/>
                </a:lnTo>
                <a:lnTo>
                  <a:pt x="2187" y="4329"/>
                </a:lnTo>
                <a:lnTo>
                  <a:pt x="2181" y="4337"/>
                </a:lnTo>
                <a:lnTo>
                  <a:pt x="2173" y="4346"/>
                </a:lnTo>
                <a:lnTo>
                  <a:pt x="2173" y="4351"/>
                </a:lnTo>
                <a:lnTo>
                  <a:pt x="2173" y="4361"/>
                </a:lnTo>
                <a:lnTo>
                  <a:pt x="2174" y="4373"/>
                </a:lnTo>
                <a:lnTo>
                  <a:pt x="2176" y="4382"/>
                </a:lnTo>
                <a:lnTo>
                  <a:pt x="2178" y="4388"/>
                </a:lnTo>
                <a:lnTo>
                  <a:pt x="2179" y="4393"/>
                </a:lnTo>
                <a:lnTo>
                  <a:pt x="2179" y="4397"/>
                </a:lnTo>
                <a:lnTo>
                  <a:pt x="2178" y="4401"/>
                </a:lnTo>
                <a:lnTo>
                  <a:pt x="2174" y="4415"/>
                </a:lnTo>
                <a:lnTo>
                  <a:pt x="2171" y="4430"/>
                </a:lnTo>
                <a:lnTo>
                  <a:pt x="2168" y="4439"/>
                </a:lnTo>
                <a:lnTo>
                  <a:pt x="2164" y="4453"/>
                </a:lnTo>
                <a:lnTo>
                  <a:pt x="2158" y="4468"/>
                </a:lnTo>
                <a:lnTo>
                  <a:pt x="2150" y="4484"/>
                </a:lnTo>
                <a:lnTo>
                  <a:pt x="2143" y="4498"/>
                </a:lnTo>
                <a:lnTo>
                  <a:pt x="2138" y="4507"/>
                </a:lnTo>
                <a:lnTo>
                  <a:pt x="2136" y="4510"/>
                </a:lnTo>
                <a:lnTo>
                  <a:pt x="2136" y="4513"/>
                </a:lnTo>
                <a:lnTo>
                  <a:pt x="2135" y="4517"/>
                </a:lnTo>
                <a:lnTo>
                  <a:pt x="2136" y="4519"/>
                </a:lnTo>
                <a:lnTo>
                  <a:pt x="2138" y="4523"/>
                </a:lnTo>
                <a:lnTo>
                  <a:pt x="2141" y="4526"/>
                </a:lnTo>
                <a:lnTo>
                  <a:pt x="2142" y="4527"/>
                </a:lnTo>
                <a:lnTo>
                  <a:pt x="2143" y="4528"/>
                </a:lnTo>
                <a:lnTo>
                  <a:pt x="2143" y="4530"/>
                </a:lnTo>
                <a:lnTo>
                  <a:pt x="2142" y="4532"/>
                </a:lnTo>
                <a:lnTo>
                  <a:pt x="2139" y="4535"/>
                </a:lnTo>
                <a:lnTo>
                  <a:pt x="2137" y="4536"/>
                </a:lnTo>
                <a:lnTo>
                  <a:pt x="2136" y="4537"/>
                </a:lnTo>
                <a:lnTo>
                  <a:pt x="2136" y="4539"/>
                </a:lnTo>
                <a:lnTo>
                  <a:pt x="2136" y="4541"/>
                </a:lnTo>
                <a:lnTo>
                  <a:pt x="2136" y="4543"/>
                </a:lnTo>
                <a:lnTo>
                  <a:pt x="2141" y="4556"/>
                </a:lnTo>
                <a:lnTo>
                  <a:pt x="2145" y="4571"/>
                </a:lnTo>
                <a:lnTo>
                  <a:pt x="2138" y="4583"/>
                </a:lnTo>
                <a:lnTo>
                  <a:pt x="2130" y="4594"/>
                </a:lnTo>
                <a:lnTo>
                  <a:pt x="2130" y="4600"/>
                </a:lnTo>
                <a:lnTo>
                  <a:pt x="2129" y="4607"/>
                </a:lnTo>
                <a:lnTo>
                  <a:pt x="2129" y="4616"/>
                </a:lnTo>
                <a:lnTo>
                  <a:pt x="2129" y="4630"/>
                </a:lnTo>
                <a:lnTo>
                  <a:pt x="2129" y="4645"/>
                </a:lnTo>
                <a:lnTo>
                  <a:pt x="2129" y="4661"/>
                </a:lnTo>
                <a:lnTo>
                  <a:pt x="2129" y="4667"/>
                </a:lnTo>
                <a:lnTo>
                  <a:pt x="2128" y="4674"/>
                </a:lnTo>
                <a:lnTo>
                  <a:pt x="2126" y="4680"/>
                </a:lnTo>
                <a:lnTo>
                  <a:pt x="2124" y="4685"/>
                </a:lnTo>
                <a:lnTo>
                  <a:pt x="2117" y="4693"/>
                </a:lnTo>
                <a:lnTo>
                  <a:pt x="2110" y="4698"/>
                </a:lnTo>
                <a:lnTo>
                  <a:pt x="2106" y="4702"/>
                </a:lnTo>
                <a:lnTo>
                  <a:pt x="2105" y="4705"/>
                </a:lnTo>
                <a:lnTo>
                  <a:pt x="2105" y="4710"/>
                </a:lnTo>
                <a:lnTo>
                  <a:pt x="2107" y="4718"/>
                </a:lnTo>
                <a:lnTo>
                  <a:pt x="2113" y="4730"/>
                </a:lnTo>
                <a:lnTo>
                  <a:pt x="2116" y="4739"/>
                </a:lnTo>
                <a:lnTo>
                  <a:pt x="2116" y="4741"/>
                </a:lnTo>
                <a:lnTo>
                  <a:pt x="2116" y="4744"/>
                </a:lnTo>
                <a:lnTo>
                  <a:pt x="2115" y="4746"/>
                </a:lnTo>
                <a:lnTo>
                  <a:pt x="2114" y="4747"/>
                </a:lnTo>
                <a:lnTo>
                  <a:pt x="2111" y="4749"/>
                </a:lnTo>
                <a:lnTo>
                  <a:pt x="2107" y="4750"/>
                </a:lnTo>
                <a:lnTo>
                  <a:pt x="2106" y="4750"/>
                </a:lnTo>
                <a:lnTo>
                  <a:pt x="2105" y="4752"/>
                </a:lnTo>
                <a:lnTo>
                  <a:pt x="2104" y="4755"/>
                </a:lnTo>
                <a:lnTo>
                  <a:pt x="2104" y="4760"/>
                </a:lnTo>
                <a:lnTo>
                  <a:pt x="2105" y="4765"/>
                </a:lnTo>
                <a:lnTo>
                  <a:pt x="2106" y="4768"/>
                </a:lnTo>
                <a:lnTo>
                  <a:pt x="2107" y="4770"/>
                </a:lnTo>
                <a:lnTo>
                  <a:pt x="2108" y="4771"/>
                </a:lnTo>
                <a:lnTo>
                  <a:pt x="2110" y="4773"/>
                </a:lnTo>
                <a:lnTo>
                  <a:pt x="2110" y="4775"/>
                </a:lnTo>
                <a:lnTo>
                  <a:pt x="2108" y="4778"/>
                </a:lnTo>
                <a:lnTo>
                  <a:pt x="2106" y="4784"/>
                </a:lnTo>
                <a:lnTo>
                  <a:pt x="2099" y="4793"/>
                </a:lnTo>
                <a:lnTo>
                  <a:pt x="2090" y="4802"/>
                </a:lnTo>
                <a:lnTo>
                  <a:pt x="2086" y="4807"/>
                </a:lnTo>
                <a:lnTo>
                  <a:pt x="2084" y="4813"/>
                </a:lnTo>
                <a:lnTo>
                  <a:pt x="2084" y="4816"/>
                </a:lnTo>
                <a:lnTo>
                  <a:pt x="2085" y="4820"/>
                </a:lnTo>
                <a:lnTo>
                  <a:pt x="2086" y="4825"/>
                </a:lnTo>
                <a:lnTo>
                  <a:pt x="2089" y="4830"/>
                </a:lnTo>
                <a:lnTo>
                  <a:pt x="2092" y="4837"/>
                </a:lnTo>
                <a:lnTo>
                  <a:pt x="2094" y="4841"/>
                </a:lnTo>
                <a:lnTo>
                  <a:pt x="2095" y="4841"/>
                </a:lnTo>
                <a:lnTo>
                  <a:pt x="2096" y="4840"/>
                </a:lnTo>
                <a:lnTo>
                  <a:pt x="2096" y="4839"/>
                </a:lnTo>
                <a:lnTo>
                  <a:pt x="2097" y="4838"/>
                </a:lnTo>
                <a:lnTo>
                  <a:pt x="2097" y="4833"/>
                </a:lnTo>
                <a:lnTo>
                  <a:pt x="2098" y="4827"/>
                </a:lnTo>
                <a:lnTo>
                  <a:pt x="2100" y="4820"/>
                </a:lnTo>
                <a:lnTo>
                  <a:pt x="2102" y="4814"/>
                </a:lnTo>
                <a:lnTo>
                  <a:pt x="2105" y="4809"/>
                </a:lnTo>
                <a:lnTo>
                  <a:pt x="2108" y="4806"/>
                </a:lnTo>
                <a:lnTo>
                  <a:pt x="2112" y="4804"/>
                </a:lnTo>
                <a:lnTo>
                  <a:pt x="2114" y="4804"/>
                </a:lnTo>
                <a:lnTo>
                  <a:pt x="2115" y="4806"/>
                </a:lnTo>
                <a:lnTo>
                  <a:pt x="2116" y="4809"/>
                </a:lnTo>
                <a:lnTo>
                  <a:pt x="2116" y="4813"/>
                </a:lnTo>
                <a:lnTo>
                  <a:pt x="2115" y="4819"/>
                </a:lnTo>
                <a:lnTo>
                  <a:pt x="2106" y="4837"/>
                </a:lnTo>
                <a:lnTo>
                  <a:pt x="2101" y="4849"/>
                </a:lnTo>
                <a:lnTo>
                  <a:pt x="2103" y="4859"/>
                </a:lnTo>
                <a:lnTo>
                  <a:pt x="2105" y="4871"/>
                </a:lnTo>
                <a:lnTo>
                  <a:pt x="2107" y="4883"/>
                </a:lnTo>
                <a:lnTo>
                  <a:pt x="2107" y="4893"/>
                </a:lnTo>
                <a:lnTo>
                  <a:pt x="2105" y="4898"/>
                </a:lnTo>
                <a:lnTo>
                  <a:pt x="2102" y="4902"/>
                </a:lnTo>
                <a:lnTo>
                  <a:pt x="2100" y="4905"/>
                </a:lnTo>
                <a:lnTo>
                  <a:pt x="2099" y="4907"/>
                </a:lnTo>
                <a:lnTo>
                  <a:pt x="2098" y="4912"/>
                </a:lnTo>
                <a:lnTo>
                  <a:pt x="2097" y="4917"/>
                </a:lnTo>
                <a:lnTo>
                  <a:pt x="2100" y="4932"/>
                </a:lnTo>
                <a:lnTo>
                  <a:pt x="2103" y="4943"/>
                </a:lnTo>
                <a:lnTo>
                  <a:pt x="2100" y="4954"/>
                </a:lnTo>
                <a:lnTo>
                  <a:pt x="2096" y="4965"/>
                </a:lnTo>
                <a:lnTo>
                  <a:pt x="2099" y="4971"/>
                </a:lnTo>
                <a:lnTo>
                  <a:pt x="2104" y="4979"/>
                </a:lnTo>
                <a:lnTo>
                  <a:pt x="2114" y="4994"/>
                </a:lnTo>
                <a:lnTo>
                  <a:pt x="2134" y="5025"/>
                </a:lnTo>
                <a:lnTo>
                  <a:pt x="2145" y="5040"/>
                </a:lnTo>
                <a:lnTo>
                  <a:pt x="2155" y="5055"/>
                </a:lnTo>
                <a:lnTo>
                  <a:pt x="2164" y="5067"/>
                </a:lnTo>
                <a:lnTo>
                  <a:pt x="2169" y="5073"/>
                </a:lnTo>
                <a:lnTo>
                  <a:pt x="2173" y="5076"/>
                </a:lnTo>
                <a:lnTo>
                  <a:pt x="2176" y="5079"/>
                </a:lnTo>
                <a:lnTo>
                  <a:pt x="2178" y="5081"/>
                </a:lnTo>
                <a:lnTo>
                  <a:pt x="2179" y="5084"/>
                </a:lnTo>
                <a:lnTo>
                  <a:pt x="2179" y="5090"/>
                </a:lnTo>
                <a:lnTo>
                  <a:pt x="2179" y="5093"/>
                </a:lnTo>
                <a:lnTo>
                  <a:pt x="2181" y="5096"/>
                </a:lnTo>
                <a:lnTo>
                  <a:pt x="2181" y="5097"/>
                </a:lnTo>
                <a:lnTo>
                  <a:pt x="2183" y="5099"/>
                </a:lnTo>
                <a:lnTo>
                  <a:pt x="2188" y="5103"/>
                </a:lnTo>
                <a:lnTo>
                  <a:pt x="2196" y="5104"/>
                </a:lnTo>
                <a:lnTo>
                  <a:pt x="2216" y="5110"/>
                </a:lnTo>
                <a:lnTo>
                  <a:pt x="2229" y="5114"/>
                </a:lnTo>
                <a:lnTo>
                  <a:pt x="2239" y="5116"/>
                </a:lnTo>
                <a:lnTo>
                  <a:pt x="2244" y="5117"/>
                </a:lnTo>
                <a:lnTo>
                  <a:pt x="2249" y="5118"/>
                </a:lnTo>
                <a:lnTo>
                  <a:pt x="2254" y="5120"/>
                </a:lnTo>
                <a:lnTo>
                  <a:pt x="2258" y="5123"/>
                </a:lnTo>
                <a:lnTo>
                  <a:pt x="2268" y="5132"/>
                </a:lnTo>
                <a:lnTo>
                  <a:pt x="2274" y="5138"/>
                </a:lnTo>
                <a:lnTo>
                  <a:pt x="2277" y="5141"/>
                </a:lnTo>
                <a:lnTo>
                  <a:pt x="2279" y="5142"/>
                </a:lnTo>
                <a:lnTo>
                  <a:pt x="2281" y="5142"/>
                </a:lnTo>
                <a:lnTo>
                  <a:pt x="2283" y="5140"/>
                </a:lnTo>
                <a:lnTo>
                  <a:pt x="2287" y="5134"/>
                </a:lnTo>
                <a:lnTo>
                  <a:pt x="2289" y="5128"/>
                </a:lnTo>
                <a:lnTo>
                  <a:pt x="2291" y="5125"/>
                </a:lnTo>
                <a:lnTo>
                  <a:pt x="2295" y="5122"/>
                </a:lnTo>
                <a:lnTo>
                  <a:pt x="2300" y="5115"/>
                </a:lnTo>
                <a:lnTo>
                  <a:pt x="2309" y="5103"/>
                </a:lnTo>
                <a:lnTo>
                  <a:pt x="2313" y="5097"/>
                </a:lnTo>
                <a:lnTo>
                  <a:pt x="2317" y="5092"/>
                </a:lnTo>
                <a:lnTo>
                  <a:pt x="2322" y="5089"/>
                </a:lnTo>
                <a:lnTo>
                  <a:pt x="2326" y="5088"/>
                </a:lnTo>
                <a:lnTo>
                  <a:pt x="2334" y="5089"/>
                </a:lnTo>
                <a:lnTo>
                  <a:pt x="2339" y="5090"/>
                </a:lnTo>
                <a:lnTo>
                  <a:pt x="2342" y="5092"/>
                </a:lnTo>
                <a:lnTo>
                  <a:pt x="2344" y="5093"/>
                </a:lnTo>
                <a:lnTo>
                  <a:pt x="2348" y="5094"/>
                </a:lnTo>
                <a:lnTo>
                  <a:pt x="2353" y="5094"/>
                </a:lnTo>
                <a:lnTo>
                  <a:pt x="2357" y="5094"/>
                </a:lnTo>
                <a:lnTo>
                  <a:pt x="2361" y="5093"/>
                </a:lnTo>
                <a:lnTo>
                  <a:pt x="2366" y="5090"/>
                </a:lnTo>
                <a:lnTo>
                  <a:pt x="2367" y="5089"/>
                </a:lnTo>
                <a:close/>
                <a:moveTo>
                  <a:pt x="7702" y="1402"/>
                </a:moveTo>
                <a:lnTo>
                  <a:pt x="7724" y="1392"/>
                </a:lnTo>
                <a:lnTo>
                  <a:pt x="7743" y="1399"/>
                </a:lnTo>
                <a:lnTo>
                  <a:pt x="7759" y="1385"/>
                </a:lnTo>
                <a:lnTo>
                  <a:pt x="7762" y="1384"/>
                </a:lnTo>
                <a:lnTo>
                  <a:pt x="7771" y="1382"/>
                </a:lnTo>
                <a:lnTo>
                  <a:pt x="7775" y="1381"/>
                </a:lnTo>
                <a:lnTo>
                  <a:pt x="7778" y="1379"/>
                </a:lnTo>
                <a:lnTo>
                  <a:pt x="7780" y="1376"/>
                </a:lnTo>
                <a:lnTo>
                  <a:pt x="7781" y="1374"/>
                </a:lnTo>
                <a:lnTo>
                  <a:pt x="7783" y="1368"/>
                </a:lnTo>
                <a:lnTo>
                  <a:pt x="7785" y="1361"/>
                </a:lnTo>
                <a:lnTo>
                  <a:pt x="7785" y="1358"/>
                </a:lnTo>
                <a:lnTo>
                  <a:pt x="7783" y="1353"/>
                </a:lnTo>
                <a:lnTo>
                  <a:pt x="7778" y="1351"/>
                </a:lnTo>
                <a:lnTo>
                  <a:pt x="7769" y="1349"/>
                </a:lnTo>
                <a:lnTo>
                  <a:pt x="7760" y="1348"/>
                </a:lnTo>
                <a:lnTo>
                  <a:pt x="7753" y="1345"/>
                </a:lnTo>
                <a:lnTo>
                  <a:pt x="7746" y="1342"/>
                </a:lnTo>
                <a:lnTo>
                  <a:pt x="7741" y="1340"/>
                </a:lnTo>
                <a:lnTo>
                  <a:pt x="7737" y="1338"/>
                </a:lnTo>
                <a:lnTo>
                  <a:pt x="7732" y="1338"/>
                </a:lnTo>
                <a:lnTo>
                  <a:pt x="7727" y="1341"/>
                </a:lnTo>
                <a:lnTo>
                  <a:pt x="7720" y="1346"/>
                </a:lnTo>
                <a:lnTo>
                  <a:pt x="7708" y="1358"/>
                </a:lnTo>
                <a:lnTo>
                  <a:pt x="7698" y="1365"/>
                </a:lnTo>
                <a:lnTo>
                  <a:pt x="7692" y="1369"/>
                </a:lnTo>
                <a:lnTo>
                  <a:pt x="7687" y="1373"/>
                </a:lnTo>
                <a:lnTo>
                  <a:pt x="7684" y="1376"/>
                </a:lnTo>
                <a:lnTo>
                  <a:pt x="7681" y="1380"/>
                </a:lnTo>
                <a:lnTo>
                  <a:pt x="7681" y="1384"/>
                </a:lnTo>
                <a:lnTo>
                  <a:pt x="7685" y="1388"/>
                </a:lnTo>
                <a:lnTo>
                  <a:pt x="7692" y="1395"/>
                </a:lnTo>
                <a:lnTo>
                  <a:pt x="7696" y="1399"/>
                </a:lnTo>
                <a:lnTo>
                  <a:pt x="7702" y="1402"/>
                </a:lnTo>
                <a:close/>
                <a:moveTo>
                  <a:pt x="6968" y="1025"/>
                </a:moveTo>
                <a:lnTo>
                  <a:pt x="7013" y="1101"/>
                </a:lnTo>
                <a:lnTo>
                  <a:pt x="7017" y="1104"/>
                </a:lnTo>
                <a:lnTo>
                  <a:pt x="7029" y="1111"/>
                </a:lnTo>
                <a:lnTo>
                  <a:pt x="7036" y="1114"/>
                </a:lnTo>
                <a:lnTo>
                  <a:pt x="7042" y="1118"/>
                </a:lnTo>
                <a:lnTo>
                  <a:pt x="7049" y="1119"/>
                </a:lnTo>
                <a:lnTo>
                  <a:pt x="7055" y="1118"/>
                </a:lnTo>
                <a:lnTo>
                  <a:pt x="7063" y="1114"/>
                </a:lnTo>
                <a:lnTo>
                  <a:pt x="7072" y="1112"/>
                </a:lnTo>
                <a:lnTo>
                  <a:pt x="7075" y="1110"/>
                </a:lnTo>
                <a:lnTo>
                  <a:pt x="7077" y="1108"/>
                </a:lnTo>
                <a:lnTo>
                  <a:pt x="7078" y="1105"/>
                </a:lnTo>
                <a:lnTo>
                  <a:pt x="7079" y="1101"/>
                </a:lnTo>
                <a:lnTo>
                  <a:pt x="7082" y="1091"/>
                </a:lnTo>
                <a:lnTo>
                  <a:pt x="7087" y="1082"/>
                </a:lnTo>
                <a:lnTo>
                  <a:pt x="7088" y="1080"/>
                </a:lnTo>
                <a:lnTo>
                  <a:pt x="7088" y="1079"/>
                </a:lnTo>
                <a:lnTo>
                  <a:pt x="7088" y="1077"/>
                </a:lnTo>
                <a:lnTo>
                  <a:pt x="7087" y="1075"/>
                </a:lnTo>
                <a:lnTo>
                  <a:pt x="7084" y="1072"/>
                </a:lnTo>
                <a:lnTo>
                  <a:pt x="7076" y="1068"/>
                </a:lnTo>
                <a:lnTo>
                  <a:pt x="7055" y="1061"/>
                </a:lnTo>
                <a:lnTo>
                  <a:pt x="7036" y="1053"/>
                </a:lnTo>
                <a:lnTo>
                  <a:pt x="7019" y="1046"/>
                </a:lnTo>
                <a:lnTo>
                  <a:pt x="7009" y="1044"/>
                </a:lnTo>
                <a:lnTo>
                  <a:pt x="7003" y="1043"/>
                </a:lnTo>
                <a:lnTo>
                  <a:pt x="6996" y="1040"/>
                </a:lnTo>
                <a:lnTo>
                  <a:pt x="6993" y="1038"/>
                </a:lnTo>
                <a:lnTo>
                  <a:pt x="6990" y="1035"/>
                </a:lnTo>
                <a:lnTo>
                  <a:pt x="6988" y="1033"/>
                </a:lnTo>
                <a:lnTo>
                  <a:pt x="6986" y="1029"/>
                </a:lnTo>
                <a:lnTo>
                  <a:pt x="6984" y="1025"/>
                </a:lnTo>
                <a:lnTo>
                  <a:pt x="6982" y="1024"/>
                </a:lnTo>
                <a:lnTo>
                  <a:pt x="6981" y="1023"/>
                </a:lnTo>
                <a:lnTo>
                  <a:pt x="6978" y="1023"/>
                </a:lnTo>
                <a:lnTo>
                  <a:pt x="6976" y="1024"/>
                </a:lnTo>
                <a:lnTo>
                  <a:pt x="6976" y="1025"/>
                </a:lnTo>
                <a:lnTo>
                  <a:pt x="6972" y="1025"/>
                </a:lnTo>
                <a:lnTo>
                  <a:pt x="6968" y="1025"/>
                </a:lnTo>
                <a:close/>
                <a:moveTo>
                  <a:pt x="6823" y="1091"/>
                </a:moveTo>
                <a:lnTo>
                  <a:pt x="6857" y="1098"/>
                </a:lnTo>
                <a:lnTo>
                  <a:pt x="6861" y="1094"/>
                </a:lnTo>
                <a:lnTo>
                  <a:pt x="6869" y="1085"/>
                </a:lnTo>
                <a:lnTo>
                  <a:pt x="6875" y="1082"/>
                </a:lnTo>
                <a:lnTo>
                  <a:pt x="6880" y="1079"/>
                </a:lnTo>
                <a:lnTo>
                  <a:pt x="6882" y="1078"/>
                </a:lnTo>
                <a:lnTo>
                  <a:pt x="6883" y="1078"/>
                </a:lnTo>
                <a:lnTo>
                  <a:pt x="6885" y="1079"/>
                </a:lnTo>
                <a:lnTo>
                  <a:pt x="6886" y="1080"/>
                </a:lnTo>
                <a:lnTo>
                  <a:pt x="6891" y="1087"/>
                </a:lnTo>
                <a:lnTo>
                  <a:pt x="6898" y="1094"/>
                </a:lnTo>
                <a:lnTo>
                  <a:pt x="6901" y="1097"/>
                </a:lnTo>
                <a:lnTo>
                  <a:pt x="6904" y="1099"/>
                </a:lnTo>
                <a:lnTo>
                  <a:pt x="6906" y="1100"/>
                </a:lnTo>
                <a:lnTo>
                  <a:pt x="6908" y="1099"/>
                </a:lnTo>
                <a:lnTo>
                  <a:pt x="6915" y="1095"/>
                </a:lnTo>
                <a:lnTo>
                  <a:pt x="6924" y="1085"/>
                </a:lnTo>
                <a:lnTo>
                  <a:pt x="6933" y="1075"/>
                </a:lnTo>
                <a:lnTo>
                  <a:pt x="6940" y="1065"/>
                </a:lnTo>
                <a:lnTo>
                  <a:pt x="6940" y="1060"/>
                </a:lnTo>
                <a:lnTo>
                  <a:pt x="6938" y="1053"/>
                </a:lnTo>
                <a:lnTo>
                  <a:pt x="6933" y="1043"/>
                </a:lnTo>
                <a:lnTo>
                  <a:pt x="6928" y="1034"/>
                </a:lnTo>
                <a:lnTo>
                  <a:pt x="6923" y="1025"/>
                </a:lnTo>
                <a:lnTo>
                  <a:pt x="6917" y="1017"/>
                </a:lnTo>
                <a:lnTo>
                  <a:pt x="6911" y="1012"/>
                </a:lnTo>
                <a:lnTo>
                  <a:pt x="6908" y="1009"/>
                </a:lnTo>
                <a:lnTo>
                  <a:pt x="6898" y="1001"/>
                </a:lnTo>
                <a:lnTo>
                  <a:pt x="6883" y="993"/>
                </a:lnTo>
                <a:lnTo>
                  <a:pt x="6876" y="990"/>
                </a:lnTo>
                <a:lnTo>
                  <a:pt x="6869" y="989"/>
                </a:lnTo>
                <a:lnTo>
                  <a:pt x="6867" y="989"/>
                </a:lnTo>
                <a:lnTo>
                  <a:pt x="6864" y="991"/>
                </a:lnTo>
                <a:lnTo>
                  <a:pt x="6863" y="993"/>
                </a:lnTo>
                <a:lnTo>
                  <a:pt x="6862" y="996"/>
                </a:lnTo>
                <a:lnTo>
                  <a:pt x="6858" y="1012"/>
                </a:lnTo>
                <a:lnTo>
                  <a:pt x="6854" y="1022"/>
                </a:lnTo>
                <a:lnTo>
                  <a:pt x="6852" y="1025"/>
                </a:lnTo>
                <a:lnTo>
                  <a:pt x="6850" y="1026"/>
                </a:lnTo>
                <a:lnTo>
                  <a:pt x="6846" y="1025"/>
                </a:lnTo>
                <a:lnTo>
                  <a:pt x="6844" y="1022"/>
                </a:lnTo>
                <a:lnTo>
                  <a:pt x="6840" y="1018"/>
                </a:lnTo>
                <a:lnTo>
                  <a:pt x="6834" y="1012"/>
                </a:lnTo>
                <a:lnTo>
                  <a:pt x="6826" y="1006"/>
                </a:lnTo>
                <a:lnTo>
                  <a:pt x="6818" y="1000"/>
                </a:lnTo>
                <a:lnTo>
                  <a:pt x="6810" y="996"/>
                </a:lnTo>
                <a:lnTo>
                  <a:pt x="6802" y="993"/>
                </a:lnTo>
                <a:lnTo>
                  <a:pt x="6799" y="992"/>
                </a:lnTo>
                <a:lnTo>
                  <a:pt x="6796" y="992"/>
                </a:lnTo>
                <a:lnTo>
                  <a:pt x="6794" y="992"/>
                </a:lnTo>
                <a:lnTo>
                  <a:pt x="6792" y="993"/>
                </a:lnTo>
                <a:lnTo>
                  <a:pt x="6784" y="1001"/>
                </a:lnTo>
                <a:lnTo>
                  <a:pt x="6775" y="1013"/>
                </a:lnTo>
                <a:lnTo>
                  <a:pt x="6771" y="1019"/>
                </a:lnTo>
                <a:lnTo>
                  <a:pt x="6769" y="1024"/>
                </a:lnTo>
                <a:lnTo>
                  <a:pt x="6767" y="1030"/>
                </a:lnTo>
                <a:lnTo>
                  <a:pt x="6767" y="1034"/>
                </a:lnTo>
                <a:lnTo>
                  <a:pt x="6769" y="1040"/>
                </a:lnTo>
                <a:lnTo>
                  <a:pt x="6772" y="1047"/>
                </a:lnTo>
                <a:lnTo>
                  <a:pt x="6775" y="1057"/>
                </a:lnTo>
                <a:lnTo>
                  <a:pt x="6778" y="1074"/>
                </a:lnTo>
                <a:lnTo>
                  <a:pt x="6780" y="1084"/>
                </a:lnTo>
                <a:lnTo>
                  <a:pt x="6784" y="1095"/>
                </a:lnTo>
                <a:lnTo>
                  <a:pt x="6787" y="1105"/>
                </a:lnTo>
                <a:lnTo>
                  <a:pt x="6791" y="1113"/>
                </a:lnTo>
                <a:lnTo>
                  <a:pt x="6795" y="1121"/>
                </a:lnTo>
                <a:lnTo>
                  <a:pt x="6799" y="1125"/>
                </a:lnTo>
                <a:lnTo>
                  <a:pt x="6801" y="1126"/>
                </a:lnTo>
                <a:lnTo>
                  <a:pt x="6802" y="1127"/>
                </a:lnTo>
                <a:lnTo>
                  <a:pt x="6804" y="1126"/>
                </a:lnTo>
                <a:lnTo>
                  <a:pt x="6806" y="1125"/>
                </a:lnTo>
                <a:lnTo>
                  <a:pt x="6815" y="1107"/>
                </a:lnTo>
                <a:lnTo>
                  <a:pt x="6818" y="1098"/>
                </a:lnTo>
                <a:lnTo>
                  <a:pt x="6823" y="1091"/>
                </a:lnTo>
                <a:close/>
                <a:moveTo>
                  <a:pt x="6844" y="1161"/>
                </a:moveTo>
                <a:lnTo>
                  <a:pt x="6845" y="1167"/>
                </a:lnTo>
                <a:lnTo>
                  <a:pt x="6846" y="1173"/>
                </a:lnTo>
                <a:lnTo>
                  <a:pt x="6848" y="1180"/>
                </a:lnTo>
                <a:lnTo>
                  <a:pt x="6851" y="1187"/>
                </a:lnTo>
                <a:lnTo>
                  <a:pt x="6854" y="1198"/>
                </a:lnTo>
                <a:lnTo>
                  <a:pt x="6854" y="1205"/>
                </a:lnTo>
                <a:lnTo>
                  <a:pt x="6847" y="1206"/>
                </a:lnTo>
                <a:lnTo>
                  <a:pt x="6839" y="1208"/>
                </a:lnTo>
                <a:lnTo>
                  <a:pt x="6836" y="1209"/>
                </a:lnTo>
                <a:lnTo>
                  <a:pt x="6835" y="1211"/>
                </a:lnTo>
                <a:lnTo>
                  <a:pt x="6837" y="1213"/>
                </a:lnTo>
                <a:lnTo>
                  <a:pt x="6843" y="1217"/>
                </a:lnTo>
                <a:lnTo>
                  <a:pt x="6852" y="1221"/>
                </a:lnTo>
                <a:lnTo>
                  <a:pt x="6858" y="1223"/>
                </a:lnTo>
                <a:lnTo>
                  <a:pt x="6864" y="1226"/>
                </a:lnTo>
                <a:lnTo>
                  <a:pt x="6869" y="1227"/>
                </a:lnTo>
                <a:lnTo>
                  <a:pt x="6879" y="1228"/>
                </a:lnTo>
                <a:lnTo>
                  <a:pt x="6888" y="1231"/>
                </a:lnTo>
                <a:lnTo>
                  <a:pt x="6894" y="1233"/>
                </a:lnTo>
                <a:lnTo>
                  <a:pt x="6900" y="1235"/>
                </a:lnTo>
                <a:lnTo>
                  <a:pt x="6906" y="1235"/>
                </a:lnTo>
                <a:lnTo>
                  <a:pt x="6912" y="1234"/>
                </a:lnTo>
                <a:lnTo>
                  <a:pt x="6918" y="1232"/>
                </a:lnTo>
                <a:lnTo>
                  <a:pt x="6921" y="1229"/>
                </a:lnTo>
                <a:lnTo>
                  <a:pt x="6922" y="1227"/>
                </a:lnTo>
                <a:lnTo>
                  <a:pt x="6923" y="1225"/>
                </a:lnTo>
                <a:lnTo>
                  <a:pt x="6923" y="1221"/>
                </a:lnTo>
                <a:lnTo>
                  <a:pt x="6922" y="1219"/>
                </a:lnTo>
                <a:lnTo>
                  <a:pt x="6919" y="1213"/>
                </a:lnTo>
                <a:lnTo>
                  <a:pt x="6916" y="1208"/>
                </a:lnTo>
                <a:lnTo>
                  <a:pt x="6911" y="1203"/>
                </a:lnTo>
                <a:lnTo>
                  <a:pt x="6906" y="1197"/>
                </a:lnTo>
                <a:lnTo>
                  <a:pt x="6897" y="1189"/>
                </a:lnTo>
                <a:lnTo>
                  <a:pt x="6885" y="1180"/>
                </a:lnTo>
                <a:lnTo>
                  <a:pt x="6879" y="1175"/>
                </a:lnTo>
                <a:lnTo>
                  <a:pt x="6875" y="1168"/>
                </a:lnTo>
                <a:lnTo>
                  <a:pt x="6871" y="1161"/>
                </a:lnTo>
                <a:lnTo>
                  <a:pt x="6867" y="1152"/>
                </a:lnTo>
                <a:lnTo>
                  <a:pt x="6863" y="1138"/>
                </a:lnTo>
                <a:lnTo>
                  <a:pt x="6860" y="1132"/>
                </a:lnTo>
                <a:lnTo>
                  <a:pt x="6857" y="1133"/>
                </a:lnTo>
                <a:lnTo>
                  <a:pt x="6854" y="1135"/>
                </a:lnTo>
                <a:lnTo>
                  <a:pt x="6850" y="1139"/>
                </a:lnTo>
                <a:lnTo>
                  <a:pt x="6847" y="1142"/>
                </a:lnTo>
                <a:lnTo>
                  <a:pt x="6845" y="1152"/>
                </a:lnTo>
                <a:lnTo>
                  <a:pt x="6844" y="1161"/>
                </a:lnTo>
                <a:close/>
                <a:moveTo>
                  <a:pt x="5969" y="723"/>
                </a:moveTo>
                <a:lnTo>
                  <a:pt x="5964" y="730"/>
                </a:lnTo>
                <a:lnTo>
                  <a:pt x="5956" y="738"/>
                </a:lnTo>
                <a:lnTo>
                  <a:pt x="5946" y="747"/>
                </a:lnTo>
                <a:lnTo>
                  <a:pt x="5937" y="757"/>
                </a:lnTo>
                <a:lnTo>
                  <a:pt x="5933" y="761"/>
                </a:lnTo>
                <a:lnTo>
                  <a:pt x="5930" y="767"/>
                </a:lnTo>
                <a:lnTo>
                  <a:pt x="5928" y="772"/>
                </a:lnTo>
                <a:lnTo>
                  <a:pt x="5925" y="778"/>
                </a:lnTo>
                <a:lnTo>
                  <a:pt x="5925" y="783"/>
                </a:lnTo>
                <a:lnTo>
                  <a:pt x="5926" y="790"/>
                </a:lnTo>
                <a:lnTo>
                  <a:pt x="5930" y="796"/>
                </a:lnTo>
                <a:lnTo>
                  <a:pt x="5935" y="802"/>
                </a:lnTo>
                <a:lnTo>
                  <a:pt x="5941" y="807"/>
                </a:lnTo>
                <a:lnTo>
                  <a:pt x="5947" y="811"/>
                </a:lnTo>
                <a:lnTo>
                  <a:pt x="5953" y="813"/>
                </a:lnTo>
                <a:lnTo>
                  <a:pt x="5958" y="814"/>
                </a:lnTo>
                <a:lnTo>
                  <a:pt x="5963" y="814"/>
                </a:lnTo>
                <a:lnTo>
                  <a:pt x="5968" y="812"/>
                </a:lnTo>
                <a:lnTo>
                  <a:pt x="5974" y="810"/>
                </a:lnTo>
                <a:lnTo>
                  <a:pt x="5978" y="807"/>
                </a:lnTo>
                <a:lnTo>
                  <a:pt x="5986" y="801"/>
                </a:lnTo>
                <a:lnTo>
                  <a:pt x="5994" y="795"/>
                </a:lnTo>
                <a:lnTo>
                  <a:pt x="5997" y="793"/>
                </a:lnTo>
                <a:lnTo>
                  <a:pt x="6000" y="791"/>
                </a:lnTo>
                <a:lnTo>
                  <a:pt x="6003" y="791"/>
                </a:lnTo>
                <a:lnTo>
                  <a:pt x="6005" y="791"/>
                </a:lnTo>
                <a:lnTo>
                  <a:pt x="6007" y="791"/>
                </a:lnTo>
                <a:lnTo>
                  <a:pt x="6010" y="791"/>
                </a:lnTo>
                <a:lnTo>
                  <a:pt x="6014" y="791"/>
                </a:lnTo>
                <a:lnTo>
                  <a:pt x="6019" y="789"/>
                </a:lnTo>
                <a:lnTo>
                  <a:pt x="6027" y="785"/>
                </a:lnTo>
                <a:lnTo>
                  <a:pt x="6038" y="779"/>
                </a:lnTo>
                <a:lnTo>
                  <a:pt x="6046" y="774"/>
                </a:lnTo>
                <a:lnTo>
                  <a:pt x="6054" y="768"/>
                </a:lnTo>
                <a:lnTo>
                  <a:pt x="6060" y="762"/>
                </a:lnTo>
                <a:lnTo>
                  <a:pt x="6063" y="758"/>
                </a:lnTo>
                <a:lnTo>
                  <a:pt x="6062" y="752"/>
                </a:lnTo>
                <a:lnTo>
                  <a:pt x="6058" y="741"/>
                </a:lnTo>
                <a:lnTo>
                  <a:pt x="6054" y="728"/>
                </a:lnTo>
                <a:lnTo>
                  <a:pt x="6048" y="714"/>
                </a:lnTo>
                <a:lnTo>
                  <a:pt x="6038" y="688"/>
                </a:lnTo>
                <a:lnTo>
                  <a:pt x="6032" y="677"/>
                </a:lnTo>
                <a:lnTo>
                  <a:pt x="6029" y="669"/>
                </a:lnTo>
                <a:lnTo>
                  <a:pt x="6022" y="653"/>
                </a:lnTo>
                <a:lnTo>
                  <a:pt x="6017" y="646"/>
                </a:lnTo>
                <a:lnTo>
                  <a:pt x="6011" y="642"/>
                </a:lnTo>
                <a:lnTo>
                  <a:pt x="6009" y="641"/>
                </a:lnTo>
                <a:lnTo>
                  <a:pt x="6006" y="642"/>
                </a:lnTo>
                <a:lnTo>
                  <a:pt x="6004" y="644"/>
                </a:lnTo>
                <a:lnTo>
                  <a:pt x="6002" y="647"/>
                </a:lnTo>
                <a:lnTo>
                  <a:pt x="5995" y="662"/>
                </a:lnTo>
                <a:lnTo>
                  <a:pt x="5987" y="672"/>
                </a:lnTo>
                <a:lnTo>
                  <a:pt x="5981" y="680"/>
                </a:lnTo>
                <a:lnTo>
                  <a:pt x="5976" y="684"/>
                </a:lnTo>
                <a:lnTo>
                  <a:pt x="5970" y="689"/>
                </a:lnTo>
                <a:lnTo>
                  <a:pt x="5967" y="693"/>
                </a:lnTo>
                <a:lnTo>
                  <a:pt x="5965" y="697"/>
                </a:lnTo>
                <a:lnTo>
                  <a:pt x="5964" y="701"/>
                </a:lnTo>
                <a:lnTo>
                  <a:pt x="5967" y="707"/>
                </a:lnTo>
                <a:lnTo>
                  <a:pt x="5972" y="712"/>
                </a:lnTo>
                <a:lnTo>
                  <a:pt x="5969" y="723"/>
                </a:lnTo>
                <a:close/>
                <a:moveTo>
                  <a:pt x="5802" y="468"/>
                </a:moveTo>
                <a:lnTo>
                  <a:pt x="5799" y="476"/>
                </a:lnTo>
                <a:lnTo>
                  <a:pt x="5793" y="485"/>
                </a:lnTo>
                <a:lnTo>
                  <a:pt x="5787" y="493"/>
                </a:lnTo>
                <a:lnTo>
                  <a:pt x="5782" y="501"/>
                </a:lnTo>
                <a:lnTo>
                  <a:pt x="5778" y="508"/>
                </a:lnTo>
                <a:lnTo>
                  <a:pt x="5775" y="515"/>
                </a:lnTo>
                <a:lnTo>
                  <a:pt x="5775" y="518"/>
                </a:lnTo>
                <a:lnTo>
                  <a:pt x="5775" y="521"/>
                </a:lnTo>
                <a:lnTo>
                  <a:pt x="5776" y="526"/>
                </a:lnTo>
                <a:lnTo>
                  <a:pt x="5777" y="530"/>
                </a:lnTo>
                <a:lnTo>
                  <a:pt x="5783" y="537"/>
                </a:lnTo>
                <a:lnTo>
                  <a:pt x="5789" y="545"/>
                </a:lnTo>
                <a:lnTo>
                  <a:pt x="5797" y="551"/>
                </a:lnTo>
                <a:lnTo>
                  <a:pt x="5803" y="556"/>
                </a:lnTo>
                <a:lnTo>
                  <a:pt x="5808" y="560"/>
                </a:lnTo>
                <a:lnTo>
                  <a:pt x="5812" y="563"/>
                </a:lnTo>
                <a:lnTo>
                  <a:pt x="5813" y="565"/>
                </a:lnTo>
                <a:lnTo>
                  <a:pt x="5813" y="567"/>
                </a:lnTo>
                <a:lnTo>
                  <a:pt x="5813" y="567"/>
                </a:lnTo>
                <a:lnTo>
                  <a:pt x="5811" y="567"/>
                </a:lnTo>
                <a:lnTo>
                  <a:pt x="5799" y="563"/>
                </a:lnTo>
                <a:lnTo>
                  <a:pt x="5781" y="557"/>
                </a:lnTo>
                <a:lnTo>
                  <a:pt x="5777" y="556"/>
                </a:lnTo>
                <a:lnTo>
                  <a:pt x="5772" y="556"/>
                </a:lnTo>
                <a:lnTo>
                  <a:pt x="5769" y="556"/>
                </a:lnTo>
                <a:lnTo>
                  <a:pt x="5766" y="557"/>
                </a:lnTo>
                <a:lnTo>
                  <a:pt x="5764" y="559"/>
                </a:lnTo>
                <a:lnTo>
                  <a:pt x="5762" y="562"/>
                </a:lnTo>
                <a:lnTo>
                  <a:pt x="5762" y="567"/>
                </a:lnTo>
                <a:lnTo>
                  <a:pt x="5763" y="572"/>
                </a:lnTo>
                <a:lnTo>
                  <a:pt x="5764" y="577"/>
                </a:lnTo>
                <a:lnTo>
                  <a:pt x="5766" y="582"/>
                </a:lnTo>
                <a:lnTo>
                  <a:pt x="5768" y="587"/>
                </a:lnTo>
                <a:lnTo>
                  <a:pt x="5771" y="592"/>
                </a:lnTo>
                <a:lnTo>
                  <a:pt x="5777" y="599"/>
                </a:lnTo>
                <a:lnTo>
                  <a:pt x="5783" y="604"/>
                </a:lnTo>
                <a:lnTo>
                  <a:pt x="5790" y="607"/>
                </a:lnTo>
                <a:lnTo>
                  <a:pt x="5796" y="608"/>
                </a:lnTo>
                <a:lnTo>
                  <a:pt x="5799" y="608"/>
                </a:lnTo>
                <a:lnTo>
                  <a:pt x="5801" y="607"/>
                </a:lnTo>
                <a:lnTo>
                  <a:pt x="5803" y="606"/>
                </a:lnTo>
                <a:lnTo>
                  <a:pt x="5804" y="605"/>
                </a:lnTo>
                <a:lnTo>
                  <a:pt x="5810" y="594"/>
                </a:lnTo>
                <a:lnTo>
                  <a:pt x="5818" y="582"/>
                </a:lnTo>
                <a:lnTo>
                  <a:pt x="5821" y="577"/>
                </a:lnTo>
                <a:lnTo>
                  <a:pt x="5824" y="574"/>
                </a:lnTo>
                <a:lnTo>
                  <a:pt x="5825" y="574"/>
                </a:lnTo>
                <a:lnTo>
                  <a:pt x="5826" y="573"/>
                </a:lnTo>
                <a:lnTo>
                  <a:pt x="5826" y="574"/>
                </a:lnTo>
                <a:lnTo>
                  <a:pt x="5827" y="575"/>
                </a:lnTo>
                <a:lnTo>
                  <a:pt x="5829" y="582"/>
                </a:lnTo>
                <a:lnTo>
                  <a:pt x="5831" y="591"/>
                </a:lnTo>
                <a:lnTo>
                  <a:pt x="5832" y="595"/>
                </a:lnTo>
                <a:lnTo>
                  <a:pt x="5831" y="599"/>
                </a:lnTo>
                <a:lnTo>
                  <a:pt x="5828" y="603"/>
                </a:lnTo>
                <a:lnTo>
                  <a:pt x="5824" y="608"/>
                </a:lnTo>
                <a:lnTo>
                  <a:pt x="5811" y="616"/>
                </a:lnTo>
                <a:lnTo>
                  <a:pt x="5803" y="621"/>
                </a:lnTo>
                <a:lnTo>
                  <a:pt x="5802" y="623"/>
                </a:lnTo>
                <a:lnTo>
                  <a:pt x="5801" y="624"/>
                </a:lnTo>
                <a:lnTo>
                  <a:pt x="5801" y="626"/>
                </a:lnTo>
                <a:lnTo>
                  <a:pt x="5802" y="627"/>
                </a:lnTo>
                <a:lnTo>
                  <a:pt x="5805" y="633"/>
                </a:lnTo>
                <a:lnTo>
                  <a:pt x="5813" y="638"/>
                </a:lnTo>
                <a:lnTo>
                  <a:pt x="5835" y="656"/>
                </a:lnTo>
                <a:lnTo>
                  <a:pt x="5860" y="678"/>
                </a:lnTo>
                <a:lnTo>
                  <a:pt x="5880" y="695"/>
                </a:lnTo>
                <a:lnTo>
                  <a:pt x="5889" y="703"/>
                </a:lnTo>
                <a:lnTo>
                  <a:pt x="5897" y="705"/>
                </a:lnTo>
                <a:lnTo>
                  <a:pt x="5916" y="708"/>
                </a:lnTo>
                <a:lnTo>
                  <a:pt x="5926" y="709"/>
                </a:lnTo>
                <a:lnTo>
                  <a:pt x="5936" y="710"/>
                </a:lnTo>
                <a:lnTo>
                  <a:pt x="5939" y="710"/>
                </a:lnTo>
                <a:lnTo>
                  <a:pt x="5942" y="709"/>
                </a:lnTo>
                <a:lnTo>
                  <a:pt x="5944" y="708"/>
                </a:lnTo>
                <a:lnTo>
                  <a:pt x="5945" y="707"/>
                </a:lnTo>
                <a:lnTo>
                  <a:pt x="5946" y="693"/>
                </a:lnTo>
                <a:lnTo>
                  <a:pt x="5945" y="670"/>
                </a:lnTo>
                <a:lnTo>
                  <a:pt x="5944" y="648"/>
                </a:lnTo>
                <a:lnTo>
                  <a:pt x="5943" y="639"/>
                </a:lnTo>
                <a:lnTo>
                  <a:pt x="5947" y="637"/>
                </a:lnTo>
                <a:lnTo>
                  <a:pt x="5957" y="629"/>
                </a:lnTo>
                <a:lnTo>
                  <a:pt x="5961" y="623"/>
                </a:lnTo>
                <a:lnTo>
                  <a:pt x="5963" y="617"/>
                </a:lnTo>
                <a:lnTo>
                  <a:pt x="5963" y="613"/>
                </a:lnTo>
                <a:lnTo>
                  <a:pt x="5963" y="609"/>
                </a:lnTo>
                <a:lnTo>
                  <a:pt x="5961" y="604"/>
                </a:lnTo>
                <a:lnTo>
                  <a:pt x="5959" y="600"/>
                </a:lnTo>
                <a:lnTo>
                  <a:pt x="5948" y="582"/>
                </a:lnTo>
                <a:lnTo>
                  <a:pt x="5940" y="570"/>
                </a:lnTo>
                <a:lnTo>
                  <a:pt x="5937" y="565"/>
                </a:lnTo>
                <a:lnTo>
                  <a:pt x="5933" y="562"/>
                </a:lnTo>
                <a:lnTo>
                  <a:pt x="5931" y="562"/>
                </a:lnTo>
                <a:lnTo>
                  <a:pt x="5930" y="562"/>
                </a:lnTo>
                <a:lnTo>
                  <a:pt x="5928" y="563"/>
                </a:lnTo>
                <a:lnTo>
                  <a:pt x="5925" y="564"/>
                </a:lnTo>
                <a:lnTo>
                  <a:pt x="5918" y="577"/>
                </a:lnTo>
                <a:lnTo>
                  <a:pt x="5909" y="594"/>
                </a:lnTo>
                <a:lnTo>
                  <a:pt x="5904" y="601"/>
                </a:lnTo>
                <a:lnTo>
                  <a:pt x="5901" y="605"/>
                </a:lnTo>
                <a:lnTo>
                  <a:pt x="5900" y="606"/>
                </a:lnTo>
                <a:lnTo>
                  <a:pt x="5900" y="606"/>
                </a:lnTo>
                <a:lnTo>
                  <a:pt x="5899" y="604"/>
                </a:lnTo>
                <a:lnTo>
                  <a:pt x="5900" y="602"/>
                </a:lnTo>
                <a:lnTo>
                  <a:pt x="5902" y="587"/>
                </a:lnTo>
                <a:lnTo>
                  <a:pt x="5907" y="574"/>
                </a:lnTo>
                <a:lnTo>
                  <a:pt x="5908" y="568"/>
                </a:lnTo>
                <a:lnTo>
                  <a:pt x="5909" y="562"/>
                </a:lnTo>
                <a:lnTo>
                  <a:pt x="5909" y="558"/>
                </a:lnTo>
                <a:lnTo>
                  <a:pt x="5907" y="555"/>
                </a:lnTo>
                <a:lnTo>
                  <a:pt x="5900" y="550"/>
                </a:lnTo>
                <a:lnTo>
                  <a:pt x="5894" y="546"/>
                </a:lnTo>
                <a:lnTo>
                  <a:pt x="5890" y="543"/>
                </a:lnTo>
                <a:lnTo>
                  <a:pt x="5886" y="543"/>
                </a:lnTo>
                <a:lnTo>
                  <a:pt x="5882" y="545"/>
                </a:lnTo>
                <a:lnTo>
                  <a:pt x="5878" y="548"/>
                </a:lnTo>
                <a:lnTo>
                  <a:pt x="5873" y="553"/>
                </a:lnTo>
                <a:lnTo>
                  <a:pt x="5867" y="557"/>
                </a:lnTo>
                <a:lnTo>
                  <a:pt x="5858" y="562"/>
                </a:lnTo>
                <a:lnTo>
                  <a:pt x="5851" y="567"/>
                </a:lnTo>
                <a:lnTo>
                  <a:pt x="5844" y="570"/>
                </a:lnTo>
                <a:lnTo>
                  <a:pt x="5837" y="572"/>
                </a:lnTo>
                <a:lnTo>
                  <a:pt x="5834" y="572"/>
                </a:lnTo>
                <a:lnTo>
                  <a:pt x="5832" y="572"/>
                </a:lnTo>
                <a:lnTo>
                  <a:pt x="5831" y="572"/>
                </a:lnTo>
                <a:lnTo>
                  <a:pt x="5831" y="571"/>
                </a:lnTo>
                <a:lnTo>
                  <a:pt x="5833" y="565"/>
                </a:lnTo>
                <a:lnTo>
                  <a:pt x="5838" y="558"/>
                </a:lnTo>
                <a:lnTo>
                  <a:pt x="5844" y="552"/>
                </a:lnTo>
                <a:lnTo>
                  <a:pt x="5848" y="548"/>
                </a:lnTo>
                <a:lnTo>
                  <a:pt x="5852" y="545"/>
                </a:lnTo>
                <a:lnTo>
                  <a:pt x="5859" y="538"/>
                </a:lnTo>
                <a:lnTo>
                  <a:pt x="5864" y="535"/>
                </a:lnTo>
                <a:lnTo>
                  <a:pt x="5868" y="533"/>
                </a:lnTo>
                <a:lnTo>
                  <a:pt x="5873" y="532"/>
                </a:lnTo>
                <a:lnTo>
                  <a:pt x="5878" y="533"/>
                </a:lnTo>
                <a:lnTo>
                  <a:pt x="5882" y="533"/>
                </a:lnTo>
                <a:lnTo>
                  <a:pt x="5887" y="534"/>
                </a:lnTo>
                <a:lnTo>
                  <a:pt x="5891" y="533"/>
                </a:lnTo>
                <a:lnTo>
                  <a:pt x="5894" y="533"/>
                </a:lnTo>
                <a:lnTo>
                  <a:pt x="5896" y="532"/>
                </a:lnTo>
                <a:lnTo>
                  <a:pt x="5897" y="530"/>
                </a:lnTo>
                <a:lnTo>
                  <a:pt x="5898" y="529"/>
                </a:lnTo>
                <a:lnTo>
                  <a:pt x="5898" y="527"/>
                </a:lnTo>
                <a:lnTo>
                  <a:pt x="5897" y="519"/>
                </a:lnTo>
                <a:lnTo>
                  <a:pt x="5898" y="507"/>
                </a:lnTo>
                <a:lnTo>
                  <a:pt x="5898" y="496"/>
                </a:lnTo>
                <a:lnTo>
                  <a:pt x="5898" y="491"/>
                </a:lnTo>
                <a:lnTo>
                  <a:pt x="5900" y="490"/>
                </a:lnTo>
                <a:lnTo>
                  <a:pt x="5906" y="486"/>
                </a:lnTo>
                <a:lnTo>
                  <a:pt x="5907" y="483"/>
                </a:lnTo>
                <a:lnTo>
                  <a:pt x="5908" y="480"/>
                </a:lnTo>
                <a:lnTo>
                  <a:pt x="5908" y="476"/>
                </a:lnTo>
                <a:lnTo>
                  <a:pt x="5906" y="473"/>
                </a:lnTo>
                <a:lnTo>
                  <a:pt x="5896" y="463"/>
                </a:lnTo>
                <a:lnTo>
                  <a:pt x="5886" y="447"/>
                </a:lnTo>
                <a:lnTo>
                  <a:pt x="5875" y="432"/>
                </a:lnTo>
                <a:lnTo>
                  <a:pt x="5870" y="423"/>
                </a:lnTo>
                <a:lnTo>
                  <a:pt x="5866" y="419"/>
                </a:lnTo>
                <a:lnTo>
                  <a:pt x="5860" y="416"/>
                </a:lnTo>
                <a:lnTo>
                  <a:pt x="5857" y="415"/>
                </a:lnTo>
                <a:lnTo>
                  <a:pt x="5855" y="415"/>
                </a:lnTo>
                <a:lnTo>
                  <a:pt x="5852" y="416"/>
                </a:lnTo>
                <a:lnTo>
                  <a:pt x="5849" y="417"/>
                </a:lnTo>
                <a:lnTo>
                  <a:pt x="5834" y="430"/>
                </a:lnTo>
                <a:lnTo>
                  <a:pt x="5824" y="439"/>
                </a:lnTo>
                <a:lnTo>
                  <a:pt x="5807" y="449"/>
                </a:lnTo>
                <a:lnTo>
                  <a:pt x="5802" y="468"/>
                </a:lnTo>
                <a:close/>
                <a:moveTo>
                  <a:pt x="5133" y="336"/>
                </a:moveTo>
                <a:lnTo>
                  <a:pt x="5135" y="340"/>
                </a:lnTo>
                <a:lnTo>
                  <a:pt x="5139" y="342"/>
                </a:lnTo>
                <a:lnTo>
                  <a:pt x="5142" y="343"/>
                </a:lnTo>
                <a:lnTo>
                  <a:pt x="5146" y="343"/>
                </a:lnTo>
                <a:lnTo>
                  <a:pt x="5151" y="342"/>
                </a:lnTo>
                <a:lnTo>
                  <a:pt x="5153" y="340"/>
                </a:lnTo>
                <a:lnTo>
                  <a:pt x="5153" y="337"/>
                </a:lnTo>
                <a:lnTo>
                  <a:pt x="5150" y="332"/>
                </a:lnTo>
                <a:lnTo>
                  <a:pt x="5147" y="327"/>
                </a:lnTo>
                <a:lnTo>
                  <a:pt x="5143" y="323"/>
                </a:lnTo>
                <a:lnTo>
                  <a:pt x="5139" y="320"/>
                </a:lnTo>
                <a:lnTo>
                  <a:pt x="5132" y="317"/>
                </a:lnTo>
                <a:lnTo>
                  <a:pt x="5130" y="316"/>
                </a:lnTo>
                <a:lnTo>
                  <a:pt x="5127" y="316"/>
                </a:lnTo>
                <a:lnTo>
                  <a:pt x="5125" y="316"/>
                </a:lnTo>
                <a:lnTo>
                  <a:pt x="5124" y="317"/>
                </a:lnTo>
                <a:lnTo>
                  <a:pt x="5123" y="321"/>
                </a:lnTo>
                <a:lnTo>
                  <a:pt x="5124" y="327"/>
                </a:lnTo>
                <a:lnTo>
                  <a:pt x="5125" y="331"/>
                </a:lnTo>
                <a:lnTo>
                  <a:pt x="5126" y="332"/>
                </a:lnTo>
                <a:lnTo>
                  <a:pt x="5133" y="336"/>
                </a:lnTo>
                <a:close/>
                <a:moveTo>
                  <a:pt x="5132" y="417"/>
                </a:moveTo>
                <a:lnTo>
                  <a:pt x="5131" y="423"/>
                </a:lnTo>
                <a:lnTo>
                  <a:pt x="5130" y="430"/>
                </a:lnTo>
                <a:lnTo>
                  <a:pt x="5131" y="435"/>
                </a:lnTo>
                <a:lnTo>
                  <a:pt x="5132" y="439"/>
                </a:lnTo>
                <a:lnTo>
                  <a:pt x="5135" y="445"/>
                </a:lnTo>
                <a:lnTo>
                  <a:pt x="5139" y="451"/>
                </a:lnTo>
                <a:lnTo>
                  <a:pt x="5146" y="462"/>
                </a:lnTo>
                <a:lnTo>
                  <a:pt x="5149" y="467"/>
                </a:lnTo>
                <a:lnTo>
                  <a:pt x="5151" y="466"/>
                </a:lnTo>
                <a:lnTo>
                  <a:pt x="5153" y="465"/>
                </a:lnTo>
                <a:lnTo>
                  <a:pt x="5156" y="461"/>
                </a:lnTo>
                <a:lnTo>
                  <a:pt x="5161" y="455"/>
                </a:lnTo>
                <a:lnTo>
                  <a:pt x="5166" y="449"/>
                </a:lnTo>
                <a:lnTo>
                  <a:pt x="5171" y="446"/>
                </a:lnTo>
                <a:lnTo>
                  <a:pt x="5176" y="444"/>
                </a:lnTo>
                <a:lnTo>
                  <a:pt x="5182" y="442"/>
                </a:lnTo>
                <a:lnTo>
                  <a:pt x="5186" y="441"/>
                </a:lnTo>
                <a:lnTo>
                  <a:pt x="5189" y="438"/>
                </a:lnTo>
                <a:lnTo>
                  <a:pt x="5190" y="437"/>
                </a:lnTo>
                <a:lnTo>
                  <a:pt x="5190" y="435"/>
                </a:lnTo>
                <a:lnTo>
                  <a:pt x="5190" y="431"/>
                </a:lnTo>
                <a:lnTo>
                  <a:pt x="5189" y="428"/>
                </a:lnTo>
                <a:lnTo>
                  <a:pt x="5185" y="411"/>
                </a:lnTo>
                <a:lnTo>
                  <a:pt x="5182" y="397"/>
                </a:lnTo>
                <a:lnTo>
                  <a:pt x="5178" y="384"/>
                </a:lnTo>
                <a:lnTo>
                  <a:pt x="5176" y="378"/>
                </a:lnTo>
                <a:lnTo>
                  <a:pt x="5171" y="378"/>
                </a:lnTo>
                <a:lnTo>
                  <a:pt x="5164" y="380"/>
                </a:lnTo>
                <a:lnTo>
                  <a:pt x="5157" y="383"/>
                </a:lnTo>
                <a:lnTo>
                  <a:pt x="5154" y="385"/>
                </a:lnTo>
                <a:lnTo>
                  <a:pt x="5151" y="387"/>
                </a:lnTo>
                <a:lnTo>
                  <a:pt x="5147" y="390"/>
                </a:lnTo>
                <a:lnTo>
                  <a:pt x="5141" y="401"/>
                </a:lnTo>
                <a:lnTo>
                  <a:pt x="5134" y="408"/>
                </a:lnTo>
                <a:lnTo>
                  <a:pt x="5132" y="417"/>
                </a:lnTo>
                <a:close/>
                <a:moveTo>
                  <a:pt x="4895" y="531"/>
                </a:moveTo>
                <a:lnTo>
                  <a:pt x="4897" y="535"/>
                </a:lnTo>
                <a:lnTo>
                  <a:pt x="4899" y="540"/>
                </a:lnTo>
                <a:lnTo>
                  <a:pt x="4902" y="545"/>
                </a:lnTo>
                <a:lnTo>
                  <a:pt x="4906" y="548"/>
                </a:lnTo>
                <a:lnTo>
                  <a:pt x="4908" y="550"/>
                </a:lnTo>
                <a:lnTo>
                  <a:pt x="4910" y="550"/>
                </a:lnTo>
                <a:lnTo>
                  <a:pt x="4913" y="551"/>
                </a:lnTo>
                <a:lnTo>
                  <a:pt x="4916" y="550"/>
                </a:lnTo>
                <a:lnTo>
                  <a:pt x="4920" y="549"/>
                </a:lnTo>
                <a:lnTo>
                  <a:pt x="4923" y="548"/>
                </a:lnTo>
                <a:lnTo>
                  <a:pt x="4927" y="546"/>
                </a:lnTo>
                <a:lnTo>
                  <a:pt x="4931" y="541"/>
                </a:lnTo>
                <a:lnTo>
                  <a:pt x="4937" y="535"/>
                </a:lnTo>
                <a:lnTo>
                  <a:pt x="4944" y="531"/>
                </a:lnTo>
                <a:lnTo>
                  <a:pt x="4949" y="528"/>
                </a:lnTo>
                <a:lnTo>
                  <a:pt x="4953" y="526"/>
                </a:lnTo>
                <a:lnTo>
                  <a:pt x="4957" y="526"/>
                </a:lnTo>
                <a:lnTo>
                  <a:pt x="4960" y="528"/>
                </a:lnTo>
                <a:lnTo>
                  <a:pt x="4965" y="530"/>
                </a:lnTo>
                <a:lnTo>
                  <a:pt x="4968" y="534"/>
                </a:lnTo>
                <a:lnTo>
                  <a:pt x="4976" y="543"/>
                </a:lnTo>
                <a:lnTo>
                  <a:pt x="4982" y="552"/>
                </a:lnTo>
                <a:lnTo>
                  <a:pt x="4987" y="556"/>
                </a:lnTo>
                <a:lnTo>
                  <a:pt x="4990" y="558"/>
                </a:lnTo>
                <a:lnTo>
                  <a:pt x="4994" y="560"/>
                </a:lnTo>
                <a:lnTo>
                  <a:pt x="4998" y="560"/>
                </a:lnTo>
                <a:lnTo>
                  <a:pt x="5003" y="558"/>
                </a:lnTo>
                <a:lnTo>
                  <a:pt x="5012" y="552"/>
                </a:lnTo>
                <a:lnTo>
                  <a:pt x="5021" y="545"/>
                </a:lnTo>
                <a:lnTo>
                  <a:pt x="5032" y="536"/>
                </a:lnTo>
                <a:lnTo>
                  <a:pt x="5041" y="529"/>
                </a:lnTo>
                <a:lnTo>
                  <a:pt x="5050" y="524"/>
                </a:lnTo>
                <a:lnTo>
                  <a:pt x="5053" y="521"/>
                </a:lnTo>
                <a:lnTo>
                  <a:pt x="5055" y="520"/>
                </a:lnTo>
                <a:lnTo>
                  <a:pt x="5057" y="520"/>
                </a:lnTo>
                <a:lnTo>
                  <a:pt x="5058" y="520"/>
                </a:lnTo>
                <a:lnTo>
                  <a:pt x="5056" y="532"/>
                </a:lnTo>
                <a:lnTo>
                  <a:pt x="5053" y="548"/>
                </a:lnTo>
                <a:lnTo>
                  <a:pt x="5050" y="556"/>
                </a:lnTo>
                <a:lnTo>
                  <a:pt x="5046" y="563"/>
                </a:lnTo>
                <a:lnTo>
                  <a:pt x="5043" y="569"/>
                </a:lnTo>
                <a:lnTo>
                  <a:pt x="5041" y="572"/>
                </a:lnTo>
                <a:lnTo>
                  <a:pt x="5033" y="575"/>
                </a:lnTo>
                <a:lnTo>
                  <a:pt x="5025" y="578"/>
                </a:lnTo>
                <a:lnTo>
                  <a:pt x="5022" y="579"/>
                </a:lnTo>
                <a:lnTo>
                  <a:pt x="5022" y="581"/>
                </a:lnTo>
                <a:lnTo>
                  <a:pt x="5024" y="583"/>
                </a:lnTo>
                <a:lnTo>
                  <a:pt x="5029" y="586"/>
                </a:lnTo>
                <a:lnTo>
                  <a:pt x="5033" y="587"/>
                </a:lnTo>
                <a:lnTo>
                  <a:pt x="5036" y="589"/>
                </a:lnTo>
                <a:lnTo>
                  <a:pt x="5040" y="587"/>
                </a:lnTo>
                <a:lnTo>
                  <a:pt x="5044" y="587"/>
                </a:lnTo>
                <a:lnTo>
                  <a:pt x="5052" y="583"/>
                </a:lnTo>
                <a:lnTo>
                  <a:pt x="5060" y="577"/>
                </a:lnTo>
                <a:lnTo>
                  <a:pt x="5066" y="571"/>
                </a:lnTo>
                <a:lnTo>
                  <a:pt x="5070" y="562"/>
                </a:lnTo>
                <a:lnTo>
                  <a:pt x="5072" y="559"/>
                </a:lnTo>
                <a:lnTo>
                  <a:pt x="5073" y="555"/>
                </a:lnTo>
                <a:lnTo>
                  <a:pt x="5073" y="551"/>
                </a:lnTo>
                <a:lnTo>
                  <a:pt x="5072" y="548"/>
                </a:lnTo>
                <a:lnTo>
                  <a:pt x="5067" y="536"/>
                </a:lnTo>
                <a:lnTo>
                  <a:pt x="5064" y="530"/>
                </a:lnTo>
                <a:lnTo>
                  <a:pt x="5064" y="528"/>
                </a:lnTo>
                <a:lnTo>
                  <a:pt x="5064" y="527"/>
                </a:lnTo>
                <a:lnTo>
                  <a:pt x="5065" y="525"/>
                </a:lnTo>
                <a:lnTo>
                  <a:pt x="5066" y="524"/>
                </a:lnTo>
                <a:lnTo>
                  <a:pt x="5074" y="520"/>
                </a:lnTo>
                <a:lnTo>
                  <a:pt x="5082" y="516"/>
                </a:lnTo>
                <a:lnTo>
                  <a:pt x="5091" y="513"/>
                </a:lnTo>
                <a:lnTo>
                  <a:pt x="5098" y="513"/>
                </a:lnTo>
                <a:lnTo>
                  <a:pt x="5100" y="511"/>
                </a:lnTo>
                <a:lnTo>
                  <a:pt x="5103" y="506"/>
                </a:lnTo>
                <a:lnTo>
                  <a:pt x="5107" y="498"/>
                </a:lnTo>
                <a:lnTo>
                  <a:pt x="5110" y="489"/>
                </a:lnTo>
                <a:lnTo>
                  <a:pt x="5117" y="473"/>
                </a:lnTo>
                <a:lnTo>
                  <a:pt x="5119" y="465"/>
                </a:lnTo>
                <a:lnTo>
                  <a:pt x="5118" y="457"/>
                </a:lnTo>
                <a:lnTo>
                  <a:pt x="5113" y="438"/>
                </a:lnTo>
                <a:lnTo>
                  <a:pt x="5111" y="433"/>
                </a:lnTo>
                <a:lnTo>
                  <a:pt x="5109" y="429"/>
                </a:lnTo>
                <a:lnTo>
                  <a:pt x="5107" y="426"/>
                </a:lnTo>
                <a:lnTo>
                  <a:pt x="5105" y="424"/>
                </a:lnTo>
                <a:lnTo>
                  <a:pt x="5103" y="422"/>
                </a:lnTo>
                <a:lnTo>
                  <a:pt x="5100" y="422"/>
                </a:lnTo>
                <a:lnTo>
                  <a:pt x="5097" y="423"/>
                </a:lnTo>
                <a:lnTo>
                  <a:pt x="5092" y="426"/>
                </a:lnTo>
                <a:lnTo>
                  <a:pt x="5086" y="436"/>
                </a:lnTo>
                <a:lnTo>
                  <a:pt x="5080" y="445"/>
                </a:lnTo>
                <a:lnTo>
                  <a:pt x="5075" y="457"/>
                </a:lnTo>
                <a:lnTo>
                  <a:pt x="5069" y="467"/>
                </a:lnTo>
                <a:lnTo>
                  <a:pt x="5065" y="476"/>
                </a:lnTo>
                <a:lnTo>
                  <a:pt x="5061" y="484"/>
                </a:lnTo>
                <a:lnTo>
                  <a:pt x="5059" y="486"/>
                </a:lnTo>
                <a:lnTo>
                  <a:pt x="5057" y="487"/>
                </a:lnTo>
                <a:lnTo>
                  <a:pt x="5056" y="488"/>
                </a:lnTo>
                <a:lnTo>
                  <a:pt x="5054" y="487"/>
                </a:lnTo>
                <a:lnTo>
                  <a:pt x="5050" y="486"/>
                </a:lnTo>
                <a:lnTo>
                  <a:pt x="5044" y="485"/>
                </a:lnTo>
                <a:lnTo>
                  <a:pt x="5038" y="485"/>
                </a:lnTo>
                <a:lnTo>
                  <a:pt x="5032" y="485"/>
                </a:lnTo>
                <a:lnTo>
                  <a:pt x="5026" y="484"/>
                </a:lnTo>
                <a:lnTo>
                  <a:pt x="5022" y="482"/>
                </a:lnTo>
                <a:lnTo>
                  <a:pt x="5021" y="481"/>
                </a:lnTo>
                <a:lnTo>
                  <a:pt x="5021" y="479"/>
                </a:lnTo>
                <a:lnTo>
                  <a:pt x="5021" y="476"/>
                </a:lnTo>
                <a:lnTo>
                  <a:pt x="5021" y="474"/>
                </a:lnTo>
                <a:lnTo>
                  <a:pt x="5028" y="461"/>
                </a:lnTo>
                <a:lnTo>
                  <a:pt x="5033" y="446"/>
                </a:lnTo>
                <a:lnTo>
                  <a:pt x="5035" y="440"/>
                </a:lnTo>
                <a:lnTo>
                  <a:pt x="5036" y="433"/>
                </a:lnTo>
                <a:lnTo>
                  <a:pt x="5036" y="428"/>
                </a:lnTo>
                <a:lnTo>
                  <a:pt x="5035" y="425"/>
                </a:lnTo>
                <a:lnTo>
                  <a:pt x="5030" y="417"/>
                </a:lnTo>
                <a:lnTo>
                  <a:pt x="5025" y="408"/>
                </a:lnTo>
                <a:lnTo>
                  <a:pt x="5023" y="404"/>
                </a:lnTo>
                <a:lnTo>
                  <a:pt x="5023" y="401"/>
                </a:lnTo>
                <a:lnTo>
                  <a:pt x="5024" y="398"/>
                </a:lnTo>
                <a:lnTo>
                  <a:pt x="5028" y="396"/>
                </a:lnTo>
                <a:lnTo>
                  <a:pt x="5037" y="393"/>
                </a:lnTo>
                <a:lnTo>
                  <a:pt x="5047" y="386"/>
                </a:lnTo>
                <a:lnTo>
                  <a:pt x="5052" y="383"/>
                </a:lnTo>
                <a:lnTo>
                  <a:pt x="5054" y="380"/>
                </a:lnTo>
                <a:lnTo>
                  <a:pt x="5054" y="379"/>
                </a:lnTo>
                <a:lnTo>
                  <a:pt x="5053" y="377"/>
                </a:lnTo>
                <a:lnTo>
                  <a:pt x="5052" y="376"/>
                </a:lnTo>
                <a:lnTo>
                  <a:pt x="5050" y="375"/>
                </a:lnTo>
                <a:lnTo>
                  <a:pt x="5039" y="372"/>
                </a:lnTo>
                <a:lnTo>
                  <a:pt x="5028" y="371"/>
                </a:lnTo>
                <a:lnTo>
                  <a:pt x="5023" y="370"/>
                </a:lnTo>
                <a:lnTo>
                  <a:pt x="5021" y="368"/>
                </a:lnTo>
                <a:lnTo>
                  <a:pt x="5021" y="366"/>
                </a:lnTo>
                <a:lnTo>
                  <a:pt x="5024" y="363"/>
                </a:lnTo>
                <a:lnTo>
                  <a:pt x="5034" y="357"/>
                </a:lnTo>
                <a:lnTo>
                  <a:pt x="5043" y="352"/>
                </a:lnTo>
                <a:lnTo>
                  <a:pt x="5047" y="349"/>
                </a:lnTo>
                <a:lnTo>
                  <a:pt x="5051" y="346"/>
                </a:lnTo>
                <a:lnTo>
                  <a:pt x="5053" y="343"/>
                </a:lnTo>
                <a:lnTo>
                  <a:pt x="5053" y="341"/>
                </a:lnTo>
                <a:lnTo>
                  <a:pt x="5052" y="333"/>
                </a:lnTo>
                <a:lnTo>
                  <a:pt x="5050" y="321"/>
                </a:lnTo>
                <a:lnTo>
                  <a:pt x="5048" y="316"/>
                </a:lnTo>
                <a:lnTo>
                  <a:pt x="5046" y="313"/>
                </a:lnTo>
                <a:lnTo>
                  <a:pt x="5045" y="312"/>
                </a:lnTo>
                <a:lnTo>
                  <a:pt x="5043" y="312"/>
                </a:lnTo>
                <a:lnTo>
                  <a:pt x="5041" y="312"/>
                </a:lnTo>
                <a:lnTo>
                  <a:pt x="5039" y="314"/>
                </a:lnTo>
                <a:lnTo>
                  <a:pt x="5034" y="318"/>
                </a:lnTo>
                <a:lnTo>
                  <a:pt x="5030" y="324"/>
                </a:lnTo>
                <a:lnTo>
                  <a:pt x="5025" y="331"/>
                </a:lnTo>
                <a:lnTo>
                  <a:pt x="5021" y="338"/>
                </a:lnTo>
                <a:lnTo>
                  <a:pt x="5013" y="352"/>
                </a:lnTo>
                <a:lnTo>
                  <a:pt x="5004" y="362"/>
                </a:lnTo>
                <a:lnTo>
                  <a:pt x="4995" y="370"/>
                </a:lnTo>
                <a:lnTo>
                  <a:pt x="4986" y="379"/>
                </a:lnTo>
                <a:lnTo>
                  <a:pt x="4981" y="384"/>
                </a:lnTo>
                <a:lnTo>
                  <a:pt x="4979" y="389"/>
                </a:lnTo>
                <a:lnTo>
                  <a:pt x="4978" y="395"/>
                </a:lnTo>
                <a:lnTo>
                  <a:pt x="4979" y="401"/>
                </a:lnTo>
                <a:lnTo>
                  <a:pt x="4980" y="404"/>
                </a:lnTo>
                <a:lnTo>
                  <a:pt x="4982" y="407"/>
                </a:lnTo>
                <a:lnTo>
                  <a:pt x="4986" y="409"/>
                </a:lnTo>
                <a:lnTo>
                  <a:pt x="4988" y="410"/>
                </a:lnTo>
                <a:lnTo>
                  <a:pt x="4995" y="414"/>
                </a:lnTo>
                <a:lnTo>
                  <a:pt x="5001" y="416"/>
                </a:lnTo>
                <a:lnTo>
                  <a:pt x="5008" y="417"/>
                </a:lnTo>
                <a:lnTo>
                  <a:pt x="5011" y="419"/>
                </a:lnTo>
                <a:lnTo>
                  <a:pt x="5011" y="420"/>
                </a:lnTo>
                <a:lnTo>
                  <a:pt x="5011" y="421"/>
                </a:lnTo>
                <a:lnTo>
                  <a:pt x="5010" y="423"/>
                </a:lnTo>
                <a:lnTo>
                  <a:pt x="5007" y="425"/>
                </a:lnTo>
                <a:lnTo>
                  <a:pt x="5000" y="429"/>
                </a:lnTo>
                <a:lnTo>
                  <a:pt x="4994" y="432"/>
                </a:lnTo>
                <a:lnTo>
                  <a:pt x="4989" y="435"/>
                </a:lnTo>
                <a:lnTo>
                  <a:pt x="4984" y="436"/>
                </a:lnTo>
                <a:lnTo>
                  <a:pt x="4979" y="437"/>
                </a:lnTo>
                <a:lnTo>
                  <a:pt x="4975" y="437"/>
                </a:lnTo>
                <a:lnTo>
                  <a:pt x="4972" y="435"/>
                </a:lnTo>
                <a:lnTo>
                  <a:pt x="4971" y="432"/>
                </a:lnTo>
                <a:lnTo>
                  <a:pt x="4968" y="418"/>
                </a:lnTo>
                <a:lnTo>
                  <a:pt x="4963" y="398"/>
                </a:lnTo>
                <a:lnTo>
                  <a:pt x="4961" y="394"/>
                </a:lnTo>
                <a:lnTo>
                  <a:pt x="4959" y="390"/>
                </a:lnTo>
                <a:lnTo>
                  <a:pt x="4957" y="387"/>
                </a:lnTo>
                <a:lnTo>
                  <a:pt x="4955" y="385"/>
                </a:lnTo>
                <a:lnTo>
                  <a:pt x="4953" y="384"/>
                </a:lnTo>
                <a:lnTo>
                  <a:pt x="4951" y="384"/>
                </a:lnTo>
                <a:lnTo>
                  <a:pt x="4948" y="387"/>
                </a:lnTo>
                <a:lnTo>
                  <a:pt x="4945" y="390"/>
                </a:lnTo>
                <a:lnTo>
                  <a:pt x="4939" y="400"/>
                </a:lnTo>
                <a:lnTo>
                  <a:pt x="4935" y="407"/>
                </a:lnTo>
                <a:lnTo>
                  <a:pt x="4934" y="415"/>
                </a:lnTo>
                <a:lnTo>
                  <a:pt x="4934" y="420"/>
                </a:lnTo>
                <a:lnTo>
                  <a:pt x="4934" y="425"/>
                </a:lnTo>
                <a:lnTo>
                  <a:pt x="4936" y="429"/>
                </a:lnTo>
                <a:lnTo>
                  <a:pt x="4938" y="433"/>
                </a:lnTo>
                <a:lnTo>
                  <a:pt x="4941" y="438"/>
                </a:lnTo>
                <a:lnTo>
                  <a:pt x="4943" y="440"/>
                </a:lnTo>
                <a:lnTo>
                  <a:pt x="4945" y="441"/>
                </a:lnTo>
                <a:lnTo>
                  <a:pt x="4947" y="441"/>
                </a:lnTo>
                <a:lnTo>
                  <a:pt x="4949" y="442"/>
                </a:lnTo>
                <a:lnTo>
                  <a:pt x="4954" y="442"/>
                </a:lnTo>
                <a:lnTo>
                  <a:pt x="4959" y="441"/>
                </a:lnTo>
                <a:lnTo>
                  <a:pt x="4964" y="441"/>
                </a:lnTo>
                <a:lnTo>
                  <a:pt x="4966" y="441"/>
                </a:lnTo>
                <a:lnTo>
                  <a:pt x="4965" y="443"/>
                </a:lnTo>
                <a:lnTo>
                  <a:pt x="4960" y="446"/>
                </a:lnTo>
                <a:lnTo>
                  <a:pt x="4949" y="452"/>
                </a:lnTo>
                <a:lnTo>
                  <a:pt x="4944" y="455"/>
                </a:lnTo>
                <a:lnTo>
                  <a:pt x="4944" y="457"/>
                </a:lnTo>
                <a:lnTo>
                  <a:pt x="4944" y="458"/>
                </a:lnTo>
                <a:lnTo>
                  <a:pt x="4945" y="460"/>
                </a:lnTo>
                <a:lnTo>
                  <a:pt x="4948" y="463"/>
                </a:lnTo>
                <a:lnTo>
                  <a:pt x="4955" y="470"/>
                </a:lnTo>
                <a:lnTo>
                  <a:pt x="4966" y="476"/>
                </a:lnTo>
                <a:lnTo>
                  <a:pt x="4970" y="480"/>
                </a:lnTo>
                <a:lnTo>
                  <a:pt x="4974" y="482"/>
                </a:lnTo>
                <a:lnTo>
                  <a:pt x="4976" y="484"/>
                </a:lnTo>
                <a:lnTo>
                  <a:pt x="4976" y="486"/>
                </a:lnTo>
                <a:lnTo>
                  <a:pt x="4974" y="491"/>
                </a:lnTo>
                <a:lnTo>
                  <a:pt x="4973" y="497"/>
                </a:lnTo>
                <a:lnTo>
                  <a:pt x="4971" y="499"/>
                </a:lnTo>
                <a:lnTo>
                  <a:pt x="4969" y="501"/>
                </a:lnTo>
                <a:lnTo>
                  <a:pt x="4965" y="499"/>
                </a:lnTo>
                <a:lnTo>
                  <a:pt x="4958" y="496"/>
                </a:lnTo>
                <a:lnTo>
                  <a:pt x="4951" y="492"/>
                </a:lnTo>
                <a:lnTo>
                  <a:pt x="4944" y="489"/>
                </a:lnTo>
                <a:lnTo>
                  <a:pt x="4937" y="489"/>
                </a:lnTo>
                <a:lnTo>
                  <a:pt x="4930" y="489"/>
                </a:lnTo>
                <a:lnTo>
                  <a:pt x="4925" y="490"/>
                </a:lnTo>
                <a:lnTo>
                  <a:pt x="4920" y="492"/>
                </a:lnTo>
                <a:lnTo>
                  <a:pt x="4916" y="495"/>
                </a:lnTo>
                <a:lnTo>
                  <a:pt x="4914" y="497"/>
                </a:lnTo>
                <a:lnTo>
                  <a:pt x="4914" y="507"/>
                </a:lnTo>
                <a:lnTo>
                  <a:pt x="4913" y="512"/>
                </a:lnTo>
                <a:lnTo>
                  <a:pt x="4907" y="515"/>
                </a:lnTo>
                <a:lnTo>
                  <a:pt x="4902" y="516"/>
                </a:lnTo>
                <a:lnTo>
                  <a:pt x="4898" y="520"/>
                </a:lnTo>
                <a:lnTo>
                  <a:pt x="4894" y="524"/>
                </a:lnTo>
                <a:lnTo>
                  <a:pt x="4895" y="528"/>
                </a:lnTo>
                <a:lnTo>
                  <a:pt x="4895" y="531"/>
                </a:lnTo>
                <a:close/>
                <a:moveTo>
                  <a:pt x="4725" y="487"/>
                </a:moveTo>
                <a:lnTo>
                  <a:pt x="4727" y="490"/>
                </a:lnTo>
                <a:lnTo>
                  <a:pt x="4730" y="492"/>
                </a:lnTo>
                <a:lnTo>
                  <a:pt x="4734" y="494"/>
                </a:lnTo>
                <a:lnTo>
                  <a:pt x="4739" y="495"/>
                </a:lnTo>
                <a:lnTo>
                  <a:pt x="4750" y="497"/>
                </a:lnTo>
                <a:lnTo>
                  <a:pt x="4761" y="498"/>
                </a:lnTo>
                <a:lnTo>
                  <a:pt x="4772" y="499"/>
                </a:lnTo>
                <a:lnTo>
                  <a:pt x="4780" y="499"/>
                </a:lnTo>
                <a:lnTo>
                  <a:pt x="4784" y="501"/>
                </a:lnTo>
                <a:lnTo>
                  <a:pt x="4787" y="502"/>
                </a:lnTo>
                <a:lnTo>
                  <a:pt x="4788" y="503"/>
                </a:lnTo>
                <a:lnTo>
                  <a:pt x="4788" y="505"/>
                </a:lnTo>
                <a:lnTo>
                  <a:pt x="4783" y="514"/>
                </a:lnTo>
                <a:lnTo>
                  <a:pt x="4780" y="524"/>
                </a:lnTo>
                <a:lnTo>
                  <a:pt x="4779" y="529"/>
                </a:lnTo>
                <a:lnTo>
                  <a:pt x="4778" y="534"/>
                </a:lnTo>
                <a:lnTo>
                  <a:pt x="4779" y="538"/>
                </a:lnTo>
                <a:lnTo>
                  <a:pt x="4780" y="541"/>
                </a:lnTo>
                <a:lnTo>
                  <a:pt x="4789" y="550"/>
                </a:lnTo>
                <a:lnTo>
                  <a:pt x="4801" y="561"/>
                </a:lnTo>
                <a:lnTo>
                  <a:pt x="4815" y="572"/>
                </a:lnTo>
                <a:lnTo>
                  <a:pt x="4824" y="579"/>
                </a:lnTo>
                <a:lnTo>
                  <a:pt x="4826" y="580"/>
                </a:lnTo>
                <a:lnTo>
                  <a:pt x="4828" y="580"/>
                </a:lnTo>
                <a:lnTo>
                  <a:pt x="4832" y="579"/>
                </a:lnTo>
                <a:lnTo>
                  <a:pt x="4836" y="577"/>
                </a:lnTo>
                <a:lnTo>
                  <a:pt x="4843" y="574"/>
                </a:lnTo>
                <a:lnTo>
                  <a:pt x="4851" y="569"/>
                </a:lnTo>
                <a:lnTo>
                  <a:pt x="4865" y="558"/>
                </a:lnTo>
                <a:lnTo>
                  <a:pt x="4871" y="553"/>
                </a:lnTo>
                <a:lnTo>
                  <a:pt x="4863" y="552"/>
                </a:lnTo>
                <a:lnTo>
                  <a:pt x="4844" y="548"/>
                </a:lnTo>
                <a:lnTo>
                  <a:pt x="4835" y="545"/>
                </a:lnTo>
                <a:lnTo>
                  <a:pt x="4828" y="541"/>
                </a:lnTo>
                <a:lnTo>
                  <a:pt x="4826" y="539"/>
                </a:lnTo>
                <a:lnTo>
                  <a:pt x="4825" y="538"/>
                </a:lnTo>
                <a:lnTo>
                  <a:pt x="4826" y="536"/>
                </a:lnTo>
                <a:lnTo>
                  <a:pt x="4827" y="534"/>
                </a:lnTo>
                <a:lnTo>
                  <a:pt x="4838" y="526"/>
                </a:lnTo>
                <a:lnTo>
                  <a:pt x="4845" y="517"/>
                </a:lnTo>
                <a:lnTo>
                  <a:pt x="4849" y="510"/>
                </a:lnTo>
                <a:lnTo>
                  <a:pt x="4851" y="506"/>
                </a:lnTo>
                <a:lnTo>
                  <a:pt x="4857" y="501"/>
                </a:lnTo>
                <a:lnTo>
                  <a:pt x="4868" y="494"/>
                </a:lnTo>
                <a:lnTo>
                  <a:pt x="4872" y="492"/>
                </a:lnTo>
                <a:lnTo>
                  <a:pt x="4878" y="491"/>
                </a:lnTo>
                <a:lnTo>
                  <a:pt x="4884" y="490"/>
                </a:lnTo>
                <a:lnTo>
                  <a:pt x="4889" y="490"/>
                </a:lnTo>
                <a:lnTo>
                  <a:pt x="4894" y="489"/>
                </a:lnTo>
                <a:lnTo>
                  <a:pt x="4898" y="488"/>
                </a:lnTo>
                <a:lnTo>
                  <a:pt x="4898" y="487"/>
                </a:lnTo>
                <a:lnTo>
                  <a:pt x="4898" y="486"/>
                </a:lnTo>
                <a:lnTo>
                  <a:pt x="4898" y="485"/>
                </a:lnTo>
                <a:lnTo>
                  <a:pt x="4895" y="483"/>
                </a:lnTo>
                <a:lnTo>
                  <a:pt x="4886" y="474"/>
                </a:lnTo>
                <a:lnTo>
                  <a:pt x="4877" y="466"/>
                </a:lnTo>
                <a:lnTo>
                  <a:pt x="4869" y="458"/>
                </a:lnTo>
                <a:lnTo>
                  <a:pt x="4866" y="451"/>
                </a:lnTo>
                <a:lnTo>
                  <a:pt x="4867" y="448"/>
                </a:lnTo>
                <a:lnTo>
                  <a:pt x="4870" y="443"/>
                </a:lnTo>
                <a:lnTo>
                  <a:pt x="4876" y="438"/>
                </a:lnTo>
                <a:lnTo>
                  <a:pt x="4881" y="432"/>
                </a:lnTo>
                <a:lnTo>
                  <a:pt x="4885" y="427"/>
                </a:lnTo>
                <a:lnTo>
                  <a:pt x="4886" y="423"/>
                </a:lnTo>
                <a:lnTo>
                  <a:pt x="4886" y="422"/>
                </a:lnTo>
                <a:lnTo>
                  <a:pt x="4885" y="422"/>
                </a:lnTo>
                <a:lnTo>
                  <a:pt x="4882" y="422"/>
                </a:lnTo>
                <a:lnTo>
                  <a:pt x="4878" y="423"/>
                </a:lnTo>
                <a:lnTo>
                  <a:pt x="4870" y="426"/>
                </a:lnTo>
                <a:lnTo>
                  <a:pt x="4865" y="428"/>
                </a:lnTo>
                <a:lnTo>
                  <a:pt x="4861" y="431"/>
                </a:lnTo>
                <a:lnTo>
                  <a:pt x="4860" y="433"/>
                </a:lnTo>
                <a:lnTo>
                  <a:pt x="4859" y="438"/>
                </a:lnTo>
                <a:lnTo>
                  <a:pt x="4860" y="442"/>
                </a:lnTo>
                <a:lnTo>
                  <a:pt x="4859" y="445"/>
                </a:lnTo>
                <a:lnTo>
                  <a:pt x="4858" y="447"/>
                </a:lnTo>
                <a:lnTo>
                  <a:pt x="4856" y="449"/>
                </a:lnTo>
                <a:lnTo>
                  <a:pt x="4854" y="450"/>
                </a:lnTo>
                <a:lnTo>
                  <a:pt x="4848" y="452"/>
                </a:lnTo>
                <a:lnTo>
                  <a:pt x="4843" y="453"/>
                </a:lnTo>
                <a:lnTo>
                  <a:pt x="4839" y="458"/>
                </a:lnTo>
                <a:lnTo>
                  <a:pt x="4834" y="467"/>
                </a:lnTo>
                <a:lnTo>
                  <a:pt x="4831" y="471"/>
                </a:lnTo>
                <a:lnTo>
                  <a:pt x="4827" y="474"/>
                </a:lnTo>
                <a:lnTo>
                  <a:pt x="4826" y="475"/>
                </a:lnTo>
                <a:lnTo>
                  <a:pt x="4824" y="475"/>
                </a:lnTo>
                <a:lnTo>
                  <a:pt x="4822" y="474"/>
                </a:lnTo>
                <a:lnTo>
                  <a:pt x="4820" y="473"/>
                </a:lnTo>
                <a:lnTo>
                  <a:pt x="4817" y="468"/>
                </a:lnTo>
                <a:lnTo>
                  <a:pt x="4814" y="463"/>
                </a:lnTo>
                <a:lnTo>
                  <a:pt x="4812" y="458"/>
                </a:lnTo>
                <a:lnTo>
                  <a:pt x="4811" y="452"/>
                </a:lnTo>
                <a:lnTo>
                  <a:pt x="4809" y="448"/>
                </a:lnTo>
                <a:lnTo>
                  <a:pt x="4806" y="445"/>
                </a:lnTo>
                <a:lnTo>
                  <a:pt x="4803" y="443"/>
                </a:lnTo>
                <a:lnTo>
                  <a:pt x="4800" y="442"/>
                </a:lnTo>
                <a:lnTo>
                  <a:pt x="4787" y="443"/>
                </a:lnTo>
                <a:lnTo>
                  <a:pt x="4767" y="444"/>
                </a:lnTo>
                <a:lnTo>
                  <a:pt x="4757" y="445"/>
                </a:lnTo>
                <a:lnTo>
                  <a:pt x="4750" y="446"/>
                </a:lnTo>
                <a:lnTo>
                  <a:pt x="4747" y="447"/>
                </a:lnTo>
                <a:lnTo>
                  <a:pt x="4744" y="449"/>
                </a:lnTo>
                <a:lnTo>
                  <a:pt x="4743" y="450"/>
                </a:lnTo>
                <a:lnTo>
                  <a:pt x="4741" y="452"/>
                </a:lnTo>
                <a:lnTo>
                  <a:pt x="4738" y="463"/>
                </a:lnTo>
                <a:lnTo>
                  <a:pt x="4733" y="474"/>
                </a:lnTo>
                <a:lnTo>
                  <a:pt x="4728" y="484"/>
                </a:lnTo>
                <a:lnTo>
                  <a:pt x="4725" y="487"/>
                </a:lnTo>
                <a:close/>
                <a:moveTo>
                  <a:pt x="3991" y="712"/>
                </a:moveTo>
                <a:lnTo>
                  <a:pt x="3993" y="724"/>
                </a:lnTo>
                <a:lnTo>
                  <a:pt x="3995" y="735"/>
                </a:lnTo>
                <a:lnTo>
                  <a:pt x="3999" y="747"/>
                </a:lnTo>
                <a:lnTo>
                  <a:pt x="4002" y="756"/>
                </a:lnTo>
                <a:lnTo>
                  <a:pt x="4005" y="763"/>
                </a:lnTo>
                <a:lnTo>
                  <a:pt x="4008" y="769"/>
                </a:lnTo>
                <a:lnTo>
                  <a:pt x="4009" y="770"/>
                </a:lnTo>
                <a:lnTo>
                  <a:pt x="4010" y="770"/>
                </a:lnTo>
                <a:lnTo>
                  <a:pt x="4011" y="769"/>
                </a:lnTo>
                <a:lnTo>
                  <a:pt x="4012" y="766"/>
                </a:lnTo>
                <a:lnTo>
                  <a:pt x="4014" y="753"/>
                </a:lnTo>
                <a:lnTo>
                  <a:pt x="4016" y="741"/>
                </a:lnTo>
                <a:lnTo>
                  <a:pt x="4017" y="738"/>
                </a:lnTo>
                <a:lnTo>
                  <a:pt x="4020" y="735"/>
                </a:lnTo>
                <a:lnTo>
                  <a:pt x="4021" y="735"/>
                </a:lnTo>
                <a:lnTo>
                  <a:pt x="4022" y="738"/>
                </a:lnTo>
                <a:lnTo>
                  <a:pt x="4025" y="748"/>
                </a:lnTo>
                <a:lnTo>
                  <a:pt x="4030" y="757"/>
                </a:lnTo>
                <a:lnTo>
                  <a:pt x="4033" y="761"/>
                </a:lnTo>
                <a:lnTo>
                  <a:pt x="4037" y="765"/>
                </a:lnTo>
                <a:lnTo>
                  <a:pt x="4041" y="767"/>
                </a:lnTo>
                <a:lnTo>
                  <a:pt x="4044" y="767"/>
                </a:lnTo>
                <a:lnTo>
                  <a:pt x="4049" y="765"/>
                </a:lnTo>
                <a:lnTo>
                  <a:pt x="4056" y="760"/>
                </a:lnTo>
                <a:lnTo>
                  <a:pt x="4066" y="753"/>
                </a:lnTo>
                <a:lnTo>
                  <a:pt x="4075" y="746"/>
                </a:lnTo>
                <a:lnTo>
                  <a:pt x="4085" y="739"/>
                </a:lnTo>
                <a:lnTo>
                  <a:pt x="4092" y="734"/>
                </a:lnTo>
                <a:lnTo>
                  <a:pt x="4094" y="734"/>
                </a:lnTo>
                <a:lnTo>
                  <a:pt x="4097" y="734"/>
                </a:lnTo>
                <a:lnTo>
                  <a:pt x="4098" y="735"/>
                </a:lnTo>
                <a:lnTo>
                  <a:pt x="4098" y="738"/>
                </a:lnTo>
                <a:lnTo>
                  <a:pt x="4097" y="745"/>
                </a:lnTo>
                <a:lnTo>
                  <a:pt x="4094" y="750"/>
                </a:lnTo>
                <a:lnTo>
                  <a:pt x="4090" y="754"/>
                </a:lnTo>
                <a:lnTo>
                  <a:pt x="4086" y="758"/>
                </a:lnTo>
                <a:lnTo>
                  <a:pt x="4076" y="763"/>
                </a:lnTo>
                <a:lnTo>
                  <a:pt x="4070" y="769"/>
                </a:lnTo>
                <a:lnTo>
                  <a:pt x="4065" y="774"/>
                </a:lnTo>
                <a:lnTo>
                  <a:pt x="4057" y="778"/>
                </a:lnTo>
                <a:lnTo>
                  <a:pt x="4054" y="780"/>
                </a:lnTo>
                <a:lnTo>
                  <a:pt x="4052" y="784"/>
                </a:lnTo>
                <a:lnTo>
                  <a:pt x="4051" y="790"/>
                </a:lnTo>
                <a:lnTo>
                  <a:pt x="4051" y="798"/>
                </a:lnTo>
                <a:lnTo>
                  <a:pt x="4052" y="802"/>
                </a:lnTo>
                <a:lnTo>
                  <a:pt x="4054" y="804"/>
                </a:lnTo>
                <a:lnTo>
                  <a:pt x="4056" y="807"/>
                </a:lnTo>
                <a:lnTo>
                  <a:pt x="4058" y="809"/>
                </a:lnTo>
                <a:lnTo>
                  <a:pt x="4065" y="811"/>
                </a:lnTo>
                <a:lnTo>
                  <a:pt x="4071" y="812"/>
                </a:lnTo>
                <a:lnTo>
                  <a:pt x="4076" y="812"/>
                </a:lnTo>
                <a:lnTo>
                  <a:pt x="4081" y="814"/>
                </a:lnTo>
                <a:lnTo>
                  <a:pt x="4082" y="815"/>
                </a:lnTo>
                <a:lnTo>
                  <a:pt x="4083" y="817"/>
                </a:lnTo>
                <a:lnTo>
                  <a:pt x="4082" y="819"/>
                </a:lnTo>
                <a:lnTo>
                  <a:pt x="4082" y="822"/>
                </a:lnTo>
                <a:lnTo>
                  <a:pt x="4080" y="826"/>
                </a:lnTo>
                <a:lnTo>
                  <a:pt x="4078" y="830"/>
                </a:lnTo>
                <a:lnTo>
                  <a:pt x="4075" y="833"/>
                </a:lnTo>
                <a:lnTo>
                  <a:pt x="4072" y="835"/>
                </a:lnTo>
                <a:lnTo>
                  <a:pt x="4066" y="839"/>
                </a:lnTo>
                <a:lnTo>
                  <a:pt x="4058" y="843"/>
                </a:lnTo>
                <a:lnTo>
                  <a:pt x="4052" y="847"/>
                </a:lnTo>
                <a:lnTo>
                  <a:pt x="4048" y="850"/>
                </a:lnTo>
                <a:lnTo>
                  <a:pt x="4047" y="853"/>
                </a:lnTo>
                <a:lnTo>
                  <a:pt x="4047" y="855"/>
                </a:lnTo>
                <a:lnTo>
                  <a:pt x="4047" y="857"/>
                </a:lnTo>
                <a:lnTo>
                  <a:pt x="4048" y="860"/>
                </a:lnTo>
                <a:lnTo>
                  <a:pt x="4059" y="876"/>
                </a:lnTo>
                <a:lnTo>
                  <a:pt x="4078" y="899"/>
                </a:lnTo>
                <a:lnTo>
                  <a:pt x="4088" y="910"/>
                </a:lnTo>
                <a:lnTo>
                  <a:pt x="4096" y="921"/>
                </a:lnTo>
                <a:lnTo>
                  <a:pt x="4104" y="929"/>
                </a:lnTo>
                <a:lnTo>
                  <a:pt x="4111" y="934"/>
                </a:lnTo>
                <a:lnTo>
                  <a:pt x="4113" y="935"/>
                </a:lnTo>
                <a:lnTo>
                  <a:pt x="4116" y="936"/>
                </a:lnTo>
                <a:lnTo>
                  <a:pt x="4118" y="936"/>
                </a:lnTo>
                <a:lnTo>
                  <a:pt x="4120" y="935"/>
                </a:lnTo>
                <a:lnTo>
                  <a:pt x="4125" y="933"/>
                </a:lnTo>
                <a:lnTo>
                  <a:pt x="4130" y="929"/>
                </a:lnTo>
                <a:lnTo>
                  <a:pt x="4133" y="924"/>
                </a:lnTo>
                <a:lnTo>
                  <a:pt x="4136" y="918"/>
                </a:lnTo>
                <a:lnTo>
                  <a:pt x="4138" y="911"/>
                </a:lnTo>
                <a:lnTo>
                  <a:pt x="4139" y="906"/>
                </a:lnTo>
                <a:lnTo>
                  <a:pt x="4142" y="893"/>
                </a:lnTo>
                <a:lnTo>
                  <a:pt x="4148" y="871"/>
                </a:lnTo>
                <a:lnTo>
                  <a:pt x="4157" y="843"/>
                </a:lnTo>
                <a:lnTo>
                  <a:pt x="4167" y="813"/>
                </a:lnTo>
                <a:lnTo>
                  <a:pt x="4177" y="783"/>
                </a:lnTo>
                <a:lnTo>
                  <a:pt x="4185" y="759"/>
                </a:lnTo>
                <a:lnTo>
                  <a:pt x="4188" y="751"/>
                </a:lnTo>
                <a:lnTo>
                  <a:pt x="4191" y="745"/>
                </a:lnTo>
                <a:lnTo>
                  <a:pt x="4192" y="744"/>
                </a:lnTo>
                <a:lnTo>
                  <a:pt x="4192" y="743"/>
                </a:lnTo>
                <a:lnTo>
                  <a:pt x="4193" y="743"/>
                </a:lnTo>
                <a:lnTo>
                  <a:pt x="4193" y="744"/>
                </a:lnTo>
                <a:lnTo>
                  <a:pt x="4197" y="756"/>
                </a:lnTo>
                <a:lnTo>
                  <a:pt x="4201" y="770"/>
                </a:lnTo>
                <a:lnTo>
                  <a:pt x="4202" y="775"/>
                </a:lnTo>
                <a:lnTo>
                  <a:pt x="4204" y="781"/>
                </a:lnTo>
                <a:lnTo>
                  <a:pt x="4204" y="785"/>
                </a:lnTo>
                <a:lnTo>
                  <a:pt x="4204" y="790"/>
                </a:lnTo>
                <a:lnTo>
                  <a:pt x="4204" y="791"/>
                </a:lnTo>
                <a:lnTo>
                  <a:pt x="4204" y="792"/>
                </a:lnTo>
                <a:lnTo>
                  <a:pt x="4205" y="793"/>
                </a:lnTo>
                <a:lnTo>
                  <a:pt x="4207" y="793"/>
                </a:lnTo>
                <a:lnTo>
                  <a:pt x="4210" y="794"/>
                </a:lnTo>
                <a:lnTo>
                  <a:pt x="4214" y="794"/>
                </a:lnTo>
                <a:lnTo>
                  <a:pt x="4219" y="795"/>
                </a:lnTo>
                <a:lnTo>
                  <a:pt x="4221" y="797"/>
                </a:lnTo>
                <a:lnTo>
                  <a:pt x="4222" y="799"/>
                </a:lnTo>
                <a:lnTo>
                  <a:pt x="4221" y="802"/>
                </a:lnTo>
                <a:lnTo>
                  <a:pt x="4220" y="805"/>
                </a:lnTo>
                <a:lnTo>
                  <a:pt x="4219" y="811"/>
                </a:lnTo>
                <a:lnTo>
                  <a:pt x="4209" y="826"/>
                </a:lnTo>
                <a:lnTo>
                  <a:pt x="4204" y="838"/>
                </a:lnTo>
                <a:lnTo>
                  <a:pt x="4202" y="843"/>
                </a:lnTo>
                <a:lnTo>
                  <a:pt x="4202" y="847"/>
                </a:lnTo>
                <a:lnTo>
                  <a:pt x="4204" y="852"/>
                </a:lnTo>
                <a:lnTo>
                  <a:pt x="4208" y="857"/>
                </a:lnTo>
                <a:lnTo>
                  <a:pt x="4211" y="858"/>
                </a:lnTo>
                <a:lnTo>
                  <a:pt x="4214" y="859"/>
                </a:lnTo>
                <a:lnTo>
                  <a:pt x="4219" y="859"/>
                </a:lnTo>
                <a:lnTo>
                  <a:pt x="4223" y="859"/>
                </a:lnTo>
                <a:lnTo>
                  <a:pt x="4232" y="855"/>
                </a:lnTo>
                <a:lnTo>
                  <a:pt x="4242" y="850"/>
                </a:lnTo>
                <a:lnTo>
                  <a:pt x="4251" y="846"/>
                </a:lnTo>
                <a:lnTo>
                  <a:pt x="4258" y="843"/>
                </a:lnTo>
                <a:lnTo>
                  <a:pt x="4261" y="843"/>
                </a:lnTo>
                <a:lnTo>
                  <a:pt x="4263" y="843"/>
                </a:lnTo>
                <a:lnTo>
                  <a:pt x="4264" y="844"/>
                </a:lnTo>
                <a:lnTo>
                  <a:pt x="4264" y="846"/>
                </a:lnTo>
                <a:lnTo>
                  <a:pt x="4258" y="860"/>
                </a:lnTo>
                <a:lnTo>
                  <a:pt x="4250" y="876"/>
                </a:lnTo>
                <a:lnTo>
                  <a:pt x="4247" y="882"/>
                </a:lnTo>
                <a:lnTo>
                  <a:pt x="4245" y="887"/>
                </a:lnTo>
                <a:lnTo>
                  <a:pt x="4245" y="889"/>
                </a:lnTo>
                <a:lnTo>
                  <a:pt x="4246" y="890"/>
                </a:lnTo>
                <a:lnTo>
                  <a:pt x="4246" y="891"/>
                </a:lnTo>
                <a:lnTo>
                  <a:pt x="4248" y="891"/>
                </a:lnTo>
                <a:lnTo>
                  <a:pt x="4253" y="889"/>
                </a:lnTo>
                <a:lnTo>
                  <a:pt x="4258" y="884"/>
                </a:lnTo>
                <a:lnTo>
                  <a:pt x="4265" y="878"/>
                </a:lnTo>
                <a:lnTo>
                  <a:pt x="4270" y="870"/>
                </a:lnTo>
                <a:lnTo>
                  <a:pt x="4275" y="863"/>
                </a:lnTo>
                <a:lnTo>
                  <a:pt x="4280" y="856"/>
                </a:lnTo>
                <a:lnTo>
                  <a:pt x="4284" y="848"/>
                </a:lnTo>
                <a:lnTo>
                  <a:pt x="4286" y="842"/>
                </a:lnTo>
                <a:lnTo>
                  <a:pt x="4290" y="831"/>
                </a:lnTo>
                <a:lnTo>
                  <a:pt x="4296" y="819"/>
                </a:lnTo>
                <a:lnTo>
                  <a:pt x="4298" y="814"/>
                </a:lnTo>
                <a:lnTo>
                  <a:pt x="4299" y="809"/>
                </a:lnTo>
                <a:lnTo>
                  <a:pt x="4299" y="806"/>
                </a:lnTo>
                <a:lnTo>
                  <a:pt x="4298" y="804"/>
                </a:lnTo>
                <a:lnTo>
                  <a:pt x="4297" y="802"/>
                </a:lnTo>
                <a:lnTo>
                  <a:pt x="4295" y="801"/>
                </a:lnTo>
                <a:lnTo>
                  <a:pt x="4291" y="799"/>
                </a:lnTo>
                <a:lnTo>
                  <a:pt x="4285" y="797"/>
                </a:lnTo>
                <a:lnTo>
                  <a:pt x="4279" y="797"/>
                </a:lnTo>
                <a:lnTo>
                  <a:pt x="4273" y="796"/>
                </a:lnTo>
                <a:lnTo>
                  <a:pt x="4268" y="795"/>
                </a:lnTo>
                <a:lnTo>
                  <a:pt x="4264" y="794"/>
                </a:lnTo>
                <a:lnTo>
                  <a:pt x="4262" y="793"/>
                </a:lnTo>
                <a:lnTo>
                  <a:pt x="4261" y="792"/>
                </a:lnTo>
                <a:lnTo>
                  <a:pt x="4260" y="791"/>
                </a:lnTo>
                <a:lnTo>
                  <a:pt x="4260" y="789"/>
                </a:lnTo>
                <a:lnTo>
                  <a:pt x="4261" y="781"/>
                </a:lnTo>
                <a:lnTo>
                  <a:pt x="4263" y="774"/>
                </a:lnTo>
                <a:lnTo>
                  <a:pt x="4263" y="770"/>
                </a:lnTo>
                <a:lnTo>
                  <a:pt x="4263" y="767"/>
                </a:lnTo>
                <a:lnTo>
                  <a:pt x="4262" y="763"/>
                </a:lnTo>
                <a:lnTo>
                  <a:pt x="4260" y="760"/>
                </a:lnTo>
                <a:lnTo>
                  <a:pt x="4253" y="750"/>
                </a:lnTo>
                <a:lnTo>
                  <a:pt x="4246" y="733"/>
                </a:lnTo>
                <a:lnTo>
                  <a:pt x="4242" y="725"/>
                </a:lnTo>
                <a:lnTo>
                  <a:pt x="4238" y="716"/>
                </a:lnTo>
                <a:lnTo>
                  <a:pt x="4233" y="709"/>
                </a:lnTo>
                <a:lnTo>
                  <a:pt x="4228" y="704"/>
                </a:lnTo>
                <a:lnTo>
                  <a:pt x="4217" y="694"/>
                </a:lnTo>
                <a:lnTo>
                  <a:pt x="4202" y="685"/>
                </a:lnTo>
                <a:lnTo>
                  <a:pt x="4196" y="680"/>
                </a:lnTo>
                <a:lnTo>
                  <a:pt x="4191" y="674"/>
                </a:lnTo>
                <a:lnTo>
                  <a:pt x="4190" y="672"/>
                </a:lnTo>
                <a:lnTo>
                  <a:pt x="4189" y="669"/>
                </a:lnTo>
                <a:lnTo>
                  <a:pt x="4190" y="667"/>
                </a:lnTo>
                <a:lnTo>
                  <a:pt x="4191" y="665"/>
                </a:lnTo>
                <a:lnTo>
                  <a:pt x="4196" y="660"/>
                </a:lnTo>
                <a:lnTo>
                  <a:pt x="4200" y="656"/>
                </a:lnTo>
                <a:lnTo>
                  <a:pt x="4205" y="652"/>
                </a:lnTo>
                <a:lnTo>
                  <a:pt x="4210" y="649"/>
                </a:lnTo>
                <a:lnTo>
                  <a:pt x="4217" y="648"/>
                </a:lnTo>
                <a:lnTo>
                  <a:pt x="4224" y="646"/>
                </a:lnTo>
                <a:lnTo>
                  <a:pt x="4231" y="646"/>
                </a:lnTo>
                <a:lnTo>
                  <a:pt x="4240" y="647"/>
                </a:lnTo>
                <a:lnTo>
                  <a:pt x="4258" y="649"/>
                </a:lnTo>
                <a:lnTo>
                  <a:pt x="4276" y="650"/>
                </a:lnTo>
                <a:lnTo>
                  <a:pt x="4285" y="650"/>
                </a:lnTo>
                <a:lnTo>
                  <a:pt x="4292" y="650"/>
                </a:lnTo>
                <a:lnTo>
                  <a:pt x="4298" y="648"/>
                </a:lnTo>
                <a:lnTo>
                  <a:pt x="4304" y="646"/>
                </a:lnTo>
                <a:lnTo>
                  <a:pt x="4309" y="640"/>
                </a:lnTo>
                <a:lnTo>
                  <a:pt x="4316" y="629"/>
                </a:lnTo>
                <a:lnTo>
                  <a:pt x="4326" y="616"/>
                </a:lnTo>
                <a:lnTo>
                  <a:pt x="4334" y="601"/>
                </a:lnTo>
                <a:lnTo>
                  <a:pt x="4350" y="575"/>
                </a:lnTo>
                <a:lnTo>
                  <a:pt x="4357" y="563"/>
                </a:lnTo>
                <a:lnTo>
                  <a:pt x="4362" y="562"/>
                </a:lnTo>
                <a:lnTo>
                  <a:pt x="4373" y="560"/>
                </a:lnTo>
                <a:lnTo>
                  <a:pt x="4377" y="558"/>
                </a:lnTo>
                <a:lnTo>
                  <a:pt x="4380" y="555"/>
                </a:lnTo>
                <a:lnTo>
                  <a:pt x="4381" y="553"/>
                </a:lnTo>
                <a:lnTo>
                  <a:pt x="4381" y="551"/>
                </a:lnTo>
                <a:lnTo>
                  <a:pt x="4379" y="549"/>
                </a:lnTo>
                <a:lnTo>
                  <a:pt x="4377" y="546"/>
                </a:lnTo>
                <a:lnTo>
                  <a:pt x="4375" y="542"/>
                </a:lnTo>
                <a:lnTo>
                  <a:pt x="4371" y="541"/>
                </a:lnTo>
                <a:lnTo>
                  <a:pt x="4367" y="540"/>
                </a:lnTo>
                <a:lnTo>
                  <a:pt x="4363" y="539"/>
                </a:lnTo>
                <a:lnTo>
                  <a:pt x="4354" y="540"/>
                </a:lnTo>
                <a:lnTo>
                  <a:pt x="4344" y="541"/>
                </a:lnTo>
                <a:lnTo>
                  <a:pt x="4335" y="543"/>
                </a:lnTo>
                <a:lnTo>
                  <a:pt x="4326" y="546"/>
                </a:lnTo>
                <a:lnTo>
                  <a:pt x="4322" y="546"/>
                </a:lnTo>
                <a:lnTo>
                  <a:pt x="4319" y="546"/>
                </a:lnTo>
                <a:lnTo>
                  <a:pt x="4316" y="545"/>
                </a:lnTo>
                <a:lnTo>
                  <a:pt x="4314" y="543"/>
                </a:lnTo>
                <a:lnTo>
                  <a:pt x="4305" y="536"/>
                </a:lnTo>
                <a:lnTo>
                  <a:pt x="4292" y="528"/>
                </a:lnTo>
                <a:lnTo>
                  <a:pt x="4280" y="520"/>
                </a:lnTo>
                <a:lnTo>
                  <a:pt x="4270" y="514"/>
                </a:lnTo>
                <a:lnTo>
                  <a:pt x="4258" y="508"/>
                </a:lnTo>
                <a:lnTo>
                  <a:pt x="4247" y="503"/>
                </a:lnTo>
                <a:lnTo>
                  <a:pt x="4242" y="502"/>
                </a:lnTo>
                <a:lnTo>
                  <a:pt x="4238" y="504"/>
                </a:lnTo>
                <a:lnTo>
                  <a:pt x="4235" y="505"/>
                </a:lnTo>
                <a:lnTo>
                  <a:pt x="4234" y="507"/>
                </a:lnTo>
                <a:lnTo>
                  <a:pt x="4233" y="510"/>
                </a:lnTo>
                <a:lnTo>
                  <a:pt x="4232" y="514"/>
                </a:lnTo>
                <a:lnTo>
                  <a:pt x="4231" y="521"/>
                </a:lnTo>
                <a:lnTo>
                  <a:pt x="4229" y="527"/>
                </a:lnTo>
                <a:lnTo>
                  <a:pt x="4226" y="530"/>
                </a:lnTo>
                <a:lnTo>
                  <a:pt x="4223" y="531"/>
                </a:lnTo>
                <a:lnTo>
                  <a:pt x="4220" y="531"/>
                </a:lnTo>
                <a:lnTo>
                  <a:pt x="4216" y="530"/>
                </a:lnTo>
                <a:lnTo>
                  <a:pt x="4212" y="527"/>
                </a:lnTo>
                <a:lnTo>
                  <a:pt x="4209" y="521"/>
                </a:lnTo>
                <a:lnTo>
                  <a:pt x="4205" y="511"/>
                </a:lnTo>
                <a:lnTo>
                  <a:pt x="4203" y="502"/>
                </a:lnTo>
                <a:lnTo>
                  <a:pt x="4201" y="498"/>
                </a:lnTo>
                <a:lnTo>
                  <a:pt x="4199" y="496"/>
                </a:lnTo>
                <a:lnTo>
                  <a:pt x="4195" y="495"/>
                </a:lnTo>
                <a:lnTo>
                  <a:pt x="4189" y="497"/>
                </a:lnTo>
                <a:lnTo>
                  <a:pt x="4183" y="499"/>
                </a:lnTo>
                <a:lnTo>
                  <a:pt x="4176" y="498"/>
                </a:lnTo>
                <a:lnTo>
                  <a:pt x="4168" y="497"/>
                </a:lnTo>
                <a:lnTo>
                  <a:pt x="4161" y="496"/>
                </a:lnTo>
                <a:lnTo>
                  <a:pt x="4158" y="496"/>
                </a:lnTo>
                <a:lnTo>
                  <a:pt x="4155" y="497"/>
                </a:lnTo>
                <a:lnTo>
                  <a:pt x="4152" y="498"/>
                </a:lnTo>
                <a:lnTo>
                  <a:pt x="4149" y="499"/>
                </a:lnTo>
                <a:lnTo>
                  <a:pt x="4147" y="503"/>
                </a:lnTo>
                <a:lnTo>
                  <a:pt x="4146" y="506"/>
                </a:lnTo>
                <a:lnTo>
                  <a:pt x="4145" y="511"/>
                </a:lnTo>
                <a:lnTo>
                  <a:pt x="4145" y="517"/>
                </a:lnTo>
                <a:lnTo>
                  <a:pt x="4145" y="539"/>
                </a:lnTo>
                <a:lnTo>
                  <a:pt x="4144" y="553"/>
                </a:lnTo>
                <a:lnTo>
                  <a:pt x="4144" y="558"/>
                </a:lnTo>
                <a:lnTo>
                  <a:pt x="4145" y="563"/>
                </a:lnTo>
                <a:lnTo>
                  <a:pt x="4147" y="568"/>
                </a:lnTo>
                <a:lnTo>
                  <a:pt x="4152" y="571"/>
                </a:lnTo>
                <a:lnTo>
                  <a:pt x="4158" y="575"/>
                </a:lnTo>
                <a:lnTo>
                  <a:pt x="4166" y="578"/>
                </a:lnTo>
                <a:lnTo>
                  <a:pt x="4177" y="581"/>
                </a:lnTo>
                <a:lnTo>
                  <a:pt x="4186" y="584"/>
                </a:lnTo>
                <a:lnTo>
                  <a:pt x="4195" y="589"/>
                </a:lnTo>
                <a:lnTo>
                  <a:pt x="4201" y="593"/>
                </a:lnTo>
                <a:lnTo>
                  <a:pt x="4202" y="595"/>
                </a:lnTo>
                <a:lnTo>
                  <a:pt x="4202" y="597"/>
                </a:lnTo>
                <a:lnTo>
                  <a:pt x="4201" y="600"/>
                </a:lnTo>
                <a:lnTo>
                  <a:pt x="4199" y="603"/>
                </a:lnTo>
                <a:lnTo>
                  <a:pt x="4192" y="611"/>
                </a:lnTo>
                <a:lnTo>
                  <a:pt x="4188" y="619"/>
                </a:lnTo>
                <a:lnTo>
                  <a:pt x="4184" y="628"/>
                </a:lnTo>
                <a:lnTo>
                  <a:pt x="4181" y="637"/>
                </a:lnTo>
                <a:lnTo>
                  <a:pt x="4177" y="652"/>
                </a:lnTo>
                <a:lnTo>
                  <a:pt x="4176" y="659"/>
                </a:lnTo>
                <a:lnTo>
                  <a:pt x="4174" y="655"/>
                </a:lnTo>
                <a:lnTo>
                  <a:pt x="4167" y="643"/>
                </a:lnTo>
                <a:lnTo>
                  <a:pt x="4161" y="628"/>
                </a:lnTo>
                <a:lnTo>
                  <a:pt x="4153" y="613"/>
                </a:lnTo>
                <a:lnTo>
                  <a:pt x="4143" y="592"/>
                </a:lnTo>
                <a:lnTo>
                  <a:pt x="4133" y="570"/>
                </a:lnTo>
                <a:lnTo>
                  <a:pt x="4126" y="560"/>
                </a:lnTo>
                <a:lnTo>
                  <a:pt x="4121" y="555"/>
                </a:lnTo>
                <a:lnTo>
                  <a:pt x="4119" y="554"/>
                </a:lnTo>
                <a:lnTo>
                  <a:pt x="4117" y="554"/>
                </a:lnTo>
                <a:lnTo>
                  <a:pt x="4115" y="556"/>
                </a:lnTo>
                <a:lnTo>
                  <a:pt x="4113" y="559"/>
                </a:lnTo>
                <a:lnTo>
                  <a:pt x="4109" y="568"/>
                </a:lnTo>
                <a:lnTo>
                  <a:pt x="4103" y="576"/>
                </a:lnTo>
                <a:lnTo>
                  <a:pt x="4098" y="583"/>
                </a:lnTo>
                <a:lnTo>
                  <a:pt x="4093" y="591"/>
                </a:lnTo>
                <a:lnTo>
                  <a:pt x="4088" y="598"/>
                </a:lnTo>
                <a:lnTo>
                  <a:pt x="4085" y="603"/>
                </a:lnTo>
                <a:lnTo>
                  <a:pt x="4082" y="607"/>
                </a:lnTo>
                <a:lnTo>
                  <a:pt x="4082" y="611"/>
                </a:lnTo>
                <a:lnTo>
                  <a:pt x="4080" y="609"/>
                </a:lnTo>
                <a:lnTo>
                  <a:pt x="4072" y="601"/>
                </a:lnTo>
                <a:lnTo>
                  <a:pt x="4067" y="597"/>
                </a:lnTo>
                <a:lnTo>
                  <a:pt x="4060" y="593"/>
                </a:lnTo>
                <a:lnTo>
                  <a:pt x="4054" y="589"/>
                </a:lnTo>
                <a:lnTo>
                  <a:pt x="4048" y="586"/>
                </a:lnTo>
                <a:lnTo>
                  <a:pt x="4030" y="583"/>
                </a:lnTo>
                <a:lnTo>
                  <a:pt x="4006" y="581"/>
                </a:lnTo>
                <a:lnTo>
                  <a:pt x="3994" y="581"/>
                </a:lnTo>
                <a:lnTo>
                  <a:pt x="3985" y="583"/>
                </a:lnTo>
                <a:lnTo>
                  <a:pt x="3981" y="585"/>
                </a:lnTo>
                <a:lnTo>
                  <a:pt x="3979" y="587"/>
                </a:lnTo>
                <a:lnTo>
                  <a:pt x="3977" y="591"/>
                </a:lnTo>
                <a:lnTo>
                  <a:pt x="3977" y="594"/>
                </a:lnTo>
                <a:lnTo>
                  <a:pt x="3978" y="608"/>
                </a:lnTo>
                <a:lnTo>
                  <a:pt x="3979" y="623"/>
                </a:lnTo>
                <a:lnTo>
                  <a:pt x="3980" y="630"/>
                </a:lnTo>
                <a:lnTo>
                  <a:pt x="3982" y="637"/>
                </a:lnTo>
                <a:lnTo>
                  <a:pt x="3985" y="643"/>
                </a:lnTo>
                <a:lnTo>
                  <a:pt x="3987" y="649"/>
                </a:lnTo>
                <a:lnTo>
                  <a:pt x="3994" y="661"/>
                </a:lnTo>
                <a:lnTo>
                  <a:pt x="3999" y="673"/>
                </a:lnTo>
                <a:lnTo>
                  <a:pt x="4001" y="680"/>
                </a:lnTo>
                <a:lnTo>
                  <a:pt x="4002" y="686"/>
                </a:lnTo>
                <a:lnTo>
                  <a:pt x="4002" y="691"/>
                </a:lnTo>
                <a:lnTo>
                  <a:pt x="4002" y="696"/>
                </a:lnTo>
                <a:lnTo>
                  <a:pt x="4002" y="699"/>
                </a:lnTo>
                <a:lnTo>
                  <a:pt x="4001" y="700"/>
                </a:lnTo>
                <a:lnTo>
                  <a:pt x="4000" y="700"/>
                </a:lnTo>
                <a:lnTo>
                  <a:pt x="3999" y="700"/>
                </a:lnTo>
                <a:lnTo>
                  <a:pt x="3995" y="699"/>
                </a:lnTo>
                <a:lnTo>
                  <a:pt x="3992" y="696"/>
                </a:lnTo>
                <a:lnTo>
                  <a:pt x="3989" y="693"/>
                </a:lnTo>
                <a:lnTo>
                  <a:pt x="3986" y="691"/>
                </a:lnTo>
                <a:lnTo>
                  <a:pt x="3984" y="691"/>
                </a:lnTo>
                <a:lnTo>
                  <a:pt x="3982" y="691"/>
                </a:lnTo>
                <a:lnTo>
                  <a:pt x="3981" y="692"/>
                </a:lnTo>
                <a:lnTo>
                  <a:pt x="3980" y="693"/>
                </a:lnTo>
                <a:lnTo>
                  <a:pt x="3978" y="696"/>
                </a:lnTo>
                <a:lnTo>
                  <a:pt x="3977" y="699"/>
                </a:lnTo>
                <a:lnTo>
                  <a:pt x="3978" y="701"/>
                </a:lnTo>
                <a:lnTo>
                  <a:pt x="3979" y="703"/>
                </a:lnTo>
                <a:lnTo>
                  <a:pt x="3983" y="705"/>
                </a:lnTo>
                <a:lnTo>
                  <a:pt x="3985" y="707"/>
                </a:lnTo>
                <a:lnTo>
                  <a:pt x="3989" y="710"/>
                </a:lnTo>
                <a:lnTo>
                  <a:pt x="3991" y="712"/>
                </a:lnTo>
                <a:close/>
                <a:moveTo>
                  <a:pt x="2036" y="1821"/>
                </a:moveTo>
                <a:lnTo>
                  <a:pt x="2039" y="1825"/>
                </a:lnTo>
                <a:lnTo>
                  <a:pt x="2042" y="1828"/>
                </a:lnTo>
                <a:lnTo>
                  <a:pt x="2044" y="1828"/>
                </a:lnTo>
                <a:lnTo>
                  <a:pt x="2046" y="1828"/>
                </a:lnTo>
                <a:lnTo>
                  <a:pt x="2047" y="1827"/>
                </a:lnTo>
                <a:lnTo>
                  <a:pt x="2049" y="1826"/>
                </a:lnTo>
                <a:lnTo>
                  <a:pt x="2053" y="1820"/>
                </a:lnTo>
                <a:lnTo>
                  <a:pt x="2056" y="1813"/>
                </a:lnTo>
                <a:lnTo>
                  <a:pt x="2057" y="1810"/>
                </a:lnTo>
                <a:lnTo>
                  <a:pt x="2057" y="1808"/>
                </a:lnTo>
                <a:lnTo>
                  <a:pt x="2056" y="1806"/>
                </a:lnTo>
                <a:lnTo>
                  <a:pt x="2054" y="1806"/>
                </a:lnTo>
                <a:lnTo>
                  <a:pt x="2046" y="1807"/>
                </a:lnTo>
                <a:lnTo>
                  <a:pt x="2041" y="1809"/>
                </a:lnTo>
                <a:lnTo>
                  <a:pt x="2038" y="1812"/>
                </a:lnTo>
                <a:lnTo>
                  <a:pt x="2036" y="1815"/>
                </a:lnTo>
                <a:lnTo>
                  <a:pt x="2035" y="1819"/>
                </a:lnTo>
                <a:lnTo>
                  <a:pt x="2036" y="1821"/>
                </a:lnTo>
                <a:close/>
                <a:moveTo>
                  <a:pt x="1990" y="1887"/>
                </a:moveTo>
                <a:lnTo>
                  <a:pt x="1991" y="1893"/>
                </a:lnTo>
                <a:lnTo>
                  <a:pt x="1992" y="1898"/>
                </a:lnTo>
                <a:lnTo>
                  <a:pt x="1993" y="1900"/>
                </a:lnTo>
                <a:lnTo>
                  <a:pt x="1994" y="1901"/>
                </a:lnTo>
                <a:lnTo>
                  <a:pt x="1996" y="1901"/>
                </a:lnTo>
                <a:lnTo>
                  <a:pt x="1998" y="1900"/>
                </a:lnTo>
                <a:lnTo>
                  <a:pt x="2004" y="1897"/>
                </a:lnTo>
                <a:lnTo>
                  <a:pt x="2009" y="1893"/>
                </a:lnTo>
                <a:lnTo>
                  <a:pt x="2010" y="1891"/>
                </a:lnTo>
                <a:lnTo>
                  <a:pt x="2012" y="1888"/>
                </a:lnTo>
                <a:lnTo>
                  <a:pt x="2012" y="1885"/>
                </a:lnTo>
                <a:lnTo>
                  <a:pt x="2011" y="1880"/>
                </a:lnTo>
                <a:lnTo>
                  <a:pt x="2009" y="1873"/>
                </a:lnTo>
                <a:lnTo>
                  <a:pt x="2008" y="1868"/>
                </a:lnTo>
                <a:lnTo>
                  <a:pt x="2007" y="1866"/>
                </a:lnTo>
                <a:lnTo>
                  <a:pt x="2006" y="1865"/>
                </a:lnTo>
                <a:lnTo>
                  <a:pt x="2005" y="1866"/>
                </a:lnTo>
                <a:lnTo>
                  <a:pt x="2002" y="1868"/>
                </a:lnTo>
                <a:lnTo>
                  <a:pt x="1993" y="1880"/>
                </a:lnTo>
                <a:lnTo>
                  <a:pt x="1990" y="1887"/>
                </a:lnTo>
                <a:close/>
                <a:moveTo>
                  <a:pt x="1897" y="1867"/>
                </a:moveTo>
                <a:lnTo>
                  <a:pt x="1900" y="1875"/>
                </a:lnTo>
                <a:lnTo>
                  <a:pt x="1904" y="1880"/>
                </a:lnTo>
                <a:lnTo>
                  <a:pt x="1909" y="1882"/>
                </a:lnTo>
                <a:lnTo>
                  <a:pt x="1914" y="1882"/>
                </a:lnTo>
                <a:lnTo>
                  <a:pt x="1918" y="1881"/>
                </a:lnTo>
                <a:lnTo>
                  <a:pt x="1922" y="1879"/>
                </a:lnTo>
                <a:lnTo>
                  <a:pt x="1926" y="1876"/>
                </a:lnTo>
                <a:lnTo>
                  <a:pt x="1929" y="1874"/>
                </a:lnTo>
                <a:lnTo>
                  <a:pt x="1938" y="1867"/>
                </a:lnTo>
                <a:lnTo>
                  <a:pt x="1948" y="1857"/>
                </a:lnTo>
                <a:lnTo>
                  <a:pt x="1951" y="1852"/>
                </a:lnTo>
                <a:lnTo>
                  <a:pt x="1953" y="1849"/>
                </a:lnTo>
                <a:lnTo>
                  <a:pt x="1953" y="1847"/>
                </a:lnTo>
                <a:lnTo>
                  <a:pt x="1952" y="1845"/>
                </a:lnTo>
                <a:lnTo>
                  <a:pt x="1951" y="1844"/>
                </a:lnTo>
                <a:lnTo>
                  <a:pt x="1948" y="1843"/>
                </a:lnTo>
                <a:lnTo>
                  <a:pt x="1937" y="1841"/>
                </a:lnTo>
                <a:lnTo>
                  <a:pt x="1927" y="1840"/>
                </a:lnTo>
                <a:lnTo>
                  <a:pt x="1923" y="1841"/>
                </a:lnTo>
                <a:lnTo>
                  <a:pt x="1920" y="1842"/>
                </a:lnTo>
                <a:lnTo>
                  <a:pt x="1918" y="1845"/>
                </a:lnTo>
                <a:lnTo>
                  <a:pt x="1916" y="1848"/>
                </a:lnTo>
                <a:lnTo>
                  <a:pt x="1915" y="1852"/>
                </a:lnTo>
                <a:lnTo>
                  <a:pt x="1911" y="1855"/>
                </a:lnTo>
                <a:lnTo>
                  <a:pt x="1908" y="1858"/>
                </a:lnTo>
                <a:lnTo>
                  <a:pt x="1905" y="1862"/>
                </a:lnTo>
                <a:lnTo>
                  <a:pt x="1899" y="1866"/>
                </a:lnTo>
                <a:lnTo>
                  <a:pt x="1897" y="1867"/>
                </a:lnTo>
                <a:close/>
                <a:moveTo>
                  <a:pt x="2056" y="1576"/>
                </a:moveTo>
                <a:lnTo>
                  <a:pt x="2054" y="1586"/>
                </a:lnTo>
                <a:lnTo>
                  <a:pt x="2052" y="1595"/>
                </a:lnTo>
                <a:lnTo>
                  <a:pt x="2053" y="1601"/>
                </a:lnTo>
                <a:lnTo>
                  <a:pt x="2055" y="1605"/>
                </a:lnTo>
                <a:lnTo>
                  <a:pt x="2059" y="1609"/>
                </a:lnTo>
                <a:lnTo>
                  <a:pt x="2066" y="1612"/>
                </a:lnTo>
                <a:lnTo>
                  <a:pt x="2073" y="1614"/>
                </a:lnTo>
                <a:lnTo>
                  <a:pt x="2080" y="1615"/>
                </a:lnTo>
                <a:lnTo>
                  <a:pt x="2086" y="1614"/>
                </a:lnTo>
                <a:lnTo>
                  <a:pt x="2092" y="1613"/>
                </a:lnTo>
                <a:lnTo>
                  <a:pt x="2097" y="1610"/>
                </a:lnTo>
                <a:lnTo>
                  <a:pt x="2101" y="1606"/>
                </a:lnTo>
                <a:lnTo>
                  <a:pt x="2104" y="1602"/>
                </a:lnTo>
                <a:lnTo>
                  <a:pt x="2105" y="1596"/>
                </a:lnTo>
                <a:lnTo>
                  <a:pt x="2106" y="1591"/>
                </a:lnTo>
                <a:lnTo>
                  <a:pt x="2105" y="1584"/>
                </a:lnTo>
                <a:lnTo>
                  <a:pt x="2104" y="1578"/>
                </a:lnTo>
                <a:lnTo>
                  <a:pt x="2102" y="1571"/>
                </a:lnTo>
                <a:lnTo>
                  <a:pt x="2100" y="1565"/>
                </a:lnTo>
                <a:lnTo>
                  <a:pt x="2097" y="1561"/>
                </a:lnTo>
                <a:lnTo>
                  <a:pt x="2095" y="1560"/>
                </a:lnTo>
                <a:lnTo>
                  <a:pt x="2093" y="1559"/>
                </a:lnTo>
                <a:lnTo>
                  <a:pt x="2091" y="1559"/>
                </a:lnTo>
                <a:lnTo>
                  <a:pt x="2090" y="1559"/>
                </a:lnTo>
                <a:lnTo>
                  <a:pt x="2081" y="1562"/>
                </a:lnTo>
                <a:lnTo>
                  <a:pt x="2075" y="1564"/>
                </a:lnTo>
                <a:lnTo>
                  <a:pt x="2072" y="1565"/>
                </a:lnTo>
                <a:lnTo>
                  <a:pt x="2069" y="1567"/>
                </a:lnTo>
                <a:lnTo>
                  <a:pt x="2067" y="1569"/>
                </a:lnTo>
                <a:lnTo>
                  <a:pt x="2066" y="1572"/>
                </a:lnTo>
                <a:lnTo>
                  <a:pt x="2064" y="1576"/>
                </a:lnTo>
                <a:lnTo>
                  <a:pt x="2063" y="1576"/>
                </a:lnTo>
                <a:lnTo>
                  <a:pt x="2063" y="1573"/>
                </a:lnTo>
                <a:lnTo>
                  <a:pt x="2062" y="1571"/>
                </a:lnTo>
                <a:lnTo>
                  <a:pt x="2061" y="1570"/>
                </a:lnTo>
                <a:lnTo>
                  <a:pt x="2060" y="1569"/>
                </a:lnTo>
                <a:lnTo>
                  <a:pt x="2059" y="1569"/>
                </a:lnTo>
                <a:lnTo>
                  <a:pt x="2058" y="1570"/>
                </a:lnTo>
                <a:lnTo>
                  <a:pt x="2057" y="1573"/>
                </a:lnTo>
                <a:lnTo>
                  <a:pt x="2056" y="1576"/>
                </a:lnTo>
                <a:close/>
                <a:moveTo>
                  <a:pt x="1688" y="699"/>
                </a:moveTo>
                <a:lnTo>
                  <a:pt x="1694" y="705"/>
                </a:lnTo>
                <a:lnTo>
                  <a:pt x="1699" y="709"/>
                </a:lnTo>
                <a:lnTo>
                  <a:pt x="1704" y="713"/>
                </a:lnTo>
                <a:lnTo>
                  <a:pt x="1709" y="717"/>
                </a:lnTo>
                <a:lnTo>
                  <a:pt x="1720" y="723"/>
                </a:lnTo>
                <a:lnTo>
                  <a:pt x="1728" y="726"/>
                </a:lnTo>
                <a:lnTo>
                  <a:pt x="1734" y="729"/>
                </a:lnTo>
                <a:lnTo>
                  <a:pt x="1739" y="733"/>
                </a:lnTo>
                <a:lnTo>
                  <a:pt x="1739" y="735"/>
                </a:lnTo>
                <a:lnTo>
                  <a:pt x="1738" y="737"/>
                </a:lnTo>
                <a:lnTo>
                  <a:pt x="1737" y="740"/>
                </a:lnTo>
                <a:lnTo>
                  <a:pt x="1733" y="745"/>
                </a:lnTo>
                <a:lnTo>
                  <a:pt x="1729" y="748"/>
                </a:lnTo>
                <a:lnTo>
                  <a:pt x="1726" y="751"/>
                </a:lnTo>
                <a:lnTo>
                  <a:pt x="1723" y="753"/>
                </a:lnTo>
                <a:lnTo>
                  <a:pt x="1719" y="753"/>
                </a:lnTo>
                <a:lnTo>
                  <a:pt x="1713" y="754"/>
                </a:lnTo>
                <a:lnTo>
                  <a:pt x="1708" y="753"/>
                </a:lnTo>
                <a:lnTo>
                  <a:pt x="1707" y="753"/>
                </a:lnTo>
                <a:lnTo>
                  <a:pt x="1706" y="753"/>
                </a:lnTo>
                <a:lnTo>
                  <a:pt x="1705" y="753"/>
                </a:lnTo>
                <a:lnTo>
                  <a:pt x="1706" y="754"/>
                </a:lnTo>
                <a:lnTo>
                  <a:pt x="1709" y="758"/>
                </a:lnTo>
                <a:lnTo>
                  <a:pt x="1716" y="766"/>
                </a:lnTo>
                <a:lnTo>
                  <a:pt x="1721" y="771"/>
                </a:lnTo>
                <a:lnTo>
                  <a:pt x="1725" y="775"/>
                </a:lnTo>
                <a:lnTo>
                  <a:pt x="1729" y="778"/>
                </a:lnTo>
                <a:lnTo>
                  <a:pt x="1733" y="780"/>
                </a:lnTo>
                <a:lnTo>
                  <a:pt x="1742" y="783"/>
                </a:lnTo>
                <a:lnTo>
                  <a:pt x="1749" y="783"/>
                </a:lnTo>
                <a:lnTo>
                  <a:pt x="1756" y="782"/>
                </a:lnTo>
                <a:lnTo>
                  <a:pt x="1761" y="780"/>
                </a:lnTo>
                <a:lnTo>
                  <a:pt x="1765" y="777"/>
                </a:lnTo>
                <a:lnTo>
                  <a:pt x="1766" y="773"/>
                </a:lnTo>
                <a:lnTo>
                  <a:pt x="1767" y="761"/>
                </a:lnTo>
                <a:lnTo>
                  <a:pt x="1768" y="746"/>
                </a:lnTo>
                <a:lnTo>
                  <a:pt x="1770" y="739"/>
                </a:lnTo>
                <a:lnTo>
                  <a:pt x="1772" y="735"/>
                </a:lnTo>
                <a:lnTo>
                  <a:pt x="1773" y="734"/>
                </a:lnTo>
                <a:lnTo>
                  <a:pt x="1774" y="734"/>
                </a:lnTo>
                <a:lnTo>
                  <a:pt x="1776" y="736"/>
                </a:lnTo>
                <a:lnTo>
                  <a:pt x="1778" y="738"/>
                </a:lnTo>
                <a:lnTo>
                  <a:pt x="1782" y="745"/>
                </a:lnTo>
                <a:lnTo>
                  <a:pt x="1784" y="752"/>
                </a:lnTo>
                <a:lnTo>
                  <a:pt x="1786" y="758"/>
                </a:lnTo>
                <a:lnTo>
                  <a:pt x="1786" y="763"/>
                </a:lnTo>
                <a:lnTo>
                  <a:pt x="1787" y="769"/>
                </a:lnTo>
                <a:lnTo>
                  <a:pt x="1788" y="772"/>
                </a:lnTo>
                <a:lnTo>
                  <a:pt x="1789" y="774"/>
                </a:lnTo>
                <a:lnTo>
                  <a:pt x="1791" y="775"/>
                </a:lnTo>
                <a:lnTo>
                  <a:pt x="1794" y="773"/>
                </a:lnTo>
                <a:lnTo>
                  <a:pt x="1796" y="769"/>
                </a:lnTo>
                <a:lnTo>
                  <a:pt x="1797" y="763"/>
                </a:lnTo>
                <a:lnTo>
                  <a:pt x="1798" y="757"/>
                </a:lnTo>
                <a:lnTo>
                  <a:pt x="1800" y="745"/>
                </a:lnTo>
                <a:lnTo>
                  <a:pt x="1801" y="735"/>
                </a:lnTo>
                <a:lnTo>
                  <a:pt x="1801" y="726"/>
                </a:lnTo>
                <a:lnTo>
                  <a:pt x="1801" y="710"/>
                </a:lnTo>
                <a:lnTo>
                  <a:pt x="1801" y="703"/>
                </a:lnTo>
                <a:lnTo>
                  <a:pt x="1804" y="697"/>
                </a:lnTo>
                <a:lnTo>
                  <a:pt x="1805" y="694"/>
                </a:lnTo>
                <a:lnTo>
                  <a:pt x="1806" y="693"/>
                </a:lnTo>
                <a:lnTo>
                  <a:pt x="1808" y="692"/>
                </a:lnTo>
                <a:lnTo>
                  <a:pt x="1810" y="692"/>
                </a:lnTo>
                <a:lnTo>
                  <a:pt x="1815" y="693"/>
                </a:lnTo>
                <a:lnTo>
                  <a:pt x="1820" y="693"/>
                </a:lnTo>
                <a:lnTo>
                  <a:pt x="1826" y="692"/>
                </a:lnTo>
                <a:lnTo>
                  <a:pt x="1830" y="690"/>
                </a:lnTo>
                <a:lnTo>
                  <a:pt x="1839" y="686"/>
                </a:lnTo>
                <a:lnTo>
                  <a:pt x="1843" y="683"/>
                </a:lnTo>
                <a:lnTo>
                  <a:pt x="1849" y="679"/>
                </a:lnTo>
                <a:lnTo>
                  <a:pt x="1858" y="671"/>
                </a:lnTo>
                <a:lnTo>
                  <a:pt x="1867" y="664"/>
                </a:lnTo>
                <a:lnTo>
                  <a:pt x="1873" y="658"/>
                </a:lnTo>
                <a:lnTo>
                  <a:pt x="1873" y="656"/>
                </a:lnTo>
                <a:lnTo>
                  <a:pt x="1872" y="651"/>
                </a:lnTo>
                <a:lnTo>
                  <a:pt x="1870" y="647"/>
                </a:lnTo>
                <a:lnTo>
                  <a:pt x="1866" y="643"/>
                </a:lnTo>
                <a:lnTo>
                  <a:pt x="1862" y="639"/>
                </a:lnTo>
                <a:lnTo>
                  <a:pt x="1858" y="636"/>
                </a:lnTo>
                <a:lnTo>
                  <a:pt x="1853" y="633"/>
                </a:lnTo>
                <a:lnTo>
                  <a:pt x="1848" y="631"/>
                </a:lnTo>
                <a:lnTo>
                  <a:pt x="1839" y="630"/>
                </a:lnTo>
                <a:lnTo>
                  <a:pt x="1832" y="629"/>
                </a:lnTo>
                <a:lnTo>
                  <a:pt x="1829" y="628"/>
                </a:lnTo>
                <a:lnTo>
                  <a:pt x="1827" y="627"/>
                </a:lnTo>
                <a:lnTo>
                  <a:pt x="1825" y="624"/>
                </a:lnTo>
                <a:lnTo>
                  <a:pt x="1825" y="621"/>
                </a:lnTo>
                <a:lnTo>
                  <a:pt x="1825" y="617"/>
                </a:lnTo>
                <a:lnTo>
                  <a:pt x="1826" y="614"/>
                </a:lnTo>
                <a:lnTo>
                  <a:pt x="1829" y="609"/>
                </a:lnTo>
                <a:lnTo>
                  <a:pt x="1831" y="605"/>
                </a:lnTo>
                <a:lnTo>
                  <a:pt x="1833" y="601"/>
                </a:lnTo>
                <a:lnTo>
                  <a:pt x="1834" y="597"/>
                </a:lnTo>
                <a:lnTo>
                  <a:pt x="1833" y="595"/>
                </a:lnTo>
                <a:lnTo>
                  <a:pt x="1832" y="593"/>
                </a:lnTo>
                <a:lnTo>
                  <a:pt x="1831" y="591"/>
                </a:lnTo>
                <a:lnTo>
                  <a:pt x="1829" y="589"/>
                </a:lnTo>
                <a:lnTo>
                  <a:pt x="1816" y="580"/>
                </a:lnTo>
                <a:lnTo>
                  <a:pt x="1801" y="572"/>
                </a:lnTo>
                <a:lnTo>
                  <a:pt x="1794" y="568"/>
                </a:lnTo>
                <a:lnTo>
                  <a:pt x="1789" y="562"/>
                </a:lnTo>
                <a:lnTo>
                  <a:pt x="1787" y="560"/>
                </a:lnTo>
                <a:lnTo>
                  <a:pt x="1786" y="558"/>
                </a:lnTo>
                <a:lnTo>
                  <a:pt x="1785" y="555"/>
                </a:lnTo>
                <a:lnTo>
                  <a:pt x="1785" y="553"/>
                </a:lnTo>
                <a:lnTo>
                  <a:pt x="1786" y="540"/>
                </a:lnTo>
                <a:lnTo>
                  <a:pt x="1786" y="527"/>
                </a:lnTo>
                <a:lnTo>
                  <a:pt x="1785" y="520"/>
                </a:lnTo>
                <a:lnTo>
                  <a:pt x="1784" y="515"/>
                </a:lnTo>
                <a:lnTo>
                  <a:pt x="1782" y="511"/>
                </a:lnTo>
                <a:lnTo>
                  <a:pt x="1777" y="507"/>
                </a:lnTo>
                <a:lnTo>
                  <a:pt x="1766" y="501"/>
                </a:lnTo>
                <a:lnTo>
                  <a:pt x="1753" y="491"/>
                </a:lnTo>
                <a:lnTo>
                  <a:pt x="1747" y="487"/>
                </a:lnTo>
                <a:lnTo>
                  <a:pt x="1742" y="482"/>
                </a:lnTo>
                <a:lnTo>
                  <a:pt x="1739" y="477"/>
                </a:lnTo>
                <a:lnTo>
                  <a:pt x="1738" y="474"/>
                </a:lnTo>
                <a:lnTo>
                  <a:pt x="1737" y="461"/>
                </a:lnTo>
                <a:lnTo>
                  <a:pt x="1734" y="441"/>
                </a:lnTo>
                <a:lnTo>
                  <a:pt x="1732" y="422"/>
                </a:lnTo>
                <a:lnTo>
                  <a:pt x="1729" y="412"/>
                </a:lnTo>
                <a:lnTo>
                  <a:pt x="1724" y="407"/>
                </a:lnTo>
                <a:lnTo>
                  <a:pt x="1717" y="399"/>
                </a:lnTo>
                <a:lnTo>
                  <a:pt x="1713" y="395"/>
                </a:lnTo>
                <a:lnTo>
                  <a:pt x="1709" y="393"/>
                </a:lnTo>
                <a:lnTo>
                  <a:pt x="1707" y="392"/>
                </a:lnTo>
                <a:lnTo>
                  <a:pt x="1705" y="392"/>
                </a:lnTo>
                <a:lnTo>
                  <a:pt x="1704" y="392"/>
                </a:lnTo>
                <a:lnTo>
                  <a:pt x="1703" y="393"/>
                </a:lnTo>
                <a:lnTo>
                  <a:pt x="1700" y="395"/>
                </a:lnTo>
                <a:lnTo>
                  <a:pt x="1696" y="395"/>
                </a:lnTo>
                <a:lnTo>
                  <a:pt x="1691" y="396"/>
                </a:lnTo>
                <a:lnTo>
                  <a:pt x="1687" y="396"/>
                </a:lnTo>
                <a:lnTo>
                  <a:pt x="1683" y="396"/>
                </a:lnTo>
                <a:lnTo>
                  <a:pt x="1681" y="397"/>
                </a:lnTo>
                <a:lnTo>
                  <a:pt x="1680" y="398"/>
                </a:lnTo>
                <a:lnTo>
                  <a:pt x="1681" y="400"/>
                </a:lnTo>
                <a:lnTo>
                  <a:pt x="1694" y="407"/>
                </a:lnTo>
                <a:lnTo>
                  <a:pt x="1701" y="412"/>
                </a:lnTo>
                <a:lnTo>
                  <a:pt x="1701" y="416"/>
                </a:lnTo>
                <a:lnTo>
                  <a:pt x="1701" y="421"/>
                </a:lnTo>
                <a:lnTo>
                  <a:pt x="1700" y="424"/>
                </a:lnTo>
                <a:lnTo>
                  <a:pt x="1699" y="427"/>
                </a:lnTo>
                <a:lnTo>
                  <a:pt x="1696" y="430"/>
                </a:lnTo>
                <a:lnTo>
                  <a:pt x="1693" y="435"/>
                </a:lnTo>
                <a:lnTo>
                  <a:pt x="1684" y="442"/>
                </a:lnTo>
                <a:lnTo>
                  <a:pt x="1677" y="450"/>
                </a:lnTo>
                <a:lnTo>
                  <a:pt x="1675" y="454"/>
                </a:lnTo>
                <a:lnTo>
                  <a:pt x="1673" y="458"/>
                </a:lnTo>
                <a:lnTo>
                  <a:pt x="1673" y="461"/>
                </a:lnTo>
                <a:lnTo>
                  <a:pt x="1674" y="464"/>
                </a:lnTo>
                <a:lnTo>
                  <a:pt x="1681" y="472"/>
                </a:lnTo>
                <a:lnTo>
                  <a:pt x="1689" y="484"/>
                </a:lnTo>
                <a:lnTo>
                  <a:pt x="1694" y="489"/>
                </a:lnTo>
                <a:lnTo>
                  <a:pt x="1696" y="493"/>
                </a:lnTo>
                <a:lnTo>
                  <a:pt x="1696" y="495"/>
                </a:lnTo>
                <a:lnTo>
                  <a:pt x="1696" y="496"/>
                </a:lnTo>
                <a:lnTo>
                  <a:pt x="1696" y="497"/>
                </a:lnTo>
                <a:lnTo>
                  <a:pt x="1694" y="498"/>
                </a:lnTo>
                <a:lnTo>
                  <a:pt x="1685" y="497"/>
                </a:lnTo>
                <a:lnTo>
                  <a:pt x="1675" y="493"/>
                </a:lnTo>
                <a:lnTo>
                  <a:pt x="1669" y="492"/>
                </a:lnTo>
                <a:lnTo>
                  <a:pt x="1666" y="491"/>
                </a:lnTo>
                <a:lnTo>
                  <a:pt x="1663" y="490"/>
                </a:lnTo>
                <a:lnTo>
                  <a:pt x="1662" y="491"/>
                </a:lnTo>
                <a:lnTo>
                  <a:pt x="1660" y="494"/>
                </a:lnTo>
                <a:lnTo>
                  <a:pt x="1657" y="496"/>
                </a:lnTo>
                <a:lnTo>
                  <a:pt x="1656" y="499"/>
                </a:lnTo>
                <a:lnTo>
                  <a:pt x="1655" y="504"/>
                </a:lnTo>
                <a:lnTo>
                  <a:pt x="1661" y="513"/>
                </a:lnTo>
                <a:lnTo>
                  <a:pt x="1673" y="529"/>
                </a:lnTo>
                <a:lnTo>
                  <a:pt x="1684" y="542"/>
                </a:lnTo>
                <a:lnTo>
                  <a:pt x="1689" y="549"/>
                </a:lnTo>
                <a:lnTo>
                  <a:pt x="1688" y="551"/>
                </a:lnTo>
                <a:lnTo>
                  <a:pt x="1687" y="555"/>
                </a:lnTo>
                <a:lnTo>
                  <a:pt x="1683" y="560"/>
                </a:lnTo>
                <a:lnTo>
                  <a:pt x="1677" y="567"/>
                </a:lnTo>
                <a:lnTo>
                  <a:pt x="1668" y="573"/>
                </a:lnTo>
                <a:lnTo>
                  <a:pt x="1662" y="577"/>
                </a:lnTo>
                <a:lnTo>
                  <a:pt x="1659" y="577"/>
                </a:lnTo>
                <a:lnTo>
                  <a:pt x="1657" y="577"/>
                </a:lnTo>
                <a:lnTo>
                  <a:pt x="1655" y="575"/>
                </a:lnTo>
                <a:lnTo>
                  <a:pt x="1654" y="572"/>
                </a:lnTo>
                <a:lnTo>
                  <a:pt x="1653" y="563"/>
                </a:lnTo>
                <a:lnTo>
                  <a:pt x="1650" y="556"/>
                </a:lnTo>
                <a:lnTo>
                  <a:pt x="1647" y="554"/>
                </a:lnTo>
                <a:lnTo>
                  <a:pt x="1646" y="553"/>
                </a:lnTo>
                <a:lnTo>
                  <a:pt x="1644" y="554"/>
                </a:lnTo>
                <a:lnTo>
                  <a:pt x="1642" y="556"/>
                </a:lnTo>
                <a:lnTo>
                  <a:pt x="1639" y="563"/>
                </a:lnTo>
                <a:lnTo>
                  <a:pt x="1638" y="570"/>
                </a:lnTo>
                <a:lnTo>
                  <a:pt x="1638" y="576"/>
                </a:lnTo>
                <a:lnTo>
                  <a:pt x="1639" y="582"/>
                </a:lnTo>
                <a:lnTo>
                  <a:pt x="1641" y="589"/>
                </a:lnTo>
                <a:lnTo>
                  <a:pt x="1646" y="594"/>
                </a:lnTo>
                <a:lnTo>
                  <a:pt x="1652" y="599"/>
                </a:lnTo>
                <a:lnTo>
                  <a:pt x="1659" y="604"/>
                </a:lnTo>
                <a:lnTo>
                  <a:pt x="1666" y="608"/>
                </a:lnTo>
                <a:lnTo>
                  <a:pt x="1674" y="614"/>
                </a:lnTo>
                <a:lnTo>
                  <a:pt x="1683" y="618"/>
                </a:lnTo>
                <a:lnTo>
                  <a:pt x="1695" y="622"/>
                </a:lnTo>
                <a:lnTo>
                  <a:pt x="1697" y="623"/>
                </a:lnTo>
                <a:lnTo>
                  <a:pt x="1698" y="624"/>
                </a:lnTo>
                <a:lnTo>
                  <a:pt x="1698" y="624"/>
                </a:lnTo>
                <a:lnTo>
                  <a:pt x="1697" y="624"/>
                </a:lnTo>
                <a:lnTo>
                  <a:pt x="1693" y="625"/>
                </a:lnTo>
                <a:lnTo>
                  <a:pt x="1686" y="625"/>
                </a:lnTo>
                <a:lnTo>
                  <a:pt x="1679" y="626"/>
                </a:lnTo>
                <a:lnTo>
                  <a:pt x="1673" y="627"/>
                </a:lnTo>
                <a:lnTo>
                  <a:pt x="1669" y="628"/>
                </a:lnTo>
                <a:lnTo>
                  <a:pt x="1667" y="629"/>
                </a:lnTo>
                <a:lnTo>
                  <a:pt x="1665" y="630"/>
                </a:lnTo>
                <a:lnTo>
                  <a:pt x="1664" y="633"/>
                </a:lnTo>
                <a:lnTo>
                  <a:pt x="1665" y="637"/>
                </a:lnTo>
                <a:lnTo>
                  <a:pt x="1667" y="641"/>
                </a:lnTo>
                <a:lnTo>
                  <a:pt x="1671" y="644"/>
                </a:lnTo>
                <a:lnTo>
                  <a:pt x="1675" y="647"/>
                </a:lnTo>
                <a:lnTo>
                  <a:pt x="1679" y="650"/>
                </a:lnTo>
                <a:lnTo>
                  <a:pt x="1684" y="652"/>
                </a:lnTo>
                <a:lnTo>
                  <a:pt x="1688" y="653"/>
                </a:lnTo>
                <a:lnTo>
                  <a:pt x="1691" y="652"/>
                </a:lnTo>
                <a:lnTo>
                  <a:pt x="1705" y="642"/>
                </a:lnTo>
                <a:lnTo>
                  <a:pt x="1717" y="633"/>
                </a:lnTo>
                <a:lnTo>
                  <a:pt x="1722" y="633"/>
                </a:lnTo>
                <a:lnTo>
                  <a:pt x="1729" y="633"/>
                </a:lnTo>
                <a:lnTo>
                  <a:pt x="1732" y="634"/>
                </a:lnTo>
                <a:lnTo>
                  <a:pt x="1735" y="636"/>
                </a:lnTo>
                <a:lnTo>
                  <a:pt x="1738" y="640"/>
                </a:lnTo>
                <a:lnTo>
                  <a:pt x="1738" y="644"/>
                </a:lnTo>
                <a:lnTo>
                  <a:pt x="1744" y="660"/>
                </a:lnTo>
                <a:lnTo>
                  <a:pt x="1749" y="669"/>
                </a:lnTo>
                <a:lnTo>
                  <a:pt x="1746" y="671"/>
                </a:lnTo>
                <a:lnTo>
                  <a:pt x="1743" y="672"/>
                </a:lnTo>
                <a:lnTo>
                  <a:pt x="1738" y="673"/>
                </a:lnTo>
                <a:lnTo>
                  <a:pt x="1732" y="674"/>
                </a:lnTo>
                <a:lnTo>
                  <a:pt x="1722" y="674"/>
                </a:lnTo>
                <a:lnTo>
                  <a:pt x="1715" y="675"/>
                </a:lnTo>
                <a:lnTo>
                  <a:pt x="1706" y="679"/>
                </a:lnTo>
                <a:lnTo>
                  <a:pt x="1694" y="684"/>
                </a:lnTo>
                <a:lnTo>
                  <a:pt x="1683" y="690"/>
                </a:lnTo>
                <a:lnTo>
                  <a:pt x="1677" y="694"/>
                </a:lnTo>
                <a:lnTo>
                  <a:pt x="1677" y="696"/>
                </a:lnTo>
                <a:lnTo>
                  <a:pt x="1678" y="696"/>
                </a:lnTo>
                <a:lnTo>
                  <a:pt x="1680" y="697"/>
                </a:lnTo>
                <a:lnTo>
                  <a:pt x="1682" y="697"/>
                </a:lnTo>
                <a:lnTo>
                  <a:pt x="1686" y="699"/>
                </a:lnTo>
                <a:lnTo>
                  <a:pt x="1688" y="699"/>
                </a:lnTo>
                <a:close/>
                <a:moveTo>
                  <a:pt x="1598" y="1064"/>
                </a:moveTo>
                <a:lnTo>
                  <a:pt x="1601" y="1060"/>
                </a:lnTo>
                <a:lnTo>
                  <a:pt x="1606" y="1052"/>
                </a:lnTo>
                <a:lnTo>
                  <a:pt x="1609" y="1042"/>
                </a:lnTo>
                <a:lnTo>
                  <a:pt x="1613" y="1032"/>
                </a:lnTo>
                <a:lnTo>
                  <a:pt x="1615" y="1021"/>
                </a:lnTo>
                <a:lnTo>
                  <a:pt x="1616" y="1011"/>
                </a:lnTo>
                <a:lnTo>
                  <a:pt x="1617" y="1000"/>
                </a:lnTo>
                <a:lnTo>
                  <a:pt x="1615" y="993"/>
                </a:lnTo>
                <a:lnTo>
                  <a:pt x="1611" y="976"/>
                </a:lnTo>
                <a:lnTo>
                  <a:pt x="1606" y="959"/>
                </a:lnTo>
                <a:lnTo>
                  <a:pt x="1601" y="952"/>
                </a:lnTo>
                <a:lnTo>
                  <a:pt x="1598" y="947"/>
                </a:lnTo>
                <a:lnTo>
                  <a:pt x="1596" y="945"/>
                </a:lnTo>
                <a:lnTo>
                  <a:pt x="1594" y="943"/>
                </a:lnTo>
                <a:lnTo>
                  <a:pt x="1591" y="943"/>
                </a:lnTo>
                <a:lnTo>
                  <a:pt x="1589" y="943"/>
                </a:lnTo>
                <a:lnTo>
                  <a:pt x="1584" y="945"/>
                </a:lnTo>
                <a:lnTo>
                  <a:pt x="1579" y="948"/>
                </a:lnTo>
                <a:lnTo>
                  <a:pt x="1575" y="952"/>
                </a:lnTo>
                <a:lnTo>
                  <a:pt x="1572" y="955"/>
                </a:lnTo>
                <a:lnTo>
                  <a:pt x="1569" y="958"/>
                </a:lnTo>
                <a:lnTo>
                  <a:pt x="1566" y="959"/>
                </a:lnTo>
                <a:lnTo>
                  <a:pt x="1565" y="958"/>
                </a:lnTo>
                <a:lnTo>
                  <a:pt x="1563" y="957"/>
                </a:lnTo>
                <a:lnTo>
                  <a:pt x="1560" y="955"/>
                </a:lnTo>
                <a:lnTo>
                  <a:pt x="1558" y="953"/>
                </a:lnTo>
                <a:lnTo>
                  <a:pt x="1555" y="946"/>
                </a:lnTo>
                <a:lnTo>
                  <a:pt x="1551" y="940"/>
                </a:lnTo>
                <a:lnTo>
                  <a:pt x="1546" y="934"/>
                </a:lnTo>
                <a:lnTo>
                  <a:pt x="1542" y="929"/>
                </a:lnTo>
                <a:lnTo>
                  <a:pt x="1537" y="927"/>
                </a:lnTo>
                <a:lnTo>
                  <a:pt x="1534" y="926"/>
                </a:lnTo>
                <a:lnTo>
                  <a:pt x="1532" y="927"/>
                </a:lnTo>
                <a:lnTo>
                  <a:pt x="1531" y="928"/>
                </a:lnTo>
                <a:lnTo>
                  <a:pt x="1529" y="929"/>
                </a:lnTo>
                <a:lnTo>
                  <a:pt x="1528" y="932"/>
                </a:lnTo>
                <a:lnTo>
                  <a:pt x="1527" y="940"/>
                </a:lnTo>
                <a:lnTo>
                  <a:pt x="1528" y="947"/>
                </a:lnTo>
                <a:lnTo>
                  <a:pt x="1530" y="955"/>
                </a:lnTo>
                <a:lnTo>
                  <a:pt x="1533" y="965"/>
                </a:lnTo>
                <a:lnTo>
                  <a:pt x="1536" y="972"/>
                </a:lnTo>
                <a:lnTo>
                  <a:pt x="1538" y="979"/>
                </a:lnTo>
                <a:lnTo>
                  <a:pt x="1540" y="985"/>
                </a:lnTo>
                <a:lnTo>
                  <a:pt x="1540" y="988"/>
                </a:lnTo>
                <a:lnTo>
                  <a:pt x="1536" y="989"/>
                </a:lnTo>
                <a:lnTo>
                  <a:pt x="1532" y="990"/>
                </a:lnTo>
                <a:lnTo>
                  <a:pt x="1526" y="991"/>
                </a:lnTo>
                <a:lnTo>
                  <a:pt x="1519" y="990"/>
                </a:lnTo>
                <a:lnTo>
                  <a:pt x="1512" y="989"/>
                </a:lnTo>
                <a:lnTo>
                  <a:pt x="1505" y="987"/>
                </a:lnTo>
                <a:lnTo>
                  <a:pt x="1500" y="982"/>
                </a:lnTo>
                <a:lnTo>
                  <a:pt x="1496" y="978"/>
                </a:lnTo>
                <a:lnTo>
                  <a:pt x="1490" y="965"/>
                </a:lnTo>
                <a:lnTo>
                  <a:pt x="1485" y="950"/>
                </a:lnTo>
                <a:lnTo>
                  <a:pt x="1483" y="945"/>
                </a:lnTo>
                <a:lnTo>
                  <a:pt x="1480" y="941"/>
                </a:lnTo>
                <a:lnTo>
                  <a:pt x="1478" y="941"/>
                </a:lnTo>
                <a:lnTo>
                  <a:pt x="1477" y="942"/>
                </a:lnTo>
                <a:lnTo>
                  <a:pt x="1475" y="943"/>
                </a:lnTo>
                <a:lnTo>
                  <a:pt x="1471" y="946"/>
                </a:lnTo>
                <a:lnTo>
                  <a:pt x="1468" y="952"/>
                </a:lnTo>
                <a:lnTo>
                  <a:pt x="1466" y="958"/>
                </a:lnTo>
                <a:lnTo>
                  <a:pt x="1465" y="965"/>
                </a:lnTo>
                <a:lnTo>
                  <a:pt x="1466" y="971"/>
                </a:lnTo>
                <a:lnTo>
                  <a:pt x="1470" y="980"/>
                </a:lnTo>
                <a:lnTo>
                  <a:pt x="1476" y="989"/>
                </a:lnTo>
                <a:lnTo>
                  <a:pt x="1479" y="991"/>
                </a:lnTo>
                <a:lnTo>
                  <a:pt x="1484" y="992"/>
                </a:lnTo>
                <a:lnTo>
                  <a:pt x="1489" y="992"/>
                </a:lnTo>
                <a:lnTo>
                  <a:pt x="1494" y="991"/>
                </a:lnTo>
                <a:lnTo>
                  <a:pt x="1500" y="992"/>
                </a:lnTo>
                <a:lnTo>
                  <a:pt x="1504" y="993"/>
                </a:lnTo>
                <a:lnTo>
                  <a:pt x="1505" y="994"/>
                </a:lnTo>
                <a:lnTo>
                  <a:pt x="1506" y="996"/>
                </a:lnTo>
                <a:lnTo>
                  <a:pt x="1506" y="999"/>
                </a:lnTo>
                <a:lnTo>
                  <a:pt x="1506" y="1003"/>
                </a:lnTo>
                <a:lnTo>
                  <a:pt x="1503" y="1017"/>
                </a:lnTo>
                <a:lnTo>
                  <a:pt x="1501" y="1025"/>
                </a:lnTo>
                <a:lnTo>
                  <a:pt x="1501" y="1030"/>
                </a:lnTo>
                <a:lnTo>
                  <a:pt x="1501" y="1032"/>
                </a:lnTo>
                <a:lnTo>
                  <a:pt x="1502" y="1034"/>
                </a:lnTo>
                <a:lnTo>
                  <a:pt x="1504" y="1036"/>
                </a:lnTo>
                <a:lnTo>
                  <a:pt x="1506" y="1036"/>
                </a:lnTo>
                <a:lnTo>
                  <a:pt x="1510" y="1035"/>
                </a:lnTo>
                <a:lnTo>
                  <a:pt x="1514" y="1033"/>
                </a:lnTo>
                <a:lnTo>
                  <a:pt x="1520" y="1030"/>
                </a:lnTo>
                <a:lnTo>
                  <a:pt x="1525" y="1026"/>
                </a:lnTo>
                <a:lnTo>
                  <a:pt x="1529" y="1023"/>
                </a:lnTo>
                <a:lnTo>
                  <a:pt x="1533" y="1022"/>
                </a:lnTo>
                <a:lnTo>
                  <a:pt x="1537" y="1022"/>
                </a:lnTo>
                <a:lnTo>
                  <a:pt x="1541" y="1024"/>
                </a:lnTo>
                <a:lnTo>
                  <a:pt x="1544" y="1026"/>
                </a:lnTo>
                <a:lnTo>
                  <a:pt x="1546" y="1030"/>
                </a:lnTo>
                <a:lnTo>
                  <a:pt x="1549" y="1034"/>
                </a:lnTo>
                <a:lnTo>
                  <a:pt x="1550" y="1037"/>
                </a:lnTo>
                <a:lnTo>
                  <a:pt x="1551" y="1041"/>
                </a:lnTo>
                <a:lnTo>
                  <a:pt x="1552" y="1045"/>
                </a:lnTo>
                <a:lnTo>
                  <a:pt x="1551" y="1050"/>
                </a:lnTo>
                <a:lnTo>
                  <a:pt x="1546" y="1058"/>
                </a:lnTo>
                <a:lnTo>
                  <a:pt x="1541" y="1068"/>
                </a:lnTo>
                <a:lnTo>
                  <a:pt x="1538" y="1074"/>
                </a:lnTo>
                <a:lnTo>
                  <a:pt x="1537" y="1079"/>
                </a:lnTo>
                <a:lnTo>
                  <a:pt x="1537" y="1082"/>
                </a:lnTo>
                <a:lnTo>
                  <a:pt x="1537" y="1084"/>
                </a:lnTo>
                <a:lnTo>
                  <a:pt x="1538" y="1086"/>
                </a:lnTo>
                <a:lnTo>
                  <a:pt x="1541" y="1088"/>
                </a:lnTo>
                <a:lnTo>
                  <a:pt x="1545" y="1091"/>
                </a:lnTo>
                <a:lnTo>
                  <a:pt x="1549" y="1095"/>
                </a:lnTo>
                <a:lnTo>
                  <a:pt x="1554" y="1097"/>
                </a:lnTo>
                <a:lnTo>
                  <a:pt x="1559" y="1099"/>
                </a:lnTo>
                <a:lnTo>
                  <a:pt x="1565" y="1099"/>
                </a:lnTo>
                <a:lnTo>
                  <a:pt x="1569" y="1099"/>
                </a:lnTo>
                <a:lnTo>
                  <a:pt x="1573" y="1097"/>
                </a:lnTo>
                <a:lnTo>
                  <a:pt x="1577" y="1095"/>
                </a:lnTo>
                <a:lnTo>
                  <a:pt x="1591" y="1076"/>
                </a:lnTo>
                <a:lnTo>
                  <a:pt x="1598" y="1064"/>
                </a:lnTo>
                <a:close/>
                <a:moveTo>
                  <a:pt x="1629" y="902"/>
                </a:moveTo>
                <a:lnTo>
                  <a:pt x="1619" y="903"/>
                </a:lnTo>
                <a:lnTo>
                  <a:pt x="1613" y="904"/>
                </a:lnTo>
                <a:lnTo>
                  <a:pt x="1613" y="907"/>
                </a:lnTo>
                <a:lnTo>
                  <a:pt x="1613" y="909"/>
                </a:lnTo>
                <a:lnTo>
                  <a:pt x="1614" y="912"/>
                </a:lnTo>
                <a:lnTo>
                  <a:pt x="1615" y="915"/>
                </a:lnTo>
                <a:lnTo>
                  <a:pt x="1619" y="921"/>
                </a:lnTo>
                <a:lnTo>
                  <a:pt x="1623" y="927"/>
                </a:lnTo>
                <a:lnTo>
                  <a:pt x="1634" y="943"/>
                </a:lnTo>
                <a:lnTo>
                  <a:pt x="1643" y="957"/>
                </a:lnTo>
                <a:lnTo>
                  <a:pt x="1650" y="970"/>
                </a:lnTo>
                <a:lnTo>
                  <a:pt x="1657" y="984"/>
                </a:lnTo>
                <a:lnTo>
                  <a:pt x="1660" y="989"/>
                </a:lnTo>
                <a:lnTo>
                  <a:pt x="1663" y="993"/>
                </a:lnTo>
                <a:lnTo>
                  <a:pt x="1664" y="996"/>
                </a:lnTo>
                <a:lnTo>
                  <a:pt x="1665" y="998"/>
                </a:lnTo>
                <a:lnTo>
                  <a:pt x="1665" y="1002"/>
                </a:lnTo>
                <a:lnTo>
                  <a:pt x="1664" y="1008"/>
                </a:lnTo>
                <a:lnTo>
                  <a:pt x="1663" y="1015"/>
                </a:lnTo>
                <a:lnTo>
                  <a:pt x="1660" y="1021"/>
                </a:lnTo>
                <a:lnTo>
                  <a:pt x="1657" y="1029"/>
                </a:lnTo>
                <a:lnTo>
                  <a:pt x="1653" y="1035"/>
                </a:lnTo>
                <a:lnTo>
                  <a:pt x="1645" y="1047"/>
                </a:lnTo>
                <a:lnTo>
                  <a:pt x="1640" y="1056"/>
                </a:lnTo>
                <a:lnTo>
                  <a:pt x="1636" y="1060"/>
                </a:lnTo>
                <a:lnTo>
                  <a:pt x="1631" y="1063"/>
                </a:lnTo>
                <a:lnTo>
                  <a:pt x="1629" y="1065"/>
                </a:lnTo>
                <a:lnTo>
                  <a:pt x="1628" y="1068"/>
                </a:lnTo>
                <a:lnTo>
                  <a:pt x="1627" y="1074"/>
                </a:lnTo>
                <a:lnTo>
                  <a:pt x="1627" y="1081"/>
                </a:lnTo>
                <a:lnTo>
                  <a:pt x="1628" y="1088"/>
                </a:lnTo>
                <a:lnTo>
                  <a:pt x="1630" y="1095"/>
                </a:lnTo>
                <a:lnTo>
                  <a:pt x="1631" y="1100"/>
                </a:lnTo>
                <a:lnTo>
                  <a:pt x="1634" y="1103"/>
                </a:lnTo>
                <a:lnTo>
                  <a:pt x="1640" y="1110"/>
                </a:lnTo>
                <a:lnTo>
                  <a:pt x="1650" y="1119"/>
                </a:lnTo>
                <a:lnTo>
                  <a:pt x="1654" y="1123"/>
                </a:lnTo>
                <a:lnTo>
                  <a:pt x="1659" y="1125"/>
                </a:lnTo>
                <a:lnTo>
                  <a:pt x="1665" y="1125"/>
                </a:lnTo>
                <a:lnTo>
                  <a:pt x="1671" y="1123"/>
                </a:lnTo>
                <a:lnTo>
                  <a:pt x="1681" y="1120"/>
                </a:lnTo>
                <a:lnTo>
                  <a:pt x="1690" y="1118"/>
                </a:lnTo>
                <a:lnTo>
                  <a:pt x="1695" y="1118"/>
                </a:lnTo>
                <a:lnTo>
                  <a:pt x="1698" y="1117"/>
                </a:lnTo>
                <a:lnTo>
                  <a:pt x="1701" y="1113"/>
                </a:lnTo>
                <a:lnTo>
                  <a:pt x="1704" y="1110"/>
                </a:lnTo>
                <a:lnTo>
                  <a:pt x="1705" y="1106"/>
                </a:lnTo>
                <a:lnTo>
                  <a:pt x="1706" y="1101"/>
                </a:lnTo>
                <a:lnTo>
                  <a:pt x="1706" y="1095"/>
                </a:lnTo>
                <a:lnTo>
                  <a:pt x="1704" y="1088"/>
                </a:lnTo>
                <a:lnTo>
                  <a:pt x="1702" y="1081"/>
                </a:lnTo>
                <a:lnTo>
                  <a:pt x="1697" y="1075"/>
                </a:lnTo>
                <a:lnTo>
                  <a:pt x="1690" y="1068"/>
                </a:lnTo>
                <a:lnTo>
                  <a:pt x="1684" y="1062"/>
                </a:lnTo>
                <a:lnTo>
                  <a:pt x="1678" y="1056"/>
                </a:lnTo>
                <a:lnTo>
                  <a:pt x="1674" y="1050"/>
                </a:lnTo>
                <a:lnTo>
                  <a:pt x="1673" y="1045"/>
                </a:lnTo>
                <a:lnTo>
                  <a:pt x="1672" y="1042"/>
                </a:lnTo>
                <a:lnTo>
                  <a:pt x="1673" y="1038"/>
                </a:lnTo>
                <a:lnTo>
                  <a:pt x="1674" y="1034"/>
                </a:lnTo>
                <a:lnTo>
                  <a:pt x="1677" y="1025"/>
                </a:lnTo>
                <a:lnTo>
                  <a:pt x="1678" y="1018"/>
                </a:lnTo>
                <a:lnTo>
                  <a:pt x="1679" y="1011"/>
                </a:lnTo>
                <a:lnTo>
                  <a:pt x="1678" y="1004"/>
                </a:lnTo>
                <a:lnTo>
                  <a:pt x="1676" y="996"/>
                </a:lnTo>
                <a:lnTo>
                  <a:pt x="1675" y="993"/>
                </a:lnTo>
                <a:lnTo>
                  <a:pt x="1675" y="991"/>
                </a:lnTo>
                <a:lnTo>
                  <a:pt x="1677" y="987"/>
                </a:lnTo>
                <a:lnTo>
                  <a:pt x="1678" y="985"/>
                </a:lnTo>
                <a:lnTo>
                  <a:pt x="1679" y="981"/>
                </a:lnTo>
                <a:lnTo>
                  <a:pt x="1681" y="980"/>
                </a:lnTo>
                <a:lnTo>
                  <a:pt x="1684" y="978"/>
                </a:lnTo>
                <a:lnTo>
                  <a:pt x="1690" y="971"/>
                </a:lnTo>
                <a:lnTo>
                  <a:pt x="1698" y="960"/>
                </a:lnTo>
                <a:lnTo>
                  <a:pt x="1699" y="959"/>
                </a:lnTo>
                <a:lnTo>
                  <a:pt x="1701" y="957"/>
                </a:lnTo>
                <a:lnTo>
                  <a:pt x="1702" y="957"/>
                </a:lnTo>
                <a:lnTo>
                  <a:pt x="1703" y="958"/>
                </a:lnTo>
                <a:lnTo>
                  <a:pt x="1705" y="963"/>
                </a:lnTo>
                <a:lnTo>
                  <a:pt x="1705" y="973"/>
                </a:lnTo>
                <a:lnTo>
                  <a:pt x="1706" y="979"/>
                </a:lnTo>
                <a:lnTo>
                  <a:pt x="1707" y="986"/>
                </a:lnTo>
                <a:lnTo>
                  <a:pt x="1708" y="991"/>
                </a:lnTo>
                <a:lnTo>
                  <a:pt x="1710" y="996"/>
                </a:lnTo>
                <a:lnTo>
                  <a:pt x="1715" y="1003"/>
                </a:lnTo>
                <a:lnTo>
                  <a:pt x="1719" y="1010"/>
                </a:lnTo>
                <a:lnTo>
                  <a:pt x="1723" y="1014"/>
                </a:lnTo>
                <a:lnTo>
                  <a:pt x="1727" y="1017"/>
                </a:lnTo>
                <a:lnTo>
                  <a:pt x="1729" y="1020"/>
                </a:lnTo>
                <a:lnTo>
                  <a:pt x="1729" y="1022"/>
                </a:lnTo>
                <a:lnTo>
                  <a:pt x="1726" y="1029"/>
                </a:lnTo>
                <a:lnTo>
                  <a:pt x="1721" y="1037"/>
                </a:lnTo>
                <a:lnTo>
                  <a:pt x="1717" y="1044"/>
                </a:lnTo>
                <a:lnTo>
                  <a:pt x="1715" y="1052"/>
                </a:lnTo>
                <a:lnTo>
                  <a:pt x="1715" y="1062"/>
                </a:lnTo>
                <a:lnTo>
                  <a:pt x="1716" y="1080"/>
                </a:lnTo>
                <a:lnTo>
                  <a:pt x="1717" y="1089"/>
                </a:lnTo>
                <a:lnTo>
                  <a:pt x="1719" y="1098"/>
                </a:lnTo>
                <a:lnTo>
                  <a:pt x="1721" y="1102"/>
                </a:lnTo>
                <a:lnTo>
                  <a:pt x="1723" y="1106"/>
                </a:lnTo>
                <a:lnTo>
                  <a:pt x="1725" y="1109"/>
                </a:lnTo>
                <a:lnTo>
                  <a:pt x="1728" y="1111"/>
                </a:lnTo>
                <a:lnTo>
                  <a:pt x="1734" y="1116"/>
                </a:lnTo>
                <a:lnTo>
                  <a:pt x="1740" y="1118"/>
                </a:lnTo>
                <a:lnTo>
                  <a:pt x="1744" y="1119"/>
                </a:lnTo>
                <a:lnTo>
                  <a:pt x="1748" y="1119"/>
                </a:lnTo>
                <a:lnTo>
                  <a:pt x="1752" y="1120"/>
                </a:lnTo>
                <a:lnTo>
                  <a:pt x="1755" y="1120"/>
                </a:lnTo>
                <a:lnTo>
                  <a:pt x="1759" y="1122"/>
                </a:lnTo>
                <a:lnTo>
                  <a:pt x="1762" y="1124"/>
                </a:lnTo>
                <a:lnTo>
                  <a:pt x="1764" y="1125"/>
                </a:lnTo>
                <a:lnTo>
                  <a:pt x="1766" y="1126"/>
                </a:lnTo>
                <a:lnTo>
                  <a:pt x="1767" y="1126"/>
                </a:lnTo>
                <a:lnTo>
                  <a:pt x="1769" y="1125"/>
                </a:lnTo>
                <a:lnTo>
                  <a:pt x="1773" y="1123"/>
                </a:lnTo>
                <a:lnTo>
                  <a:pt x="1778" y="1120"/>
                </a:lnTo>
                <a:lnTo>
                  <a:pt x="1783" y="1118"/>
                </a:lnTo>
                <a:lnTo>
                  <a:pt x="1788" y="1116"/>
                </a:lnTo>
                <a:lnTo>
                  <a:pt x="1790" y="1116"/>
                </a:lnTo>
                <a:lnTo>
                  <a:pt x="1792" y="1116"/>
                </a:lnTo>
                <a:lnTo>
                  <a:pt x="1795" y="1117"/>
                </a:lnTo>
                <a:lnTo>
                  <a:pt x="1797" y="1118"/>
                </a:lnTo>
                <a:lnTo>
                  <a:pt x="1804" y="1125"/>
                </a:lnTo>
                <a:lnTo>
                  <a:pt x="1810" y="1129"/>
                </a:lnTo>
                <a:lnTo>
                  <a:pt x="1821" y="1133"/>
                </a:lnTo>
                <a:lnTo>
                  <a:pt x="1842" y="1136"/>
                </a:lnTo>
                <a:lnTo>
                  <a:pt x="1849" y="1136"/>
                </a:lnTo>
                <a:lnTo>
                  <a:pt x="1854" y="1136"/>
                </a:lnTo>
                <a:lnTo>
                  <a:pt x="1858" y="1136"/>
                </a:lnTo>
                <a:lnTo>
                  <a:pt x="1862" y="1135"/>
                </a:lnTo>
                <a:lnTo>
                  <a:pt x="1869" y="1132"/>
                </a:lnTo>
                <a:lnTo>
                  <a:pt x="1874" y="1129"/>
                </a:lnTo>
                <a:lnTo>
                  <a:pt x="1877" y="1126"/>
                </a:lnTo>
                <a:lnTo>
                  <a:pt x="1879" y="1124"/>
                </a:lnTo>
                <a:lnTo>
                  <a:pt x="1881" y="1124"/>
                </a:lnTo>
                <a:lnTo>
                  <a:pt x="1882" y="1124"/>
                </a:lnTo>
                <a:lnTo>
                  <a:pt x="1883" y="1125"/>
                </a:lnTo>
                <a:lnTo>
                  <a:pt x="1885" y="1126"/>
                </a:lnTo>
                <a:lnTo>
                  <a:pt x="1887" y="1127"/>
                </a:lnTo>
                <a:lnTo>
                  <a:pt x="1889" y="1128"/>
                </a:lnTo>
                <a:lnTo>
                  <a:pt x="1892" y="1128"/>
                </a:lnTo>
                <a:lnTo>
                  <a:pt x="1894" y="1128"/>
                </a:lnTo>
                <a:lnTo>
                  <a:pt x="1899" y="1126"/>
                </a:lnTo>
                <a:lnTo>
                  <a:pt x="1904" y="1123"/>
                </a:lnTo>
                <a:lnTo>
                  <a:pt x="1909" y="1120"/>
                </a:lnTo>
                <a:lnTo>
                  <a:pt x="1914" y="1118"/>
                </a:lnTo>
                <a:lnTo>
                  <a:pt x="1916" y="1118"/>
                </a:lnTo>
                <a:lnTo>
                  <a:pt x="1918" y="1118"/>
                </a:lnTo>
                <a:lnTo>
                  <a:pt x="1920" y="1119"/>
                </a:lnTo>
                <a:lnTo>
                  <a:pt x="1921" y="1120"/>
                </a:lnTo>
                <a:lnTo>
                  <a:pt x="1925" y="1124"/>
                </a:lnTo>
                <a:lnTo>
                  <a:pt x="1930" y="1126"/>
                </a:lnTo>
                <a:lnTo>
                  <a:pt x="1937" y="1128"/>
                </a:lnTo>
                <a:lnTo>
                  <a:pt x="1944" y="1129"/>
                </a:lnTo>
                <a:lnTo>
                  <a:pt x="1960" y="1130"/>
                </a:lnTo>
                <a:lnTo>
                  <a:pt x="1971" y="1131"/>
                </a:lnTo>
                <a:lnTo>
                  <a:pt x="1976" y="1131"/>
                </a:lnTo>
                <a:lnTo>
                  <a:pt x="1982" y="1128"/>
                </a:lnTo>
                <a:lnTo>
                  <a:pt x="1988" y="1125"/>
                </a:lnTo>
                <a:lnTo>
                  <a:pt x="1994" y="1120"/>
                </a:lnTo>
                <a:lnTo>
                  <a:pt x="1998" y="1114"/>
                </a:lnTo>
                <a:lnTo>
                  <a:pt x="2002" y="1110"/>
                </a:lnTo>
                <a:lnTo>
                  <a:pt x="2003" y="1107"/>
                </a:lnTo>
                <a:lnTo>
                  <a:pt x="2003" y="1105"/>
                </a:lnTo>
                <a:lnTo>
                  <a:pt x="2002" y="1103"/>
                </a:lnTo>
                <a:lnTo>
                  <a:pt x="2001" y="1102"/>
                </a:lnTo>
                <a:lnTo>
                  <a:pt x="1993" y="1096"/>
                </a:lnTo>
                <a:lnTo>
                  <a:pt x="1985" y="1091"/>
                </a:lnTo>
                <a:lnTo>
                  <a:pt x="1982" y="1088"/>
                </a:lnTo>
                <a:lnTo>
                  <a:pt x="1980" y="1085"/>
                </a:lnTo>
                <a:lnTo>
                  <a:pt x="1981" y="1082"/>
                </a:lnTo>
                <a:lnTo>
                  <a:pt x="1984" y="1078"/>
                </a:lnTo>
                <a:lnTo>
                  <a:pt x="1992" y="1070"/>
                </a:lnTo>
                <a:lnTo>
                  <a:pt x="1998" y="1064"/>
                </a:lnTo>
                <a:lnTo>
                  <a:pt x="2001" y="1062"/>
                </a:lnTo>
                <a:lnTo>
                  <a:pt x="2001" y="1059"/>
                </a:lnTo>
                <a:lnTo>
                  <a:pt x="2000" y="1056"/>
                </a:lnTo>
                <a:lnTo>
                  <a:pt x="1996" y="1052"/>
                </a:lnTo>
                <a:lnTo>
                  <a:pt x="1985" y="1039"/>
                </a:lnTo>
                <a:lnTo>
                  <a:pt x="1971" y="1024"/>
                </a:lnTo>
                <a:lnTo>
                  <a:pt x="1964" y="1018"/>
                </a:lnTo>
                <a:lnTo>
                  <a:pt x="1957" y="1012"/>
                </a:lnTo>
                <a:lnTo>
                  <a:pt x="1951" y="1009"/>
                </a:lnTo>
                <a:lnTo>
                  <a:pt x="1947" y="1008"/>
                </a:lnTo>
                <a:lnTo>
                  <a:pt x="1938" y="1013"/>
                </a:lnTo>
                <a:lnTo>
                  <a:pt x="1927" y="1020"/>
                </a:lnTo>
                <a:lnTo>
                  <a:pt x="1923" y="1023"/>
                </a:lnTo>
                <a:lnTo>
                  <a:pt x="1918" y="1025"/>
                </a:lnTo>
                <a:lnTo>
                  <a:pt x="1916" y="1025"/>
                </a:lnTo>
                <a:lnTo>
                  <a:pt x="1914" y="1024"/>
                </a:lnTo>
                <a:lnTo>
                  <a:pt x="1913" y="1023"/>
                </a:lnTo>
                <a:lnTo>
                  <a:pt x="1910" y="1021"/>
                </a:lnTo>
                <a:lnTo>
                  <a:pt x="1906" y="1013"/>
                </a:lnTo>
                <a:lnTo>
                  <a:pt x="1904" y="1008"/>
                </a:lnTo>
                <a:lnTo>
                  <a:pt x="1903" y="1007"/>
                </a:lnTo>
                <a:lnTo>
                  <a:pt x="1901" y="1007"/>
                </a:lnTo>
                <a:lnTo>
                  <a:pt x="1899" y="1007"/>
                </a:lnTo>
                <a:lnTo>
                  <a:pt x="1897" y="1009"/>
                </a:lnTo>
                <a:lnTo>
                  <a:pt x="1894" y="1012"/>
                </a:lnTo>
                <a:lnTo>
                  <a:pt x="1893" y="1016"/>
                </a:lnTo>
                <a:lnTo>
                  <a:pt x="1892" y="1020"/>
                </a:lnTo>
                <a:lnTo>
                  <a:pt x="1891" y="1025"/>
                </a:lnTo>
                <a:lnTo>
                  <a:pt x="1888" y="1030"/>
                </a:lnTo>
                <a:lnTo>
                  <a:pt x="1886" y="1034"/>
                </a:lnTo>
                <a:lnTo>
                  <a:pt x="1881" y="1037"/>
                </a:lnTo>
                <a:lnTo>
                  <a:pt x="1875" y="1040"/>
                </a:lnTo>
                <a:lnTo>
                  <a:pt x="1859" y="1043"/>
                </a:lnTo>
                <a:lnTo>
                  <a:pt x="1845" y="1045"/>
                </a:lnTo>
                <a:lnTo>
                  <a:pt x="1835" y="1046"/>
                </a:lnTo>
                <a:lnTo>
                  <a:pt x="1832" y="1047"/>
                </a:lnTo>
                <a:lnTo>
                  <a:pt x="1831" y="1043"/>
                </a:lnTo>
                <a:lnTo>
                  <a:pt x="1829" y="1036"/>
                </a:lnTo>
                <a:lnTo>
                  <a:pt x="1827" y="1033"/>
                </a:lnTo>
                <a:lnTo>
                  <a:pt x="1823" y="1031"/>
                </a:lnTo>
                <a:lnTo>
                  <a:pt x="1822" y="1031"/>
                </a:lnTo>
                <a:lnTo>
                  <a:pt x="1820" y="1031"/>
                </a:lnTo>
                <a:lnTo>
                  <a:pt x="1818" y="1032"/>
                </a:lnTo>
                <a:lnTo>
                  <a:pt x="1816" y="1034"/>
                </a:lnTo>
                <a:lnTo>
                  <a:pt x="1803" y="1046"/>
                </a:lnTo>
                <a:lnTo>
                  <a:pt x="1799" y="1051"/>
                </a:lnTo>
                <a:lnTo>
                  <a:pt x="1792" y="1043"/>
                </a:lnTo>
                <a:lnTo>
                  <a:pt x="1770" y="1022"/>
                </a:lnTo>
                <a:lnTo>
                  <a:pt x="1764" y="1016"/>
                </a:lnTo>
                <a:lnTo>
                  <a:pt x="1759" y="1011"/>
                </a:lnTo>
                <a:lnTo>
                  <a:pt x="1755" y="1006"/>
                </a:lnTo>
                <a:lnTo>
                  <a:pt x="1754" y="1001"/>
                </a:lnTo>
                <a:lnTo>
                  <a:pt x="1753" y="998"/>
                </a:lnTo>
                <a:lnTo>
                  <a:pt x="1754" y="995"/>
                </a:lnTo>
                <a:lnTo>
                  <a:pt x="1755" y="993"/>
                </a:lnTo>
                <a:lnTo>
                  <a:pt x="1757" y="992"/>
                </a:lnTo>
                <a:lnTo>
                  <a:pt x="1759" y="991"/>
                </a:lnTo>
                <a:lnTo>
                  <a:pt x="1759" y="991"/>
                </a:lnTo>
                <a:lnTo>
                  <a:pt x="1757" y="990"/>
                </a:lnTo>
                <a:lnTo>
                  <a:pt x="1756" y="990"/>
                </a:lnTo>
                <a:lnTo>
                  <a:pt x="1752" y="988"/>
                </a:lnTo>
                <a:lnTo>
                  <a:pt x="1746" y="987"/>
                </a:lnTo>
                <a:lnTo>
                  <a:pt x="1741" y="985"/>
                </a:lnTo>
                <a:lnTo>
                  <a:pt x="1737" y="981"/>
                </a:lnTo>
                <a:lnTo>
                  <a:pt x="1735" y="980"/>
                </a:lnTo>
                <a:lnTo>
                  <a:pt x="1734" y="979"/>
                </a:lnTo>
                <a:lnTo>
                  <a:pt x="1735" y="978"/>
                </a:lnTo>
                <a:lnTo>
                  <a:pt x="1737" y="976"/>
                </a:lnTo>
                <a:lnTo>
                  <a:pt x="1753" y="964"/>
                </a:lnTo>
                <a:lnTo>
                  <a:pt x="1763" y="957"/>
                </a:lnTo>
                <a:lnTo>
                  <a:pt x="1765" y="951"/>
                </a:lnTo>
                <a:lnTo>
                  <a:pt x="1768" y="941"/>
                </a:lnTo>
                <a:lnTo>
                  <a:pt x="1771" y="936"/>
                </a:lnTo>
                <a:lnTo>
                  <a:pt x="1774" y="934"/>
                </a:lnTo>
                <a:lnTo>
                  <a:pt x="1776" y="934"/>
                </a:lnTo>
                <a:lnTo>
                  <a:pt x="1777" y="935"/>
                </a:lnTo>
                <a:lnTo>
                  <a:pt x="1779" y="937"/>
                </a:lnTo>
                <a:lnTo>
                  <a:pt x="1782" y="941"/>
                </a:lnTo>
                <a:lnTo>
                  <a:pt x="1786" y="948"/>
                </a:lnTo>
                <a:lnTo>
                  <a:pt x="1790" y="953"/>
                </a:lnTo>
                <a:lnTo>
                  <a:pt x="1794" y="958"/>
                </a:lnTo>
                <a:lnTo>
                  <a:pt x="1798" y="962"/>
                </a:lnTo>
                <a:lnTo>
                  <a:pt x="1804" y="964"/>
                </a:lnTo>
                <a:lnTo>
                  <a:pt x="1809" y="965"/>
                </a:lnTo>
                <a:lnTo>
                  <a:pt x="1814" y="965"/>
                </a:lnTo>
                <a:lnTo>
                  <a:pt x="1820" y="964"/>
                </a:lnTo>
                <a:lnTo>
                  <a:pt x="1823" y="964"/>
                </a:lnTo>
                <a:lnTo>
                  <a:pt x="1827" y="962"/>
                </a:lnTo>
                <a:lnTo>
                  <a:pt x="1829" y="959"/>
                </a:lnTo>
                <a:lnTo>
                  <a:pt x="1831" y="957"/>
                </a:lnTo>
                <a:lnTo>
                  <a:pt x="1835" y="952"/>
                </a:lnTo>
                <a:lnTo>
                  <a:pt x="1839" y="946"/>
                </a:lnTo>
                <a:lnTo>
                  <a:pt x="1842" y="942"/>
                </a:lnTo>
                <a:lnTo>
                  <a:pt x="1845" y="940"/>
                </a:lnTo>
                <a:lnTo>
                  <a:pt x="1848" y="940"/>
                </a:lnTo>
                <a:lnTo>
                  <a:pt x="1850" y="941"/>
                </a:lnTo>
                <a:lnTo>
                  <a:pt x="1851" y="943"/>
                </a:lnTo>
                <a:lnTo>
                  <a:pt x="1853" y="946"/>
                </a:lnTo>
                <a:lnTo>
                  <a:pt x="1858" y="952"/>
                </a:lnTo>
                <a:lnTo>
                  <a:pt x="1863" y="957"/>
                </a:lnTo>
                <a:lnTo>
                  <a:pt x="1870" y="962"/>
                </a:lnTo>
                <a:lnTo>
                  <a:pt x="1875" y="963"/>
                </a:lnTo>
                <a:lnTo>
                  <a:pt x="1880" y="963"/>
                </a:lnTo>
                <a:lnTo>
                  <a:pt x="1884" y="962"/>
                </a:lnTo>
                <a:lnTo>
                  <a:pt x="1888" y="959"/>
                </a:lnTo>
                <a:lnTo>
                  <a:pt x="1891" y="957"/>
                </a:lnTo>
                <a:lnTo>
                  <a:pt x="1892" y="949"/>
                </a:lnTo>
                <a:lnTo>
                  <a:pt x="1894" y="943"/>
                </a:lnTo>
                <a:lnTo>
                  <a:pt x="1895" y="941"/>
                </a:lnTo>
                <a:lnTo>
                  <a:pt x="1897" y="940"/>
                </a:lnTo>
                <a:lnTo>
                  <a:pt x="1899" y="941"/>
                </a:lnTo>
                <a:lnTo>
                  <a:pt x="1901" y="943"/>
                </a:lnTo>
                <a:lnTo>
                  <a:pt x="1907" y="949"/>
                </a:lnTo>
                <a:lnTo>
                  <a:pt x="1911" y="953"/>
                </a:lnTo>
                <a:lnTo>
                  <a:pt x="1916" y="956"/>
                </a:lnTo>
                <a:lnTo>
                  <a:pt x="1920" y="957"/>
                </a:lnTo>
                <a:lnTo>
                  <a:pt x="1925" y="956"/>
                </a:lnTo>
                <a:lnTo>
                  <a:pt x="1932" y="952"/>
                </a:lnTo>
                <a:lnTo>
                  <a:pt x="1939" y="949"/>
                </a:lnTo>
                <a:lnTo>
                  <a:pt x="1946" y="948"/>
                </a:lnTo>
                <a:lnTo>
                  <a:pt x="1951" y="949"/>
                </a:lnTo>
                <a:lnTo>
                  <a:pt x="1956" y="950"/>
                </a:lnTo>
                <a:lnTo>
                  <a:pt x="1962" y="953"/>
                </a:lnTo>
                <a:lnTo>
                  <a:pt x="1968" y="957"/>
                </a:lnTo>
                <a:lnTo>
                  <a:pt x="1982" y="966"/>
                </a:lnTo>
                <a:lnTo>
                  <a:pt x="1993" y="974"/>
                </a:lnTo>
                <a:lnTo>
                  <a:pt x="1998" y="975"/>
                </a:lnTo>
                <a:lnTo>
                  <a:pt x="2003" y="975"/>
                </a:lnTo>
                <a:lnTo>
                  <a:pt x="2005" y="974"/>
                </a:lnTo>
                <a:lnTo>
                  <a:pt x="2007" y="973"/>
                </a:lnTo>
                <a:lnTo>
                  <a:pt x="2009" y="971"/>
                </a:lnTo>
                <a:lnTo>
                  <a:pt x="2011" y="968"/>
                </a:lnTo>
                <a:lnTo>
                  <a:pt x="2022" y="951"/>
                </a:lnTo>
                <a:lnTo>
                  <a:pt x="2029" y="940"/>
                </a:lnTo>
                <a:lnTo>
                  <a:pt x="2034" y="932"/>
                </a:lnTo>
                <a:lnTo>
                  <a:pt x="2040" y="926"/>
                </a:lnTo>
                <a:lnTo>
                  <a:pt x="2042" y="923"/>
                </a:lnTo>
                <a:lnTo>
                  <a:pt x="2044" y="920"/>
                </a:lnTo>
                <a:lnTo>
                  <a:pt x="2042" y="916"/>
                </a:lnTo>
                <a:lnTo>
                  <a:pt x="2039" y="912"/>
                </a:lnTo>
                <a:lnTo>
                  <a:pt x="2034" y="909"/>
                </a:lnTo>
                <a:lnTo>
                  <a:pt x="2029" y="907"/>
                </a:lnTo>
                <a:lnTo>
                  <a:pt x="2023" y="905"/>
                </a:lnTo>
                <a:lnTo>
                  <a:pt x="2016" y="903"/>
                </a:lnTo>
                <a:lnTo>
                  <a:pt x="2004" y="900"/>
                </a:lnTo>
                <a:lnTo>
                  <a:pt x="1992" y="894"/>
                </a:lnTo>
                <a:lnTo>
                  <a:pt x="1982" y="888"/>
                </a:lnTo>
                <a:lnTo>
                  <a:pt x="1973" y="884"/>
                </a:lnTo>
                <a:lnTo>
                  <a:pt x="1969" y="883"/>
                </a:lnTo>
                <a:lnTo>
                  <a:pt x="1966" y="882"/>
                </a:lnTo>
                <a:lnTo>
                  <a:pt x="1963" y="883"/>
                </a:lnTo>
                <a:lnTo>
                  <a:pt x="1960" y="884"/>
                </a:lnTo>
                <a:lnTo>
                  <a:pt x="1957" y="886"/>
                </a:lnTo>
                <a:lnTo>
                  <a:pt x="1952" y="887"/>
                </a:lnTo>
                <a:lnTo>
                  <a:pt x="1948" y="888"/>
                </a:lnTo>
                <a:lnTo>
                  <a:pt x="1944" y="888"/>
                </a:lnTo>
                <a:lnTo>
                  <a:pt x="1940" y="887"/>
                </a:lnTo>
                <a:lnTo>
                  <a:pt x="1938" y="886"/>
                </a:lnTo>
                <a:lnTo>
                  <a:pt x="1938" y="883"/>
                </a:lnTo>
                <a:lnTo>
                  <a:pt x="1941" y="880"/>
                </a:lnTo>
                <a:lnTo>
                  <a:pt x="1948" y="870"/>
                </a:lnTo>
                <a:lnTo>
                  <a:pt x="1956" y="860"/>
                </a:lnTo>
                <a:lnTo>
                  <a:pt x="1959" y="856"/>
                </a:lnTo>
                <a:lnTo>
                  <a:pt x="1962" y="854"/>
                </a:lnTo>
                <a:lnTo>
                  <a:pt x="1963" y="853"/>
                </a:lnTo>
                <a:lnTo>
                  <a:pt x="1964" y="853"/>
                </a:lnTo>
                <a:lnTo>
                  <a:pt x="1965" y="854"/>
                </a:lnTo>
                <a:lnTo>
                  <a:pt x="1966" y="855"/>
                </a:lnTo>
                <a:lnTo>
                  <a:pt x="1969" y="859"/>
                </a:lnTo>
                <a:lnTo>
                  <a:pt x="1972" y="862"/>
                </a:lnTo>
                <a:lnTo>
                  <a:pt x="1978" y="865"/>
                </a:lnTo>
                <a:lnTo>
                  <a:pt x="1985" y="867"/>
                </a:lnTo>
                <a:lnTo>
                  <a:pt x="1991" y="870"/>
                </a:lnTo>
                <a:lnTo>
                  <a:pt x="1995" y="870"/>
                </a:lnTo>
                <a:lnTo>
                  <a:pt x="2001" y="868"/>
                </a:lnTo>
                <a:lnTo>
                  <a:pt x="2014" y="864"/>
                </a:lnTo>
                <a:lnTo>
                  <a:pt x="2023" y="861"/>
                </a:lnTo>
                <a:lnTo>
                  <a:pt x="2029" y="857"/>
                </a:lnTo>
                <a:lnTo>
                  <a:pt x="2033" y="852"/>
                </a:lnTo>
                <a:lnTo>
                  <a:pt x="2036" y="846"/>
                </a:lnTo>
                <a:lnTo>
                  <a:pt x="2037" y="841"/>
                </a:lnTo>
                <a:lnTo>
                  <a:pt x="2037" y="836"/>
                </a:lnTo>
                <a:lnTo>
                  <a:pt x="2036" y="832"/>
                </a:lnTo>
                <a:lnTo>
                  <a:pt x="2034" y="827"/>
                </a:lnTo>
                <a:lnTo>
                  <a:pt x="2027" y="822"/>
                </a:lnTo>
                <a:lnTo>
                  <a:pt x="2019" y="817"/>
                </a:lnTo>
                <a:lnTo>
                  <a:pt x="2017" y="815"/>
                </a:lnTo>
                <a:lnTo>
                  <a:pt x="2016" y="813"/>
                </a:lnTo>
                <a:lnTo>
                  <a:pt x="2016" y="812"/>
                </a:lnTo>
                <a:lnTo>
                  <a:pt x="2019" y="812"/>
                </a:lnTo>
                <a:lnTo>
                  <a:pt x="2030" y="811"/>
                </a:lnTo>
                <a:lnTo>
                  <a:pt x="2041" y="811"/>
                </a:lnTo>
                <a:lnTo>
                  <a:pt x="2054" y="811"/>
                </a:lnTo>
                <a:lnTo>
                  <a:pt x="2063" y="809"/>
                </a:lnTo>
                <a:lnTo>
                  <a:pt x="2066" y="807"/>
                </a:lnTo>
                <a:lnTo>
                  <a:pt x="2066" y="805"/>
                </a:lnTo>
                <a:lnTo>
                  <a:pt x="2066" y="804"/>
                </a:lnTo>
                <a:lnTo>
                  <a:pt x="2064" y="802"/>
                </a:lnTo>
                <a:lnTo>
                  <a:pt x="2062" y="799"/>
                </a:lnTo>
                <a:lnTo>
                  <a:pt x="2059" y="794"/>
                </a:lnTo>
                <a:lnTo>
                  <a:pt x="2056" y="790"/>
                </a:lnTo>
                <a:lnTo>
                  <a:pt x="2054" y="787"/>
                </a:lnTo>
                <a:lnTo>
                  <a:pt x="2054" y="784"/>
                </a:lnTo>
                <a:lnTo>
                  <a:pt x="2054" y="783"/>
                </a:lnTo>
                <a:lnTo>
                  <a:pt x="2055" y="782"/>
                </a:lnTo>
                <a:lnTo>
                  <a:pt x="2057" y="781"/>
                </a:lnTo>
                <a:lnTo>
                  <a:pt x="2069" y="782"/>
                </a:lnTo>
                <a:lnTo>
                  <a:pt x="2080" y="784"/>
                </a:lnTo>
                <a:lnTo>
                  <a:pt x="2084" y="784"/>
                </a:lnTo>
                <a:lnTo>
                  <a:pt x="2089" y="782"/>
                </a:lnTo>
                <a:lnTo>
                  <a:pt x="2090" y="780"/>
                </a:lnTo>
                <a:lnTo>
                  <a:pt x="2091" y="778"/>
                </a:lnTo>
                <a:lnTo>
                  <a:pt x="2091" y="775"/>
                </a:lnTo>
                <a:lnTo>
                  <a:pt x="2092" y="771"/>
                </a:lnTo>
                <a:lnTo>
                  <a:pt x="2091" y="767"/>
                </a:lnTo>
                <a:lnTo>
                  <a:pt x="2090" y="763"/>
                </a:lnTo>
                <a:lnTo>
                  <a:pt x="2088" y="760"/>
                </a:lnTo>
                <a:lnTo>
                  <a:pt x="2086" y="758"/>
                </a:lnTo>
                <a:lnTo>
                  <a:pt x="2081" y="754"/>
                </a:lnTo>
                <a:lnTo>
                  <a:pt x="2077" y="752"/>
                </a:lnTo>
                <a:lnTo>
                  <a:pt x="2073" y="750"/>
                </a:lnTo>
                <a:lnTo>
                  <a:pt x="2070" y="749"/>
                </a:lnTo>
                <a:lnTo>
                  <a:pt x="2070" y="748"/>
                </a:lnTo>
                <a:lnTo>
                  <a:pt x="2073" y="747"/>
                </a:lnTo>
                <a:lnTo>
                  <a:pt x="2082" y="744"/>
                </a:lnTo>
                <a:lnTo>
                  <a:pt x="2092" y="739"/>
                </a:lnTo>
                <a:lnTo>
                  <a:pt x="2095" y="737"/>
                </a:lnTo>
                <a:lnTo>
                  <a:pt x="2098" y="735"/>
                </a:lnTo>
                <a:lnTo>
                  <a:pt x="2100" y="733"/>
                </a:lnTo>
                <a:lnTo>
                  <a:pt x="2100" y="731"/>
                </a:lnTo>
                <a:lnTo>
                  <a:pt x="2101" y="726"/>
                </a:lnTo>
                <a:lnTo>
                  <a:pt x="2103" y="721"/>
                </a:lnTo>
                <a:lnTo>
                  <a:pt x="2103" y="717"/>
                </a:lnTo>
                <a:lnTo>
                  <a:pt x="2102" y="714"/>
                </a:lnTo>
                <a:lnTo>
                  <a:pt x="2099" y="711"/>
                </a:lnTo>
                <a:lnTo>
                  <a:pt x="2094" y="708"/>
                </a:lnTo>
                <a:lnTo>
                  <a:pt x="2082" y="700"/>
                </a:lnTo>
                <a:lnTo>
                  <a:pt x="2072" y="692"/>
                </a:lnTo>
                <a:lnTo>
                  <a:pt x="2067" y="690"/>
                </a:lnTo>
                <a:lnTo>
                  <a:pt x="2062" y="689"/>
                </a:lnTo>
                <a:lnTo>
                  <a:pt x="2058" y="688"/>
                </a:lnTo>
                <a:lnTo>
                  <a:pt x="2055" y="690"/>
                </a:lnTo>
                <a:lnTo>
                  <a:pt x="2054" y="693"/>
                </a:lnTo>
                <a:lnTo>
                  <a:pt x="2053" y="697"/>
                </a:lnTo>
                <a:lnTo>
                  <a:pt x="2053" y="702"/>
                </a:lnTo>
                <a:lnTo>
                  <a:pt x="2053" y="705"/>
                </a:lnTo>
                <a:lnTo>
                  <a:pt x="2053" y="706"/>
                </a:lnTo>
                <a:lnTo>
                  <a:pt x="2052" y="707"/>
                </a:lnTo>
                <a:lnTo>
                  <a:pt x="2051" y="708"/>
                </a:lnTo>
                <a:lnTo>
                  <a:pt x="2050" y="708"/>
                </a:lnTo>
                <a:lnTo>
                  <a:pt x="2045" y="707"/>
                </a:lnTo>
                <a:lnTo>
                  <a:pt x="2037" y="703"/>
                </a:lnTo>
                <a:lnTo>
                  <a:pt x="2033" y="700"/>
                </a:lnTo>
                <a:lnTo>
                  <a:pt x="2030" y="697"/>
                </a:lnTo>
                <a:lnTo>
                  <a:pt x="2029" y="695"/>
                </a:lnTo>
                <a:lnTo>
                  <a:pt x="2028" y="693"/>
                </a:lnTo>
                <a:lnTo>
                  <a:pt x="2030" y="690"/>
                </a:lnTo>
                <a:lnTo>
                  <a:pt x="2034" y="687"/>
                </a:lnTo>
                <a:lnTo>
                  <a:pt x="2039" y="685"/>
                </a:lnTo>
                <a:lnTo>
                  <a:pt x="2045" y="682"/>
                </a:lnTo>
                <a:lnTo>
                  <a:pt x="2046" y="681"/>
                </a:lnTo>
                <a:lnTo>
                  <a:pt x="2048" y="680"/>
                </a:lnTo>
                <a:lnTo>
                  <a:pt x="2049" y="678"/>
                </a:lnTo>
                <a:lnTo>
                  <a:pt x="2048" y="675"/>
                </a:lnTo>
                <a:lnTo>
                  <a:pt x="2046" y="669"/>
                </a:lnTo>
                <a:lnTo>
                  <a:pt x="2045" y="664"/>
                </a:lnTo>
                <a:lnTo>
                  <a:pt x="2045" y="661"/>
                </a:lnTo>
                <a:lnTo>
                  <a:pt x="2045" y="659"/>
                </a:lnTo>
                <a:lnTo>
                  <a:pt x="2046" y="657"/>
                </a:lnTo>
                <a:lnTo>
                  <a:pt x="2047" y="655"/>
                </a:lnTo>
                <a:lnTo>
                  <a:pt x="2050" y="647"/>
                </a:lnTo>
                <a:lnTo>
                  <a:pt x="2051" y="639"/>
                </a:lnTo>
                <a:lnTo>
                  <a:pt x="2052" y="636"/>
                </a:lnTo>
                <a:lnTo>
                  <a:pt x="2054" y="634"/>
                </a:lnTo>
                <a:lnTo>
                  <a:pt x="2057" y="635"/>
                </a:lnTo>
                <a:lnTo>
                  <a:pt x="2062" y="639"/>
                </a:lnTo>
                <a:lnTo>
                  <a:pt x="2073" y="650"/>
                </a:lnTo>
                <a:lnTo>
                  <a:pt x="2082" y="658"/>
                </a:lnTo>
                <a:lnTo>
                  <a:pt x="2086" y="659"/>
                </a:lnTo>
                <a:lnTo>
                  <a:pt x="2092" y="659"/>
                </a:lnTo>
                <a:lnTo>
                  <a:pt x="2097" y="656"/>
                </a:lnTo>
                <a:lnTo>
                  <a:pt x="2102" y="650"/>
                </a:lnTo>
                <a:lnTo>
                  <a:pt x="2115" y="639"/>
                </a:lnTo>
                <a:lnTo>
                  <a:pt x="2123" y="631"/>
                </a:lnTo>
                <a:lnTo>
                  <a:pt x="2125" y="628"/>
                </a:lnTo>
                <a:lnTo>
                  <a:pt x="2127" y="625"/>
                </a:lnTo>
                <a:lnTo>
                  <a:pt x="2128" y="622"/>
                </a:lnTo>
                <a:lnTo>
                  <a:pt x="2127" y="619"/>
                </a:lnTo>
                <a:lnTo>
                  <a:pt x="2122" y="608"/>
                </a:lnTo>
                <a:lnTo>
                  <a:pt x="2115" y="599"/>
                </a:lnTo>
                <a:lnTo>
                  <a:pt x="2113" y="595"/>
                </a:lnTo>
                <a:lnTo>
                  <a:pt x="2111" y="592"/>
                </a:lnTo>
                <a:lnTo>
                  <a:pt x="2111" y="590"/>
                </a:lnTo>
                <a:lnTo>
                  <a:pt x="2112" y="590"/>
                </a:lnTo>
                <a:lnTo>
                  <a:pt x="2113" y="589"/>
                </a:lnTo>
                <a:lnTo>
                  <a:pt x="2114" y="589"/>
                </a:lnTo>
                <a:lnTo>
                  <a:pt x="2119" y="591"/>
                </a:lnTo>
                <a:lnTo>
                  <a:pt x="2126" y="595"/>
                </a:lnTo>
                <a:lnTo>
                  <a:pt x="2135" y="601"/>
                </a:lnTo>
                <a:lnTo>
                  <a:pt x="2143" y="607"/>
                </a:lnTo>
                <a:lnTo>
                  <a:pt x="2151" y="613"/>
                </a:lnTo>
                <a:lnTo>
                  <a:pt x="2159" y="617"/>
                </a:lnTo>
                <a:lnTo>
                  <a:pt x="2161" y="617"/>
                </a:lnTo>
                <a:lnTo>
                  <a:pt x="2164" y="617"/>
                </a:lnTo>
                <a:lnTo>
                  <a:pt x="2165" y="616"/>
                </a:lnTo>
                <a:lnTo>
                  <a:pt x="2166" y="614"/>
                </a:lnTo>
                <a:lnTo>
                  <a:pt x="2166" y="607"/>
                </a:lnTo>
                <a:lnTo>
                  <a:pt x="2163" y="601"/>
                </a:lnTo>
                <a:lnTo>
                  <a:pt x="2160" y="596"/>
                </a:lnTo>
                <a:lnTo>
                  <a:pt x="2156" y="591"/>
                </a:lnTo>
                <a:lnTo>
                  <a:pt x="2151" y="584"/>
                </a:lnTo>
                <a:lnTo>
                  <a:pt x="2149" y="579"/>
                </a:lnTo>
                <a:lnTo>
                  <a:pt x="2149" y="576"/>
                </a:lnTo>
                <a:lnTo>
                  <a:pt x="2149" y="573"/>
                </a:lnTo>
                <a:lnTo>
                  <a:pt x="2150" y="570"/>
                </a:lnTo>
                <a:lnTo>
                  <a:pt x="2151" y="567"/>
                </a:lnTo>
                <a:lnTo>
                  <a:pt x="2156" y="560"/>
                </a:lnTo>
                <a:lnTo>
                  <a:pt x="2160" y="556"/>
                </a:lnTo>
                <a:lnTo>
                  <a:pt x="2163" y="552"/>
                </a:lnTo>
                <a:lnTo>
                  <a:pt x="2167" y="550"/>
                </a:lnTo>
                <a:lnTo>
                  <a:pt x="2177" y="546"/>
                </a:lnTo>
                <a:lnTo>
                  <a:pt x="2188" y="540"/>
                </a:lnTo>
                <a:lnTo>
                  <a:pt x="2193" y="537"/>
                </a:lnTo>
                <a:lnTo>
                  <a:pt x="2199" y="534"/>
                </a:lnTo>
                <a:lnTo>
                  <a:pt x="2203" y="531"/>
                </a:lnTo>
                <a:lnTo>
                  <a:pt x="2206" y="528"/>
                </a:lnTo>
                <a:lnTo>
                  <a:pt x="2208" y="524"/>
                </a:lnTo>
                <a:lnTo>
                  <a:pt x="2210" y="519"/>
                </a:lnTo>
                <a:lnTo>
                  <a:pt x="2212" y="514"/>
                </a:lnTo>
                <a:lnTo>
                  <a:pt x="2213" y="509"/>
                </a:lnTo>
                <a:lnTo>
                  <a:pt x="2215" y="503"/>
                </a:lnTo>
                <a:lnTo>
                  <a:pt x="2218" y="497"/>
                </a:lnTo>
                <a:lnTo>
                  <a:pt x="2224" y="492"/>
                </a:lnTo>
                <a:lnTo>
                  <a:pt x="2229" y="487"/>
                </a:lnTo>
                <a:lnTo>
                  <a:pt x="2240" y="476"/>
                </a:lnTo>
                <a:lnTo>
                  <a:pt x="2251" y="466"/>
                </a:lnTo>
                <a:lnTo>
                  <a:pt x="2271" y="445"/>
                </a:lnTo>
                <a:lnTo>
                  <a:pt x="2302" y="415"/>
                </a:lnTo>
                <a:lnTo>
                  <a:pt x="2316" y="399"/>
                </a:lnTo>
                <a:lnTo>
                  <a:pt x="2327" y="385"/>
                </a:lnTo>
                <a:lnTo>
                  <a:pt x="2331" y="380"/>
                </a:lnTo>
                <a:lnTo>
                  <a:pt x="2333" y="375"/>
                </a:lnTo>
                <a:lnTo>
                  <a:pt x="2333" y="373"/>
                </a:lnTo>
                <a:lnTo>
                  <a:pt x="2333" y="371"/>
                </a:lnTo>
                <a:lnTo>
                  <a:pt x="2332" y="370"/>
                </a:lnTo>
                <a:lnTo>
                  <a:pt x="2331" y="368"/>
                </a:lnTo>
                <a:lnTo>
                  <a:pt x="2325" y="367"/>
                </a:lnTo>
                <a:lnTo>
                  <a:pt x="2319" y="367"/>
                </a:lnTo>
                <a:lnTo>
                  <a:pt x="2312" y="371"/>
                </a:lnTo>
                <a:lnTo>
                  <a:pt x="2303" y="374"/>
                </a:lnTo>
                <a:lnTo>
                  <a:pt x="2282" y="383"/>
                </a:lnTo>
                <a:lnTo>
                  <a:pt x="2260" y="395"/>
                </a:lnTo>
                <a:lnTo>
                  <a:pt x="2239" y="406"/>
                </a:lnTo>
                <a:lnTo>
                  <a:pt x="2222" y="415"/>
                </a:lnTo>
                <a:lnTo>
                  <a:pt x="2215" y="418"/>
                </a:lnTo>
                <a:lnTo>
                  <a:pt x="2210" y="419"/>
                </a:lnTo>
                <a:lnTo>
                  <a:pt x="2208" y="420"/>
                </a:lnTo>
                <a:lnTo>
                  <a:pt x="2206" y="419"/>
                </a:lnTo>
                <a:lnTo>
                  <a:pt x="2205" y="419"/>
                </a:lnTo>
                <a:lnTo>
                  <a:pt x="2205" y="418"/>
                </a:lnTo>
                <a:lnTo>
                  <a:pt x="2206" y="415"/>
                </a:lnTo>
                <a:lnTo>
                  <a:pt x="2207" y="411"/>
                </a:lnTo>
                <a:lnTo>
                  <a:pt x="2210" y="407"/>
                </a:lnTo>
                <a:lnTo>
                  <a:pt x="2213" y="404"/>
                </a:lnTo>
                <a:lnTo>
                  <a:pt x="2223" y="397"/>
                </a:lnTo>
                <a:lnTo>
                  <a:pt x="2232" y="390"/>
                </a:lnTo>
                <a:lnTo>
                  <a:pt x="2251" y="380"/>
                </a:lnTo>
                <a:lnTo>
                  <a:pt x="2259" y="376"/>
                </a:lnTo>
                <a:lnTo>
                  <a:pt x="2221" y="357"/>
                </a:lnTo>
                <a:lnTo>
                  <a:pt x="2262" y="349"/>
                </a:lnTo>
                <a:lnTo>
                  <a:pt x="2267" y="350"/>
                </a:lnTo>
                <a:lnTo>
                  <a:pt x="2277" y="353"/>
                </a:lnTo>
                <a:lnTo>
                  <a:pt x="2283" y="353"/>
                </a:lnTo>
                <a:lnTo>
                  <a:pt x="2289" y="353"/>
                </a:lnTo>
                <a:lnTo>
                  <a:pt x="2294" y="352"/>
                </a:lnTo>
                <a:lnTo>
                  <a:pt x="2298" y="350"/>
                </a:lnTo>
                <a:lnTo>
                  <a:pt x="2309" y="336"/>
                </a:lnTo>
                <a:lnTo>
                  <a:pt x="2316" y="328"/>
                </a:lnTo>
                <a:lnTo>
                  <a:pt x="2325" y="326"/>
                </a:lnTo>
                <a:lnTo>
                  <a:pt x="2340" y="317"/>
                </a:lnTo>
                <a:lnTo>
                  <a:pt x="2348" y="313"/>
                </a:lnTo>
                <a:lnTo>
                  <a:pt x="2356" y="308"/>
                </a:lnTo>
                <a:lnTo>
                  <a:pt x="2362" y="302"/>
                </a:lnTo>
                <a:lnTo>
                  <a:pt x="2365" y="297"/>
                </a:lnTo>
                <a:lnTo>
                  <a:pt x="2375" y="284"/>
                </a:lnTo>
                <a:lnTo>
                  <a:pt x="2389" y="265"/>
                </a:lnTo>
                <a:lnTo>
                  <a:pt x="2396" y="255"/>
                </a:lnTo>
                <a:lnTo>
                  <a:pt x="2400" y="245"/>
                </a:lnTo>
                <a:lnTo>
                  <a:pt x="2401" y="241"/>
                </a:lnTo>
                <a:lnTo>
                  <a:pt x="2401" y="236"/>
                </a:lnTo>
                <a:lnTo>
                  <a:pt x="2400" y="232"/>
                </a:lnTo>
                <a:lnTo>
                  <a:pt x="2398" y="229"/>
                </a:lnTo>
                <a:lnTo>
                  <a:pt x="2383" y="210"/>
                </a:lnTo>
                <a:lnTo>
                  <a:pt x="2374" y="199"/>
                </a:lnTo>
                <a:lnTo>
                  <a:pt x="2365" y="191"/>
                </a:lnTo>
                <a:lnTo>
                  <a:pt x="2355" y="184"/>
                </a:lnTo>
                <a:lnTo>
                  <a:pt x="2351" y="180"/>
                </a:lnTo>
                <a:lnTo>
                  <a:pt x="2346" y="175"/>
                </a:lnTo>
                <a:lnTo>
                  <a:pt x="2344" y="169"/>
                </a:lnTo>
                <a:lnTo>
                  <a:pt x="2342" y="164"/>
                </a:lnTo>
                <a:lnTo>
                  <a:pt x="2341" y="151"/>
                </a:lnTo>
                <a:lnTo>
                  <a:pt x="2338" y="139"/>
                </a:lnTo>
                <a:lnTo>
                  <a:pt x="2336" y="134"/>
                </a:lnTo>
                <a:lnTo>
                  <a:pt x="2333" y="130"/>
                </a:lnTo>
                <a:lnTo>
                  <a:pt x="2329" y="126"/>
                </a:lnTo>
                <a:lnTo>
                  <a:pt x="2324" y="126"/>
                </a:lnTo>
                <a:lnTo>
                  <a:pt x="2318" y="128"/>
                </a:lnTo>
                <a:lnTo>
                  <a:pt x="2312" y="132"/>
                </a:lnTo>
                <a:lnTo>
                  <a:pt x="2303" y="137"/>
                </a:lnTo>
                <a:lnTo>
                  <a:pt x="2295" y="143"/>
                </a:lnTo>
                <a:lnTo>
                  <a:pt x="2278" y="157"/>
                </a:lnTo>
                <a:lnTo>
                  <a:pt x="2265" y="169"/>
                </a:lnTo>
                <a:lnTo>
                  <a:pt x="2253" y="179"/>
                </a:lnTo>
                <a:lnTo>
                  <a:pt x="2242" y="186"/>
                </a:lnTo>
                <a:lnTo>
                  <a:pt x="2236" y="188"/>
                </a:lnTo>
                <a:lnTo>
                  <a:pt x="2232" y="188"/>
                </a:lnTo>
                <a:lnTo>
                  <a:pt x="2230" y="188"/>
                </a:lnTo>
                <a:lnTo>
                  <a:pt x="2229" y="187"/>
                </a:lnTo>
                <a:lnTo>
                  <a:pt x="2228" y="185"/>
                </a:lnTo>
                <a:lnTo>
                  <a:pt x="2227" y="183"/>
                </a:lnTo>
                <a:lnTo>
                  <a:pt x="2226" y="180"/>
                </a:lnTo>
                <a:lnTo>
                  <a:pt x="2225" y="177"/>
                </a:lnTo>
                <a:lnTo>
                  <a:pt x="2226" y="175"/>
                </a:lnTo>
                <a:lnTo>
                  <a:pt x="2227" y="173"/>
                </a:lnTo>
                <a:lnTo>
                  <a:pt x="2232" y="168"/>
                </a:lnTo>
                <a:lnTo>
                  <a:pt x="2240" y="158"/>
                </a:lnTo>
                <a:lnTo>
                  <a:pt x="2248" y="152"/>
                </a:lnTo>
                <a:lnTo>
                  <a:pt x="2257" y="145"/>
                </a:lnTo>
                <a:lnTo>
                  <a:pt x="2267" y="141"/>
                </a:lnTo>
                <a:lnTo>
                  <a:pt x="2275" y="137"/>
                </a:lnTo>
                <a:lnTo>
                  <a:pt x="2278" y="135"/>
                </a:lnTo>
                <a:lnTo>
                  <a:pt x="2281" y="133"/>
                </a:lnTo>
                <a:lnTo>
                  <a:pt x="2282" y="132"/>
                </a:lnTo>
                <a:lnTo>
                  <a:pt x="2283" y="130"/>
                </a:lnTo>
                <a:lnTo>
                  <a:pt x="2282" y="129"/>
                </a:lnTo>
                <a:lnTo>
                  <a:pt x="2279" y="126"/>
                </a:lnTo>
                <a:lnTo>
                  <a:pt x="2275" y="125"/>
                </a:lnTo>
                <a:lnTo>
                  <a:pt x="2269" y="124"/>
                </a:lnTo>
                <a:lnTo>
                  <a:pt x="2242" y="119"/>
                </a:lnTo>
                <a:lnTo>
                  <a:pt x="2220" y="116"/>
                </a:lnTo>
                <a:lnTo>
                  <a:pt x="2204" y="113"/>
                </a:lnTo>
                <a:lnTo>
                  <a:pt x="2194" y="112"/>
                </a:lnTo>
                <a:lnTo>
                  <a:pt x="2188" y="110"/>
                </a:lnTo>
                <a:lnTo>
                  <a:pt x="2180" y="109"/>
                </a:lnTo>
                <a:lnTo>
                  <a:pt x="2177" y="109"/>
                </a:lnTo>
                <a:lnTo>
                  <a:pt x="2173" y="111"/>
                </a:lnTo>
                <a:lnTo>
                  <a:pt x="2171" y="114"/>
                </a:lnTo>
                <a:lnTo>
                  <a:pt x="2170" y="119"/>
                </a:lnTo>
                <a:lnTo>
                  <a:pt x="2170" y="124"/>
                </a:lnTo>
                <a:lnTo>
                  <a:pt x="2169" y="130"/>
                </a:lnTo>
                <a:lnTo>
                  <a:pt x="2167" y="133"/>
                </a:lnTo>
                <a:lnTo>
                  <a:pt x="2165" y="135"/>
                </a:lnTo>
                <a:lnTo>
                  <a:pt x="2163" y="136"/>
                </a:lnTo>
                <a:lnTo>
                  <a:pt x="2161" y="136"/>
                </a:lnTo>
                <a:lnTo>
                  <a:pt x="2158" y="135"/>
                </a:lnTo>
                <a:lnTo>
                  <a:pt x="2156" y="134"/>
                </a:lnTo>
                <a:lnTo>
                  <a:pt x="2151" y="126"/>
                </a:lnTo>
                <a:lnTo>
                  <a:pt x="2148" y="116"/>
                </a:lnTo>
                <a:lnTo>
                  <a:pt x="2146" y="111"/>
                </a:lnTo>
                <a:lnTo>
                  <a:pt x="2143" y="108"/>
                </a:lnTo>
                <a:lnTo>
                  <a:pt x="2142" y="107"/>
                </a:lnTo>
                <a:lnTo>
                  <a:pt x="2140" y="106"/>
                </a:lnTo>
                <a:lnTo>
                  <a:pt x="2138" y="106"/>
                </a:lnTo>
                <a:lnTo>
                  <a:pt x="2136" y="107"/>
                </a:lnTo>
                <a:lnTo>
                  <a:pt x="2130" y="108"/>
                </a:lnTo>
                <a:lnTo>
                  <a:pt x="2126" y="108"/>
                </a:lnTo>
                <a:lnTo>
                  <a:pt x="2123" y="107"/>
                </a:lnTo>
                <a:lnTo>
                  <a:pt x="2121" y="106"/>
                </a:lnTo>
                <a:lnTo>
                  <a:pt x="2119" y="104"/>
                </a:lnTo>
                <a:lnTo>
                  <a:pt x="2117" y="104"/>
                </a:lnTo>
                <a:lnTo>
                  <a:pt x="2116" y="108"/>
                </a:lnTo>
                <a:lnTo>
                  <a:pt x="2115" y="113"/>
                </a:lnTo>
                <a:lnTo>
                  <a:pt x="2115" y="120"/>
                </a:lnTo>
                <a:lnTo>
                  <a:pt x="2118" y="128"/>
                </a:lnTo>
                <a:lnTo>
                  <a:pt x="2121" y="134"/>
                </a:lnTo>
                <a:lnTo>
                  <a:pt x="2125" y="141"/>
                </a:lnTo>
                <a:lnTo>
                  <a:pt x="2129" y="147"/>
                </a:lnTo>
                <a:lnTo>
                  <a:pt x="2133" y="153"/>
                </a:lnTo>
                <a:lnTo>
                  <a:pt x="2135" y="156"/>
                </a:lnTo>
                <a:lnTo>
                  <a:pt x="2135" y="159"/>
                </a:lnTo>
                <a:lnTo>
                  <a:pt x="2132" y="166"/>
                </a:lnTo>
                <a:lnTo>
                  <a:pt x="2129" y="177"/>
                </a:lnTo>
                <a:lnTo>
                  <a:pt x="2127" y="181"/>
                </a:lnTo>
                <a:lnTo>
                  <a:pt x="2124" y="182"/>
                </a:lnTo>
                <a:lnTo>
                  <a:pt x="2123" y="182"/>
                </a:lnTo>
                <a:lnTo>
                  <a:pt x="2121" y="181"/>
                </a:lnTo>
                <a:lnTo>
                  <a:pt x="2119" y="179"/>
                </a:lnTo>
                <a:lnTo>
                  <a:pt x="2116" y="176"/>
                </a:lnTo>
                <a:lnTo>
                  <a:pt x="2104" y="160"/>
                </a:lnTo>
                <a:lnTo>
                  <a:pt x="2093" y="144"/>
                </a:lnTo>
                <a:lnTo>
                  <a:pt x="2088" y="137"/>
                </a:lnTo>
                <a:lnTo>
                  <a:pt x="2083" y="130"/>
                </a:lnTo>
                <a:lnTo>
                  <a:pt x="2081" y="124"/>
                </a:lnTo>
                <a:lnTo>
                  <a:pt x="2080" y="119"/>
                </a:lnTo>
                <a:lnTo>
                  <a:pt x="2079" y="112"/>
                </a:lnTo>
                <a:lnTo>
                  <a:pt x="2078" y="107"/>
                </a:lnTo>
                <a:lnTo>
                  <a:pt x="2076" y="106"/>
                </a:lnTo>
                <a:lnTo>
                  <a:pt x="2073" y="106"/>
                </a:lnTo>
                <a:lnTo>
                  <a:pt x="2069" y="106"/>
                </a:lnTo>
                <a:lnTo>
                  <a:pt x="2062" y="107"/>
                </a:lnTo>
                <a:lnTo>
                  <a:pt x="2050" y="108"/>
                </a:lnTo>
                <a:lnTo>
                  <a:pt x="2041" y="107"/>
                </a:lnTo>
                <a:lnTo>
                  <a:pt x="2037" y="107"/>
                </a:lnTo>
                <a:lnTo>
                  <a:pt x="2034" y="108"/>
                </a:lnTo>
                <a:lnTo>
                  <a:pt x="2031" y="110"/>
                </a:lnTo>
                <a:lnTo>
                  <a:pt x="2028" y="114"/>
                </a:lnTo>
                <a:lnTo>
                  <a:pt x="2025" y="119"/>
                </a:lnTo>
                <a:lnTo>
                  <a:pt x="2025" y="123"/>
                </a:lnTo>
                <a:lnTo>
                  <a:pt x="2026" y="129"/>
                </a:lnTo>
                <a:lnTo>
                  <a:pt x="2027" y="134"/>
                </a:lnTo>
                <a:lnTo>
                  <a:pt x="2030" y="138"/>
                </a:lnTo>
                <a:lnTo>
                  <a:pt x="2033" y="142"/>
                </a:lnTo>
                <a:lnTo>
                  <a:pt x="2036" y="145"/>
                </a:lnTo>
                <a:lnTo>
                  <a:pt x="2039" y="147"/>
                </a:lnTo>
                <a:lnTo>
                  <a:pt x="2048" y="155"/>
                </a:lnTo>
                <a:lnTo>
                  <a:pt x="2061" y="166"/>
                </a:lnTo>
                <a:lnTo>
                  <a:pt x="2068" y="173"/>
                </a:lnTo>
                <a:lnTo>
                  <a:pt x="2073" y="179"/>
                </a:lnTo>
                <a:lnTo>
                  <a:pt x="2077" y="184"/>
                </a:lnTo>
                <a:lnTo>
                  <a:pt x="2078" y="188"/>
                </a:lnTo>
                <a:lnTo>
                  <a:pt x="2078" y="198"/>
                </a:lnTo>
                <a:lnTo>
                  <a:pt x="2079" y="205"/>
                </a:lnTo>
                <a:lnTo>
                  <a:pt x="2079" y="208"/>
                </a:lnTo>
                <a:lnTo>
                  <a:pt x="2077" y="210"/>
                </a:lnTo>
                <a:lnTo>
                  <a:pt x="2074" y="210"/>
                </a:lnTo>
                <a:lnTo>
                  <a:pt x="2069" y="208"/>
                </a:lnTo>
                <a:lnTo>
                  <a:pt x="2057" y="203"/>
                </a:lnTo>
                <a:lnTo>
                  <a:pt x="2050" y="198"/>
                </a:lnTo>
                <a:lnTo>
                  <a:pt x="2044" y="191"/>
                </a:lnTo>
                <a:lnTo>
                  <a:pt x="2038" y="182"/>
                </a:lnTo>
                <a:lnTo>
                  <a:pt x="2033" y="172"/>
                </a:lnTo>
                <a:lnTo>
                  <a:pt x="2029" y="161"/>
                </a:lnTo>
                <a:lnTo>
                  <a:pt x="2025" y="152"/>
                </a:lnTo>
                <a:lnTo>
                  <a:pt x="2020" y="145"/>
                </a:lnTo>
                <a:lnTo>
                  <a:pt x="2006" y="132"/>
                </a:lnTo>
                <a:lnTo>
                  <a:pt x="1996" y="123"/>
                </a:lnTo>
                <a:lnTo>
                  <a:pt x="1990" y="125"/>
                </a:lnTo>
                <a:lnTo>
                  <a:pt x="1976" y="132"/>
                </a:lnTo>
                <a:lnTo>
                  <a:pt x="1970" y="135"/>
                </a:lnTo>
                <a:lnTo>
                  <a:pt x="1966" y="139"/>
                </a:lnTo>
                <a:lnTo>
                  <a:pt x="1965" y="141"/>
                </a:lnTo>
                <a:lnTo>
                  <a:pt x="1964" y="143"/>
                </a:lnTo>
                <a:lnTo>
                  <a:pt x="1965" y="145"/>
                </a:lnTo>
                <a:lnTo>
                  <a:pt x="1966" y="146"/>
                </a:lnTo>
                <a:lnTo>
                  <a:pt x="1975" y="152"/>
                </a:lnTo>
                <a:lnTo>
                  <a:pt x="1983" y="156"/>
                </a:lnTo>
                <a:lnTo>
                  <a:pt x="1986" y="157"/>
                </a:lnTo>
                <a:lnTo>
                  <a:pt x="1988" y="158"/>
                </a:lnTo>
                <a:lnTo>
                  <a:pt x="1988" y="160"/>
                </a:lnTo>
                <a:lnTo>
                  <a:pt x="1987" y="162"/>
                </a:lnTo>
                <a:lnTo>
                  <a:pt x="1971" y="174"/>
                </a:lnTo>
                <a:lnTo>
                  <a:pt x="1960" y="181"/>
                </a:lnTo>
                <a:lnTo>
                  <a:pt x="1961" y="181"/>
                </a:lnTo>
                <a:lnTo>
                  <a:pt x="1963" y="184"/>
                </a:lnTo>
                <a:lnTo>
                  <a:pt x="1963" y="186"/>
                </a:lnTo>
                <a:lnTo>
                  <a:pt x="1963" y="188"/>
                </a:lnTo>
                <a:lnTo>
                  <a:pt x="1962" y="190"/>
                </a:lnTo>
                <a:lnTo>
                  <a:pt x="1959" y="194"/>
                </a:lnTo>
                <a:lnTo>
                  <a:pt x="1956" y="197"/>
                </a:lnTo>
                <a:lnTo>
                  <a:pt x="1951" y="199"/>
                </a:lnTo>
                <a:lnTo>
                  <a:pt x="1946" y="200"/>
                </a:lnTo>
                <a:lnTo>
                  <a:pt x="1942" y="202"/>
                </a:lnTo>
                <a:lnTo>
                  <a:pt x="1936" y="203"/>
                </a:lnTo>
                <a:lnTo>
                  <a:pt x="1932" y="203"/>
                </a:lnTo>
                <a:lnTo>
                  <a:pt x="1926" y="213"/>
                </a:lnTo>
                <a:lnTo>
                  <a:pt x="1917" y="227"/>
                </a:lnTo>
                <a:lnTo>
                  <a:pt x="1916" y="228"/>
                </a:lnTo>
                <a:lnTo>
                  <a:pt x="1916" y="230"/>
                </a:lnTo>
                <a:lnTo>
                  <a:pt x="1917" y="233"/>
                </a:lnTo>
                <a:lnTo>
                  <a:pt x="1919" y="236"/>
                </a:lnTo>
                <a:lnTo>
                  <a:pt x="1924" y="243"/>
                </a:lnTo>
                <a:lnTo>
                  <a:pt x="1929" y="248"/>
                </a:lnTo>
                <a:lnTo>
                  <a:pt x="1935" y="253"/>
                </a:lnTo>
                <a:lnTo>
                  <a:pt x="1942" y="258"/>
                </a:lnTo>
                <a:lnTo>
                  <a:pt x="1948" y="266"/>
                </a:lnTo>
                <a:lnTo>
                  <a:pt x="1952" y="273"/>
                </a:lnTo>
                <a:lnTo>
                  <a:pt x="1954" y="277"/>
                </a:lnTo>
                <a:lnTo>
                  <a:pt x="1954" y="283"/>
                </a:lnTo>
                <a:lnTo>
                  <a:pt x="1954" y="288"/>
                </a:lnTo>
                <a:lnTo>
                  <a:pt x="1953" y="292"/>
                </a:lnTo>
                <a:lnTo>
                  <a:pt x="1951" y="296"/>
                </a:lnTo>
                <a:lnTo>
                  <a:pt x="1949" y="297"/>
                </a:lnTo>
                <a:lnTo>
                  <a:pt x="1947" y="297"/>
                </a:lnTo>
                <a:lnTo>
                  <a:pt x="1946" y="296"/>
                </a:lnTo>
                <a:lnTo>
                  <a:pt x="1944" y="294"/>
                </a:lnTo>
                <a:lnTo>
                  <a:pt x="1942" y="291"/>
                </a:lnTo>
                <a:lnTo>
                  <a:pt x="1933" y="280"/>
                </a:lnTo>
                <a:lnTo>
                  <a:pt x="1926" y="273"/>
                </a:lnTo>
                <a:lnTo>
                  <a:pt x="1920" y="268"/>
                </a:lnTo>
                <a:lnTo>
                  <a:pt x="1913" y="263"/>
                </a:lnTo>
                <a:lnTo>
                  <a:pt x="1904" y="257"/>
                </a:lnTo>
                <a:lnTo>
                  <a:pt x="1895" y="254"/>
                </a:lnTo>
                <a:lnTo>
                  <a:pt x="1891" y="252"/>
                </a:lnTo>
                <a:lnTo>
                  <a:pt x="1886" y="249"/>
                </a:lnTo>
                <a:lnTo>
                  <a:pt x="1882" y="245"/>
                </a:lnTo>
                <a:lnTo>
                  <a:pt x="1880" y="240"/>
                </a:lnTo>
                <a:lnTo>
                  <a:pt x="1876" y="228"/>
                </a:lnTo>
                <a:lnTo>
                  <a:pt x="1870" y="217"/>
                </a:lnTo>
                <a:lnTo>
                  <a:pt x="1867" y="211"/>
                </a:lnTo>
                <a:lnTo>
                  <a:pt x="1864" y="207"/>
                </a:lnTo>
                <a:lnTo>
                  <a:pt x="1862" y="205"/>
                </a:lnTo>
                <a:lnTo>
                  <a:pt x="1859" y="204"/>
                </a:lnTo>
                <a:lnTo>
                  <a:pt x="1853" y="205"/>
                </a:lnTo>
                <a:lnTo>
                  <a:pt x="1844" y="209"/>
                </a:lnTo>
                <a:lnTo>
                  <a:pt x="1841" y="212"/>
                </a:lnTo>
                <a:lnTo>
                  <a:pt x="1839" y="217"/>
                </a:lnTo>
                <a:lnTo>
                  <a:pt x="1839" y="220"/>
                </a:lnTo>
                <a:lnTo>
                  <a:pt x="1841" y="225"/>
                </a:lnTo>
                <a:lnTo>
                  <a:pt x="1845" y="232"/>
                </a:lnTo>
                <a:lnTo>
                  <a:pt x="1848" y="238"/>
                </a:lnTo>
                <a:lnTo>
                  <a:pt x="1848" y="240"/>
                </a:lnTo>
                <a:lnTo>
                  <a:pt x="1847" y="242"/>
                </a:lnTo>
                <a:lnTo>
                  <a:pt x="1844" y="244"/>
                </a:lnTo>
                <a:lnTo>
                  <a:pt x="1841" y="247"/>
                </a:lnTo>
                <a:lnTo>
                  <a:pt x="1833" y="252"/>
                </a:lnTo>
                <a:lnTo>
                  <a:pt x="1827" y="257"/>
                </a:lnTo>
                <a:lnTo>
                  <a:pt x="1825" y="260"/>
                </a:lnTo>
                <a:lnTo>
                  <a:pt x="1823" y="262"/>
                </a:lnTo>
                <a:lnTo>
                  <a:pt x="1823" y="265"/>
                </a:lnTo>
                <a:lnTo>
                  <a:pt x="1825" y="268"/>
                </a:lnTo>
                <a:lnTo>
                  <a:pt x="1832" y="275"/>
                </a:lnTo>
                <a:lnTo>
                  <a:pt x="1842" y="283"/>
                </a:lnTo>
                <a:lnTo>
                  <a:pt x="1847" y="286"/>
                </a:lnTo>
                <a:lnTo>
                  <a:pt x="1850" y="289"/>
                </a:lnTo>
                <a:lnTo>
                  <a:pt x="1851" y="290"/>
                </a:lnTo>
                <a:lnTo>
                  <a:pt x="1851" y="291"/>
                </a:lnTo>
                <a:lnTo>
                  <a:pt x="1851" y="292"/>
                </a:lnTo>
                <a:lnTo>
                  <a:pt x="1850" y="292"/>
                </a:lnTo>
                <a:lnTo>
                  <a:pt x="1841" y="294"/>
                </a:lnTo>
                <a:lnTo>
                  <a:pt x="1832" y="295"/>
                </a:lnTo>
                <a:lnTo>
                  <a:pt x="1827" y="295"/>
                </a:lnTo>
                <a:lnTo>
                  <a:pt x="1822" y="294"/>
                </a:lnTo>
                <a:lnTo>
                  <a:pt x="1819" y="292"/>
                </a:lnTo>
                <a:lnTo>
                  <a:pt x="1817" y="290"/>
                </a:lnTo>
                <a:lnTo>
                  <a:pt x="1816" y="284"/>
                </a:lnTo>
                <a:lnTo>
                  <a:pt x="1815" y="276"/>
                </a:lnTo>
                <a:lnTo>
                  <a:pt x="1815" y="274"/>
                </a:lnTo>
                <a:lnTo>
                  <a:pt x="1813" y="272"/>
                </a:lnTo>
                <a:lnTo>
                  <a:pt x="1811" y="272"/>
                </a:lnTo>
                <a:lnTo>
                  <a:pt x="1806" y="274"/>
                </a:lnTo>
                <a:lnTo>
                  <a:pt x="1793" y="290"/>
                </a:lnTo>
                <a:lnTo>
                  <a:pt x="1785" y="298"/>
                </a:lnTo>
                <a:lnTo>
                  <a:pt x="1782" y="298"/>
                </a:lnTo>
                <a:lnTo>
                  <a:pt x="1778" y="299"/>
                </a:lnTo>
                <a:lnTo>
                  <a:pt x="1775" y="300"/>
                </a:lnTo>
                <a:lnTo>
                  <a:pt x="1772" y="302"/>
                </a:lnTo>
                <a:lnTo>
                  <a:pt x="1767" y="307"/>
                </a:lnTo>
                <a:lnTo>
                  <a:pt x="1764" y="309"/>
                </a:lnTo>
                <a:lnTo>
                  <a:pt x="1757" y="311"/>
                </a:lnTo>
                <a:lnTo>
                  <a:pt x="1747" y="315"/>
                </a:lnTo>
                <a:lnTo>
                  <a:pt x="1741" y="317"/>
                </a:lnTo>
                <a:lnTo>
                  <a:pt x="1735" y="321"/>
                </a:lnTo>
                <a:lnTo>
                  <a:pt x="1731" y="326"/>
                </a:lnTo>
                <a:lnTo>
                  <a:pt x="1729" y="330"/>
                </a:lnTo>
                <a:lnTo>
                  <a:pt x="1727" y="335"/>
                </a:lnTo>
                <a:lnTo>
                  <a:pt x="1727" y="339"/>
                </a:lnTo>
                <a:lnTo>
                  <a:pt x="1727" y="343"/>
                </a:lnTo>
                <a:lnTo>
                  <a:pt x="1727" y="346"/>
                </a:lnTo>
                <a:lnTo>
                  <a:pt x="1728" y="350"/>
                </a:lnTo>
                <a:lnTo>
                  <a:pt x="1729" y="353"/>
                </a:lnTo>
                <a:lnTo>
                  <a:pt x="1731" y="356"/>
                </a:lnTo>
                <a:lnTo>
                  <a:pt x="1733" y="358"/>
                </a:lnTo>
                <a:lnTo>
                  <a:pt x="1737" y="359"/>
                </a:lnTo>
                <a:lnTo>
                  <a:pt x="1740" y="358"/>
                </a:lnTo>
                <a:lnTo>
                  <a:pt x="1744" y="357"/>
                </a:lnTo>
                <a:lnTo>
                  <a:pt x="1748" y="355"/>
                </a:lnTo>
                <a:lnTo>
                  <a:pt x="1752" y="353"/>
                </a:lnTo>
                <a:lnTo>
                  <a:pt x="1756" y="352"/>
                </a:lnTo>
                <a:lnTo>
                  <a:pt x="1760" y="352"/>
                </a:lnTo>
                <a:lnTo>
                  <a:pt x="1762" y="354"/>
                </a:lnTo>
                <a:lnTo>
                  <a:pt x="1767" y="360"/>
                </a:lnTo>
                <a:lnTo>
                  <a:pt x="1772" y="365"/>
                </a:lnTo>
                <a:lnTo>
                  <a:pt x="1774" y="366"/>
                </a:lnTo>
                <a:lnTo>
                  <a:pt x="1778" y="364"/>
                </a:lnTo>
                <a:lnTo>
                  <a:pt x="1784" y="362"/>
                </a:lnTo>
                <a:lnTo>
                  <a:pt x="1789" y="359"/>
                </a:lnTo>
                <a:lnTo>
                  <a:pt x="1794" y="356"/>
                </a:lnTo>
                <a:lnTo>
                  <a:pt x="1798" y="355"/>
                </a:lnTo>
                <a:lnTo>
                  <a:pt x="1800" y="354"/>
                </a:lnTo>
                <a:lnTo>
                  <a:pt x="1801" y="355"/>
                </a:lnTo>
                <a:lnTo>
                  <a:pt x="1801" y="356"/>
                </a:lnTo>
                <a:lnTo>
                  <a:pt x="1801" y="357"/>
                </a:lnTo>
                <a:lnTo>
                  <a:pt x="1799" y="366"/>
                </a:lnTo>
                <a:lnTo>
                  <a:pt x="1795" y="375"/>
                </a:lnTo>
                <a:lnTo>
                  <a:pt x="1792" y="382"/>
                </a:lnTo>
                <a:lnTo>
                  <a:pt x="1788" y="387"/>
                </a:lnTo>
                <a:lnTo>
                  <a:pt x="1785" y="389"/>
                </a:lnTo>
                <a:lnTo>
                  <a:pt x="1781" y="392"/>
                </a:lnTo>
                <a:lnTo>
                  <a:pt x="1778" y="393"/>
                </a:lnTo>
                <a:lnTo>
                  <a:pt x="1776" y="396"/>
                </a:lnTo>
                <a:lnTo>
                  <a:pt x="1776" y="400"/>
                </a:lnTo>
                <a:lnTo>
                  <a:pt x="1775" y="405"/>
                </a:lnTo>
                <a:lnTo>
                  <a:pt x="1774" y="417"/>
                </a:lnTo>
                <a:lnTo>
                  <a:pt x="1772" y="426"/>
                </a:lnTo>
                <a:lnTo>
                  <a:pt x="1771" y="429"/>
                </a:lnTo>
                <a:lnTo>
                  <a:pt x="1772" y="432"/>
                </a:lnTo>
                <a:lnTo>
                  <a:pt x="1773" y="436"/>
                </a:lnTo>
                <a:lnTo>
                  <a:pt x="1777" y="438"/>
                </a:lnTo>
                <a:lnTo>
                  <a:pt x="1782" y="439"/>
                </a:lnTo>
                <a:lnTo>
                  <a:pt x="1787" y="439"/>
                </a:lnTo>
                <a:lnTo>
                  <a:pt x="1793" y="437"/>
                </a:lnTo>
                <a:lnTo>
                  <a:pt x="1798" y="435"/>
                </a:lnTo>
                <a:lnTo>
                  <a:pt x="1805" y="432"/>
                </a:lnTo>
                <a:lnTo>
                  <a:pt x="1810" y="431"/>
                </a:lnTo>
                <a:lnTo>
                  <a:pt x="1815" y="431"/>
                </a:lnTo>
                <a:lnTo>
                  <a:pt x="1818" y="433"/>
                </a:lnTo>
                <a:lnTo>
                  <a:pt x="1820" y="435"/>
                </a:lnTo>
                <a:lnTo>
                  <a:pt x="1822" y="436"/>
                </a:lnTo>
                <a:lnTo>
                  <a:pt x="1826" y="436"/>
                </a:lnTo>
                <a:lnTo>
                  <a:pt x="1828" y="435"/>
                </a:lnTo>
                <a:lnTo>
                  <a:pt x="1835" y="432"/>
                </a:lnTo>
                <a:lnTo>
                  <a:pt x="1842" y="429"/>
                </a:lnTo>
                <a:lnTo>
                  <a:pt x="1855" y="423"/>
                </a:lnTo>
                <a:lnTo>
                  <a:pt x="1862" y="419"/>
                </a:lnTo>
                <a:lnTo>
                  <a:pt x="1869" y="414"/>
                </a:lnTo>
                <a:lnTo>
                  <a:pt x="1878" y="403"/>
                </a:lnTo>
                <a:lnTo>
                  <a:pt x="1882" y="399"/>
                </a:lnTo>
                <a:lnTo>
                  <a:pt x="1885" y="396"/>
                </a:lnTo>
                <a:lnTo>
                  <a:pt x="1886" y="396"/>
                </a:lnTo>
                <a:lnTo>
                  <a:pt x="1887" y="396"/>
                </a:lnTo>
                <a:lnTo>
                  <a:pt x="1887" y="397"/>
                </a:lnTo>
                <a:lnTo>
                  <a:pt x="1887" y="400"/>
                </a:lnTo>
                <a:lnTo>
                  <a:pt x="1884" y="405"/>
                </a:lnTo>
                <a:lnTo>
                  <a:pt x="1881" y="410"/>
                </a:lnTo>
                <a:lnTo>
                  <a:pt x="1877" y="415"/>
                </a:lnTo>
                <a:lnTo>
                  <a:pt x="1873" y="419"/>
                </a:lnTo>
                <a:lnTo>
                  <a:pt x="1865" y="425"/>
                </a:lnTo>
                <a:lnTo>
                  <a:pt x="1859" y="431"/>
                </a:lnTo>
                <a:lnTo>
                  <a:pt x="1859" y="432"/>
                </a:lnTo>
                <a:lnTo>
                  <a:pt x="1860" y="433"/>
                </a:lnTo>
                <a:lnTo>
                  <a:pt x="1862" y="433"/>
                </a:lnTo>
                <a:lnTo>
                  <a:pt x="1864" y="432"/>
                </a:lnTo>
                <a:lnTo>
                  <a:pt x="1872" y="430"/>
                </a:lnTo>
                <a:lnTo>
                  <a:pt x="1881" y="427"/>
                </a:lnTo>
                <a:lnTo>
                  <a:pt x="1891" y="424"/>
                </a:lnTo>
                <a:lnTo>
                  <a:pt x="1899" y="422"/>
                </a:lnTo>
                <a:lnTo>
                  <a:pt x="1903" y="421"/>
                </a:lnTo>
                <a:lnTo>
                  <a:pt x="1906" y="421"/>
                </a:lnTo>
                <a:lnTo>
                  <a:pt x="1908" y="421"/>
                </a:lnTo>
                <a:lnTo>
                  <a:pt x="1910" y="422"/>
                </a:lnTo>
                <a:lnTo>
                  <a:pt x="1911" y="424"/>
                </a:lnTo>
                <a:lnTo>
                  <a:pt x="1913" y="427"/>
                </a:lnTo>
                <a:lnTo>
                  <a:pt x="1913" y="429"/>
                </a:lnTo>
                <a:lnTo>
                  <a:pt x="1911" y="431"/>
                </a:lnTo>
                <a:lnTo>
                  <a:pt x="1910" y="433"/>
                </a:lnTo>
                <a:lnTo>
                  <a:pt x="1907" y="436"/>
                </a:lnTo>
                <a:lnTo>
                  <a:pt x="1903" y="438"/>
                </a:lnTo>
                <a:lnTo>
                  <a:pt x="1898" y="439"/>
                </a:lnTo>
                <a:lnTo>
                  <a:pt x="1893" y="440"/>
                </a:lnTo>
                <a:lnTo>
                  <a:pt x="1886" y="439"/>
                </a:lnTo>
                <a:lnTo>
                  <a:pt x="1880" y="438"/>
                </a:lnTo>
                <a:lnTo>
                  <a:pt x="1875" y="437"/>
                </a:lnTo>
                <a:lnTo>
                  <a:pt x="1871" y="437"/>
                </a:lnTo>
                <a:lnTo>
                  <a:pt x="1866" y="438"/>
                </a:lnTo>
                <a:lnTo>
                  <a:pt x="1864" y="439"/>
                </a:lnTo>
                <a:lnTo>
                  <a:pt x="1863" y="441"/>
                </a:lnTo>
                <a:lnTo>
                  <a:pt x="1862" y="443"/>
                </a:lnTo>
                <a:lnTo>
                  <a:pt x="1861" y="446"/>
                </a:lnTo>
                <a:lnTo>
                  <a:pt x="1860" y="452"/>
                </a:lnTo>
                <a:lnTo>
                  <a:pt x="1858" y="459"/>
                </a:lnTo>
                <a:lnTo>
                  <a:pt x="1856" y="463"/>
                </a:lnTo>
                <a:lnTo>
                  <a:pt x="1854" y="467"/>
                </a:lnTo>
                <a:lnTo>
                  <a:pt x="1851" y="469"/>
                </a:lnTo>
                <a:lnTo>
                  <a:pt x="1849" y="471"/>
                </a:lnTo>
                <a:lnTo>
                  <a:pt x="1845" y="470"/>
                </a:lnTo>
                <a:lnTo>
                  <a:pt x="1843" y="468"/>
                </a:lnTo>
                <a:lnTo>
                  <a:pt x="1839" y="465"/>
                </a:lnTo>
                <a:lnTo>
                  <a:pt x="1833" y="462"/>
                </a:lnTo>
                <a:lnTo>
                  <a:pt x="1825" y="458"/>
                </a:lnTo>
                <a:lnTo>
                  <a:pt x="1816" y="455"/>
                </a:lnTo>
                <a:lnTo>
                  <a:pt x="1808" y="453"/>
                </a:lnTo>
                <a:lnTo>
                  <a:pt x="1801" y="453"/>
                </a:lnTo>
                <a:lnTo>
                  <a:pt x="1798" y="453"/>
                </a:lnTo>
                <a:lnTo>
                  <a:pt x="1796" y="454"/>
                </a:lnTo>
                <a:lnTo>
                  <a:pt x="1795" y="455"/>
                </a:lnTo>
                <a:lnTo>
                  <a:pt x="1794" y="458"/>
                </a:lnTo>
                <a:lnTo>
                  <a:pt x="1794" y="463"/>
                </a:lnTo>
                <a:lnTo>
                  <a:pt x="1795" y="468"/>
                </a:lnTo>
                <a:lnTo>
                  <a:pt x="1796" y="473"/>
                </a:lnTo>
                <a:lnTo>
                  <a:pt x="1799" y="480"/>
                </a:lnTo>
                <a:lnTo>
                  <a:pt x="1803" y="484"/>
                </a:lnTo>
                <a:lnTo>
                  <a:pt x="1808" y="488"/>
                </a:lnTo>
                <a:lnTo>
                  <a:pt x="1810" y="489"/>
                </a:lnTo>
                <a:lnTo>
                  <a:pt x="1814" y="490"/>
                </a:lnTo>
                <a:lnTo>
                  <a:pt x="1817" y="490"/>
                </a:lnTo>
                <a:lnTo>
                  <a:pt x="1821" y="490"/>
                </a:lnTo>
                <a:lnTo>
                  <a:pt x="1829" y="489"/>
                </a:lnTo>
                <a:lnTo>
                  <a:pt x="1835" y="486"/>
                </a:lnTo>
                <a:lnTo>
                  <a:pt x="1839" y="483"/>
                </a:lnTo>
                <a:lnTo>
                  <a:pt x="1842" y="481"/>
                </a:lnTo>
                <a:lnTo>
                  <a:pt x="1844" y="479"/>
                </a:lnTo>
                <a:lnTo>
                  <a:pt x="1847" y="477"/>
                </a:lnTo>
                <a:lnTo>
                  <a:pt x="1849" y="477"/>
                </a:lnTo>
                <a:lnTo>
                  <a:pt x="1852" y="481"/>
                </a:lnTo>
                <a:lnTo>
                  <a:pt x="1857" y="489"/>
                </a:lnTo>
                <a:lnTo>
                  <a:pt x="1862" y="495"/>
                </a:lnTo>
                <a:lnTo>
                  <a:pt x="1865" y="498"/>
                </a:lnTo>
                <a:lnTo>
                  <a:pt x="1870" y="501"/>
                </a:lnTo>
                <a:lnTo>
                  <a:pt x="1875" y="502"/>
                </a:lnTo>
                <a:lnTo>
                  <a:pt x="1881" y="503"/>
                </a:lnTo>
                <a:lnTo>
                  <a:pt x="1885" y="503"/>
                </a:lnTo>
                <a:lnTo>
                  <a:pt x="1889" y="502"/>
                </a:lnTo>
                <a:lnTo>
                  <a:pt x="1895" y="499"/>
                </a:lnTo>
                <a:lnTo>
                  <a:pt x="1899" y="497"/>
                </a:lnTo>
                <a:lnTo>
                  <a:pt x="1908" y="490"/>
                </a:lnTo>
                <a:lnTo>
                  <a:pt x="1918" y="483"/>
                </a:lnTo>
                <a:lnTo>
                  <a:pt x="1925" y="475"/>
                </a:lnTo>
                <a:lnTo>
                  <a:pt x="1931" y="471"/>
                </a:lnTo>
                <a:lnTo>
                  <a:pt x="1935" y="470"/>
                </a:lnTo>
                <a:lnTo>
                  <a:pt x="1936" y="470"/>
                </a:lnTo>
                <a:lnTo>
                  <a:pt x="1937" y="471"/>
                </a:lnTo>
                <a:lnTo>
                  <a:pt x="1937" y="474"/>
                </a:lnTo>
                <a:lnTo>
                  <a:pt x="1936" y="487"/>
                </a:lnTo>
                <a:lnTo>
                  <a:pt x="1937" y="494"/>
                </a:lnTo>
                <a:lnTo>
                  <a:pt x="1938" y="496"/>
                </a:lnTo>
                <a:lnTo>
                  <a:pt x="1940" y="497"/>
                </a:lnTo>
                <a:lnTo>
                  <a:pt x="1943" y="496"/>
                </a:lnTo>
                <a:lnTo>
                  <a:pt x="1947" y="494"/>
                </a:lnTo>
                <a:lnTo>
                  <a:pt x="1960" y="486"/>
                </a:lnTo>
                <a:lnTo>
                  <a:pt x="1975" y="472"/>
                </a:lnTo>
                <a:lnTo>
                  <a:pt x="1984" y="465"/>
                </a:lnTo>
                <a:lnTo>
                  <a:pt x="1990" y="455"/>
                </a:lnTo>
                <a:lnTo>
                  <a:pt x="1993" y="451"/>
                </a:lnTo>
                <a:lnTo>
                  <a:pt x="1995" y="446"/>
                </a:lnTo>
                <a:lnTo>
                  <a:pt x="1997" y="442"/>
                </a:lnTo>
                <a:lnTo>
                  <a:pt x="1998" y="437"/>
                </a:lnTo>
                <a:lnTo>
                  <a:pt x="2001" y="425"/>
                </a:lnTo>
                <a:lnTo>
                  <a:pt x="2004" y="414"/>
                </a:lnTo>
                <a:lnTo>
                  <a:pt x="2008" y="402"/>
                </a:lnTo>
                <a:lnTo>
                  <a:pt x="2013" y="390"/>
                </a:lnTo>
                <a:lnTo>
                  <a:pt x="2017" y="381"/>
                </a:lnTo>
                <a:lnTo>
                  <a:pt x="2023" y="376"/>
                </a:lnTo>
                <a:lnTo>
                  <a:pt x="2025" y="374"/>
                </a:lnTo>
                <a:lnTo>
                  <a:pt x="2027" y="373"/>
                </a:lnTo>
                <a:lnTo>
                  <a:pt x="2029" y="374"/>
                </a:lnTo>
                <a:lnTo>
                  <a:pt x="2030" y="376"/>
                </a:lnTo>
                <a:lnTo>
                  <a:pt x="2033" y="381"/>
                </a:lnTo>
                <a:lnTo>
                  <a:pt x="2035" y="385"/>
                </a:lnTo>
                <a:lnTo>
                  <a:pt x="2037" y="389"/>
                </a:lnTo>
                <a:lnTo>
                  <a:pt x="2037" y="394"/>
                </a:lnTo>
                <a:lnTo>
                  <a:pt x="2037" y="399"/>
                </a:lnTo>
                <a:lnTo>
                  <a:pt x="2035" y="403"/>
                </a:lnTo>
                <a:lnTo>
                  <a:pt x="2032" y="408"/>
                </a:lnTo>
                <a:lnTo>
                  <a:pt x="2028" y="415"/>
                </a:lnTo>
                <a:lnTo>
                  <a:pt x="2016" y="428"/>
                </a:lnTo>
                <a:lnTo>
                  <a:pt x="2007" y="440"/>
                </a:lnTo>
                <a:lnTo>
                  <a:pt x="2004" y="444"/>
                </a:lnTo>
                <a:lnTo>
                  <a:pt x="2003" y="448"/>
                </a:lnTo>
                <a:lnTo>
                  <a:pt x="2004" y="449"/>
                </a:lnTo>
                <a:lnTo>
                  <a:pt x="2005" y="450"/>
                </a:lnTo>
                <a:lnTo>
                  <a:pt x="2007" y="451"/>
                </a:lnTo>
                <a:lnTo>
                  <a:pt x="2009" y="451"/>
                </a:lnTo>
                <a:lnTo>
                  <a:pt x="2026" y="450"/>
                </a:lnTo>
                <a:lnTo>
                  <a:pt x="2047" y="449"/>
                </a:lnTo>
                <a:lnTo>
                  <a:pt x="2055" y="448"/>
                </a:lnTo>
                <a:lnTo>
                  <a:pt x="2060" y="449"/>
                </a:lnTo>
                <a:lnTo>
                  <a:pt x="2062" y="450"/>
                </a:lnTo>
                <a:lnTo>
                  <a:pt x="2062" y="451"/>
                </a:lnTo>
                <a:lnTo>
                  <a:pt x="2062" y="453"/>
                </a:lnTo>
                <a:lnTo>
                  <a:pt x="2060" y="455"/>
                </a:lnTo>
                <a:lnTo>
                  <a:pt x="2057" y="459"/>
                </a:lnTo>
                <a:lnTo>
                  <a:pt x="2053" y="460"/>
                </a:lnTo>
                <a:lnTo>
                  <a:pt x="2049" y="462"/>
                </a:lnTo>
                <a:lnTo>
                  <a:pt x="2045" y="463"/>
                </a:lnTo>
                <a:lnTo>
                  <a:pt x="2034" y="463"/>
                </a:lnTo>
                <a:lnTo>
                  <a:pt x="2024" y="464"/>
                </a:lnTo>
                <a:lnTo>
                  <a:pt x="2014" y="464"/>
                </a:lnTo>
                <a:lnTo>
                  <a:pt x="2005" y="466"/>
                </a:lnTo>
                <a:lnTo>
                  <a:pt x="2002" y="467"/>
                </a:lnTo>
                <a:lnTo>
                  <a:pt x="1997" y="468"/>
                </a:lnTo>
                <a:lnTo>
                  <a:pt x="1995" y="470"/>
                </a:lnTo>
                <a:lnTo>
                  <a:pt x="1993" y="473"/>
                </a:lnTo>
                <a:lnTo>
                  <a:pt x="1992" y="476"/>
                </a:lnTo>
                <a:lnTo>
                  <a:pt x="1992" y="480"/>
                </a:lnTo>
                <a:lnTo>
                  <a:pt x="1992" y="483"/>
                </a:lnTo>
                <a:lnTo>
                  <a:pt x="1993" y="485"/>
                </a:lnTo>
                <a:lnTo>
                  <a:pt x="1997" y="490"/>
                </a:lnTo>
                <a:lnTo>
                  <a:pt x="2001" y="495"/>
                </a:lnTo>
                <a:lnTo>
                  <a:pt x="2005" y="498"/>
                </a:lnTo>
                <a:lnTo>
                  <a:pt x="2006" y="502"/>
                </a:lnTo>
                <a:lnTo>
                  <a:pt x="2006" y="504"/>
                </a:lnTo>
                <a:lnTo>
                  <a:pt x="2005" y="505"/>
                </a:lnTo>
                <a:lnTo>
                  <a:pt x="2003" y="505"/>
                </a:lnTo>
                <a:lnTo>
                  <a:pt x="2000" y="506"/>
                </a:lnTo>
                <a:lnTo>
                  <a:pt x="1985" y="507"/>
                </a:lnTo>
                <a:lnTo>
                  <a:pt x="1972" y="508"/>
                </a:lnTo>
                <a:lnTo>
                  <a:pt x="1967" y="509"/>
                </a:lnTo>
                <a:lnTo>
                  <a:pt x="1962" y="510"/>
                </a:lnTo>
                <a:lnTo>
                  <a:pt x="1959" y="512"/>
                </a:lnTo>
                <a:lnTo>
                  <a:pt x="1956" y="514"/>
                </a:lnTo>
                <a:lnTo>
                  <a:pt x="1953" y="516"/>
                </a:lnTo>
                <a:lnTo>
                  <a:pt x="1947" y="518"/>
                </a:lnTo>
                <a:lnTo>
                  <a:pt x="1941" y="519"/>
                </a:lnTo>
                <a:lnTo>
                  <a:pt x="1935" y="520"/>
                </a:lnTo>
                <a:lnTo>
                  <a:pt x="1928" y="521"/>
                </a:lnTo>
                <a:lnTo>
                  <a:pt x="1923" y="524"/>
                </a:lnTo>
                <a:lnTo>
                  <a:pt x="1922" y="525"/>
                </a:lnTo>
                <a:lnTo>
                  <a:pt x="1921" y="527"/>
                </a:lnTo>
                <a:lnTo>
                  <a:pt x="1921" y="529"/>
                </a:lnTo>
                <a:lnTo>
                  <a:pt x="1922" y="532"/>
                </a:lnTo>
                <a:lnTo>
                  <a:pt x="1929" y="546"/>
                </a:lnTo>
                <a:lnTo>
                  <a:pt x="1938" y="559"/>
                </a:lnTo>
                <a:lnTo>
                  <a:pt x="1946" y="571"/>
                </a:lnTo>
                <a:lnTo>
                  <a:pt x="1951" y="578"/>
                </a:lnTo>
                <a:lnTo>
                  <a:pt x="1957" y="587"/>
                </a:lnTo>
                <a:lnTo>
                  <a:pt x="1963" y="602"/>
                </a:lnTo>
                <a:lnTo>
                  <a:pt x="1966" y="604"/>
                </a:lnTo>
                <a:lnTo>
                  <a:pt x="1971" y="605"/>
                </a:lnTo>
                <a:lnTo>
                  <a:pt x="1976" y="606"/>
                </a:lnTo>
                <a:lnTo>
                  <a:pt x="1983" y="606"/>
                </a:lnTo>
                <a:lnTo>
                  <a:pt x="1987" y="606"/>
                </a:lnTo>
                <a:lnTo>
                  <a:pt x="1990" y="608"/>
                </a:lnTo>
                <a:lnTo>
                  <a:pt x="1991" y="609"/>
                </a:lnTo>
                <a:lnTo>
                  <a:pt x="1990" y="611"/>
                </a:lnTo>
                <a:lnTo>
                  <a:pt x="1990" y="613"/>
                </a:lnTo>
                <a:lnTo>
                  <a:pt x="1988" y="616"/>
                </a:lnTo>
                <a:lnTo>
                  <a:pt x="1981" y="626"/>
                </a:lnTo>
                <a:lnTo>
                  <a:pt x="1979" y="633"/>
                </a:lnTo>
                <a:lnTo>
                  <a:pt x="1976" y="635"/>
                </a:lnTo>
                <a:lnTo>
                  <a:pt x="1975" y="635"/>
                </a:lnTo>
                <a:lnTo>
                  <a:pt x="1972" y="635"/>
                </a:lnTo>
                <a:lnTo>
                  <a:pt x="1968" y="633"/>
                </a:lnTo>
                <a:lnTo>
                  <a:pt x="1958" y="628"/>
                </a:lnTo>
                <a:lnTo>
                  <a:pt x="1946" y="624"/>
                </a:lnTo>
                <a:lnTo>
                  <a:pt x="1941" y="621"/>
                </a:lnTo>
                <a:lnTo>
                  <a:pt x="1936" y="618"/>
                </a:lnTo>
                <a:lnTo>
                  <a:pt x="1932" y="614"/>
                </a:lnTo>
                <a:lnTo>
                  <a:pt x="1930" y="608"/>
                </a:lnTo>
                <a:lnTo>
                  <a:pt x="1924" y="591"/>
                </a:lnTo>
                <a:lnTo>
                  <a:pt x="1915" y="567"/>
                </a:lnTo>
                <a:lnTo>
                  <a:pt x="1908" y="554"/>
                </a:lnTo>
                <a:lnTo>
                  <a:pt x="1901" y="545"/>
                </a:lnTo>
                <a:lnTo>
                  <a:pt x="1898" y="540"/>
                </a:lnTo>
                <a:lnTo>
                  <a:pt x="1894" y="537"/>
                </a:lnTo>
                <a:lnTo>
                  <a:pt x="1891" y="535"/>
                </a:lnTo>
                <a:lnTo>
                  <a:pt x="1886" y="534"/>
                </a:lnTo>
                <a:lnTo>
                  <a:pt x="1879" y="532"/>
                </a:lnTo>
                <a:lnTo>
                  <a:pt x="1874" y="530"/>
                </a:lnTo>
                <a:lnTo>
                  <a:pt x="1871" y="528"/>
                </a:lnTo>
                <a:lnTo>
                  <a:pt x="1867" y="526"/>
                </a:lnTo>
                <a:lnTo>
                  <a:pt x="1865" y="525"/>
                </a:lnTo>
                <a:lnTo>
                  <a:pt x="1863" y="526"/>
                </a:lnTo>
                <a:lnTo>
                  <a:pt x="1862" y="529"/>
                </a:lnTo>
                <a:lnTo>
                  <a:pt x="1861" y="534"/>
                </a:lnTo>
                <a:lnTo>
                  <a:pt x="1860" y="540"/>
                </a:lnTo>
                <a:lnTo>
                  <a:pt x="1858" y="545"/>
                </a:lnTo>
                <a:lnTo>
                  <a:pt x="1856" y="548"/>
                </a:lnTo>
                <a:lnTo>
                  <a:pt x="1854" y="550"/>
                </a:lnTo>
                <a:lnTo>
                  <a:pt x="1852" y="553"/>
                </a:lnTo>
                <a:lnTo>
                  <a:pt x="1852" y="556"/>
                </a:lnTo>
                <a:lnTo>
                  <a:pt x="1852" y="560"/>
                </a:lnTo>
                <a:lnTo>
                  <a:pt x="1854" y="567"/>
                </a:lnTo>
                <a:lnTo>
                  <a:pt x="1858" y="583"/>
                </a:lnTo>
                <a:lnTo>
                  <a:pt x="1861" y="600"/>
                </a:lnTo>
                <a:lnTo>
                  <a:pt x="1863" y="607"/>
                </a:lnTo>
                <a:lnTo>
                  <a:pt x="1866" y="615"/>
                </a:lnTo>
                <a:lnTo>
                  <a:pt x="1870" y="621"/>
                </a:lnTo>
                <a:lnTo>
                  <a:pt x="1874" y="627"/>
                </a:lnTo>
                <a:lnTo>
                  <a:pt x="1877" y="629"/>
                </a:lnTo>
                <a:lnTo>
                  <a:pt x="1879" y="630"/>
                </a:lnTo>
                <a:lnTo>
                  <a:pt x="1881" y="630"/>
                </a:lnTo>
                <a:lnTo>
                  <a:pt x="1883" y="630"/>
                </a:lnTo>
                <a:lnTo>
                  <a:pt x="1887" y="629"/>
                </a:lnTo>
                <a:lnTo>
                  <a:pt x="1892" y="627"/>
                </a:lnTo>
                <a:lnTo>
                  <a:pt x="1894" y="626"/>
                </a:lnTo>
                <a:lnTo>
                  <a:pt x="1897" y="626"/>
                </a:lnTo>
                <a:lnTo>
                  <a:pt x="1899" y="628"/>
                </a:lnTo>
                <a:lnTo>
                  <a:pt x="1901" y="634"/>
                </a:lnTo>
                <a:lnTo>
                  <a:pt x="1902" y="647"/>
                </a:lnTo>
                <a:lnTo>
                  <a:pt x="1902" y="657"/>
                </a:lnTo>
                <a:lnTo>
                  <a:pt x="1903" y="661"/>
                </a:lnTo>
                <a:lnTo>
                  <a:pt x="1906" y="665"/>
                </a:lnTo>
                <a:lnTo>
                  <a:pt x="1910" y="671"/>
                </a:lnTo>
                <a:lnTo>
                  <a:pt x="1917" y="678"/>
                </a:lnTo>
                <a:lnTo>
                  <a:pt x="1924" y="684"/>
                </a:lnTo>
                <a:lnTo>
                  <a:pt x="1931" y="688"/>
                </a:lnTo>
                <a:lnTo>
                  <a:pt x="1939" y="689"/>
                </a:lnTo>
                <a:lnTo>
                  <a:pt x="1944" y="690"/>
                </a:lnTo>
                <a:lnTo>
                  <a:pt x="1949" y="690"/>
                </a:lnTo>
                <a:lnTo>
                  <a:pt x="1953" y="691"/>
                </a:lnTo>
                <a:lnTo>
                  <a:pt x="1956" y="692"/>
                </a:lnTo>
                <a:lnTo>
                  <a:pt x="1957" y="693"/>
                </a:lnTo>
                <a:lnTo>
                  <a:pt x="1958" y="695"/>
                </a:lnTo>
                <a:lnTo>
                  <a:pt x="1959" y="697"/>
                </a:lnTo>
                <a:lnTo>
                  <a:pt x="1959" y="703"/>
                </a:lnTo>
                <a:lnTo>
                  <a:pt x="1959" y="708"/>
                </a:lnTo>
                <a:lnTo>
                  <a:pt x="1957" y="712"/>
                </a:lnTo>
                <a:lnTo>
                  <a:pt x="1954" y="716"/>
                </a:lnTo>
                <a:lnTo>
                  <a:pt x="1951" y="719"/>
                </a:lnTo>
                <a:lnTo>
                  <a:pt x="1948" y="722"/>
                </a:lnTo>
                <a:lnTo>
                  <a:pt x="1944" y="724"/>
                </a:lnTo>
                <a:lnTo>
                  <a:pt x="1939" y="725"/>
                </a:lnTo>
                <a:lnTo>
                  <a:pt x="1929" y="728"/>
                </a:lnTo>
                <a:lnTo>
                  <a:pt x="1920" y="731"/>
                </a:lnTo>
                <a:lnTo>
                  <a:pt x="1916" y="732"/>
                </a:lnTo>
                <a:lnTo>
                  <a:pt x="1910" y="733"/>
                </a:lnTo>
                <a:lnTo>
                  <a:pt x="1907" y="732"/>
                </a:lnTo>
                <a:lnTo>
                  <a:pt x="1903" y="729"/>
                </a:lnTo>
                <a:lnTo>
                  <a:pt x="1900" y="726"/>
                </a:lnTo>
                <a:lnTo>
                  <a:pt x="1896" y="722"/>
                </a:lnTo>
                <a:lnTo>
                  <a:pt x="1891" y="718"/>
                </a:lnTo>
                <a:lnTo>
                  <a:pt x="1886" y="716"/>
                </a:lnTo>
                <a:lnTo>
                  <a:pt x="1881" y="715"/>
                </a:lnTo>
                <a:lnTo>
                  <a:pt x="1876" y="715"/>
                </a:lnTo>
                <a:lnTo>
                  <a:pt x="1871" y="716"/>
                </a:lnTo>
                <a:lnTo>
                  <a:pt x="1865" y="719"/>
                </a:lnTo>
                <a:lnTo>
                  <a:pt x="1852" y="731"/>
                </a:lnTo>
                <a:lnTo>
                  <a:pt x="1836" y="746"/>
                </a:lnTo>
                <a:lnTo>
                  <a:pt x="1829" y="753"/>
                </a:lnTo>
                <a:lnTo>
                  <a:pt x="1823" y="759"/>
                </a:lnTo>
                <a:lnTo>
                  <a:pt x="1822" y="762"/>
                </a:lnTo>
                <a:lnTo>
                  <a:pt x="1821" y="765"/>
                </a:lnTo>
                <a:lnTo>
                  <a:pt x="1822" y="768"/>
                </a:lnTo>
                <a:lnTo>
                  <a:pt x="1823" y="769"/>
                </a:lnTo>
                <a:lnTo>
                  <a:pt x="1828" y="772"/>
                </a:lnTo>
                <a:lnTo>
                  <a:pt x="1833" y="774"/>
                </a:lnTo>
                <a:lnTo>
                  <a:pt x="1839" y="775"/>
                </a:lnTo>
                <a:lnTo>
                  <a:pt x="1845" y="775"/>
                </a:lnTo>
                <a:lnTo>
                  <a:pt x="1857" y="774"/>
                </a:lnTo>
                <a:lnTo>
                  <a:pt x="1863" y="772"/>
                </a:lnTo>
                <a:lnTo>
                  <a:pt x="1870" y="768"/>
                </a:lnTo>
                <a:lnTo>
                  <a:pt x="1878" y="762"/>
                </a:lnTo>
                <a:lnTo>
                  <a:pt x="1882" y="760"/>
                </a:lnTo>
                <a:lnTo>
                  <a:pt x="1885" y="760"/>
                </a:lnTo>
                <a:lnTo>
                  <a:pt x="1886" y="761"/>
                </a:lnTo>
                <a:lnTo>
                  <a:pt x="1886" y="762"/>
                </a:lnTo>
                <a:lnTo>
                  <a:pt x="1886" y="766"/>
                </a:lnTo>
                <a:lnTo>
                  <a:pt x="1886" y="769"/>
                </a:lnTo>
                <a:lnTo>
                  <a:pt x="1881" y="780"/>
                </a:lnTo>
                <a:lnTo>
                  <a:pt x="1876" y="792"/>
                </a:lnTo>
                <a:lnTo>
                  <a:pt x="1874" y="796"/>
                </a:lnTo>
                <a:lnTo>
                  <a:pt x="1872" y="801"/>
                </a:lnTo>
                <a:lnTo>
                  <a:pt x="1871" y="805"/>
                </a:lnTo>
                <a:lnTo>
                  <a:pt x="1872" y="811"/>
                </a:lnTo>
                <a:lnTo>
                  <a:pt x="1876" y="822"/>
                </a:lnTo>
                <a:lnTo>
                  <a:pt x="1880" y="834"/>
                </a:lnTo>
                <a:lnTo>
                  <a:pt x="1882" y="839"/>
                </a:lnTo>
                <a:lnTo>
                  <a:pt x="1885" y="842"/>
                </a:lnTo>
                <a:lnTo>
                  <a:pt x="1888" y="844"/>
                </a:lnTo>
                <a:lnTo>
                  <a:pt x="1892" y="844"/>
                </a:lnTo>
                <a:lnTo>
                  <a:pt x="1902" y="838"/>
                </a:lnTo>
                <a:lnTo>
                  <a:pt x="1917" y="830"/>
                </a:lnTo>
                <a:lnTo>
                  <a:pt x="1923" y="825"/>
                </a:lnTo>
                <a:lnTo>
                  <a:pt x="1928" y="822"/>
                </a:lnTo>
                <a:lnTo>
                  <a:pt x="1931" y="822"/>
                </a:lnTo>
                <a:lnTo>
                  <a:pt x="1932" y="822"/>
                </a:lnTo>
                <a:lnTo>
                  <a:pt x="1933" y="822"/>
                </a:lnTo>
                <a:lnTo>
                  <a:pt x="1935" y="824"/>
                </a:lnTo>
                <a:lnTo>
                  <a:pt x="1935" y="828"/>
                </a:lnTo>
                <a:lnTo>
                  <a:pt x="1932" y="834"/>
                </a:lnTo>
                <a:lnTo>
                  <a:pt x="1929" y="838"/>
                </a:lnTo>
                <a:lnTo>
                  <a:pt x="1926" y="843"/>
                </a:lnTo>
                <a:lnTo>
                  <a:pt x="1919" y="853"/>
                </a:lnTo>
                <a:lnTo>
                  <a:pt x="1913" y="860"/>
                </a:lnTo>
                <a:lnTo>
                  <a:pt x="1908" y="866"/>
                </a:lnTo>
                <a:lnTo>
                  <a:pt x="1902" y="875"/>
                </a:lnTo>
                <a:lnTo>
                  <a:pt x="1898" y="878"/>
                </a:lnTo>
                <a:lnTo>
                  <a:pt x="1894" y="879"/>
                </a:lnTo>
                <a:lnTo>
                  <a:pt x="1891" y="879"/>
                </a:lnTo>
                <a:lnTo>
                  <a:pt x="1887" y="878"/>
                </a:lnTo>
                <a:lnTo>
                  <a:pt x="1884" y="877"/>
                </a:lnTo>
                <a:lnTo>
                  <a:pt x="1881" y="875"/>
                </a:lnTo>
                <a:lnTo>
                  <a:pt x="1865" y="865"/>
                </a:lnTo>
                <a:lnTo>
                  <a:pt x="1852" y="855"/>
                </a:lnTo>
                <a:lnTo>
                  <a:pt x="1847" y="849"/>
                </a:lnTo>
                <a:lnTo>
                  <a:pt x="1842" y="845"/>
                </a:lnTo>
                <a:lnTo>
                  <a:pt x="1839" y="841"/>
                </a:lnTo>
                <a:lnTo>
                  <a:pt x="1839" y="837"/>
                </a:lnTo>
                <a:lnTo>
                  <a:pt x="1841" y="828"/>
                </a:lnTo>
                <a:lnTo>
                  <a:pt x="1844" y="819"/>
                </a:lnTo>
                <a:lnTo>
                  <a:pt x="1844" y="816"/>
                </a:lnTo>
                <a:lnTo>
                  <a:pt x="1842" y="813"/>
                </a:lnTo>
                <a:lnTo>
                  <a:pt x="1839" y="812"/>
                </a:lnTo>
                <a:lnTo>
                  <a:pt x="1833" y="813"/>
                </a:lnTo>
                <a:lnTo>
                  <a:pt x="1827" y="814"/>
                </a:lnTo>
                <a:lnTo>
                  <a:pt x="1819" y="813"/>
                </a:lnTo>
                <a:lnTo>
                  <a:pt x="1814" y="810"/>
                </a:lnTo>
                <a:lnTo>
                  <a:pt x="1810" y="807"/>
                </a:lnTo>
                <a:lnTo>
                  <a:pt x="1808" y="807"/>
                </a:lnTo>
                <a:lnTo>
                  <a:pt x="1807" y="807"/>
                </a:lnTo>
                <a:lnTo>
                  <a:pt x="1806" y="807"/>
                </a:lnTo>
                <a:lnTo>
                  <a:pt x="1805" y="809"/>
                </a:lnTo>
                <a:lnTo>
                  <a:pt x="1804" y="814"/>
                </a:lnTo>
                <a:lnTo>
                  <a:pt x="1805" y="822"/>
                </a:lnTo>
                <a:lnTo>
                  <a:pt x="1807" y="833"/>
                </a:lnTo>
                <a:lnTo>
                  <a:pt x="1810" y="841"/>
                </a:lnTo>
                <a:lnTo>
                  <a:pt x="1812" y="847"/>
                </a:lnTo>
                <a:lnTo>
                  <a:pt x="1815" y="852"/>
                </a:lnTo>
                <a:lnTo>
                  <a:pt x="1821" y="858"/>
                </a:lnTo>
                <a:lnTo>
                  <a:pt x="1829" y="863"/>
                </a:lnTo>
                <a:lnTo>
                  <a:pt x="1835" y="870"/>
                </a:lnTo>
                <a:lnTo>
                  <a:pt x="1841" y="875"/>
                </a:lnTo>
                <a:lnTo>
                  <a:pt x="1842" y="877"/>
                </a:lnTo>
                <a:lnTo>
                  <a:pt x="1843" y="879"/>
                </a:lnTo>
                <a:lnTo>
                  <a:pt x="1842" y="881"/>
                </a:lnTo>
                <a:lnTo>
                  <a:pt x="1840" y="884"/>
                </a:lnTo>
                <a:lnTo>
                  <a:pt x="1828" y="889"/>
                </a:lnTo>
                <a:lnTo>
                  <a:pt x="1813" y="897"/>
                </a:lnTo>
                <a:lnTo>
                  <a:pt x="1805" y="904"/>
                </a:lnTo>
                <a:lnTo>
                  <a:pt x="1794" y="911"/>
                </a:lnTo>
                <a:lnTo>
                  <a:pt x="1784" y="918"/>
                </a:lnTo>
                <a:lnTo>
                  <a:pt x="1777" y="925"/>
                </a:lnTo>
                <a:lnTo>
                  <a:pt x="1772" y="931"/>
                </a:lnTo>
                <a:lnTo>
                  <a:pt x="1766" y="938"/>
                </a:lnTo>
                <a:lnTo>
                  <a:pt x="1762" y="941"/>
                </a:lnTo>
                <a:lnTo>
                  <a:pt x="1759" y="943"/>
                </a:lnTo>
                <a:lnTo>
                  <a:pt x="1755" y="943"/>
                </a:lnTo>
                <a:lnTo>
                  <a:pt x="1753" y="943"/>
                </a:lnTo>
                <a:lnTo>
                  <a:pt x="1749" y="941"/>
                </a:lnTo>
                <a:lnTo>
                  <a:pt x="1743" y="941"/>
                </a:lnTo>
                <a:lnTo>
                  <a:pt x="1735" y="941"/>
                </a:lnTo>
                <a:lnTo>
                  <a:pt x="1727" y="941"/>
                </a:lnTo>
                <a:lnTo>
                  <a:pt x="1712" y="942"/>
                </a:lnTo>
                <a:lnTo>
                  <a:pt x="1705" y="942"/>
                </a:lnTo>
                <a:lnTo>
                  <a:pt x="1706" y="942"/>
                </a:lnTo>
                <a:lnTo>
                  <a:pt x="1706" y="941"/>
                </a:lnTo>
                <a:lnTo>
                  <a:pt x="1704" y="935"/>
                </a:lnTo>
                <a:lnTo>
                  <a:pt x="1698" y="926"/>
                </a:lnTo>
                <a:lnTo>
                  <a:pt x="1689" y="914"/>
                </a:lnTo>
                <a:lnTo>
                  <a:pt x="1682" y="906"/>
                </a:lnTo>
                <a:lnTo>
                  <a:pt x="1678" y="904"/>
                </a:lnTo>
                <a:lnTo>
                  <a:pt x="1675" y="902"/>
                </a:lnTo>
                <a:lnTo>
                  <a:pt x="1672" y="900"/>
                </a:lnTo>
                <a:lnTo>
                  <a:pt x="1668" y="900"/>
                </a:lnTo>
                <a:lnTo>
                  <a:pt x="1655" y="898"/>
                </a:lnTo>
                <a:lnTo>
                  <a:pt x="1646" y="897"/>
                </a:lnTo>
                <a:lnTo>
                  <a:pt x="1642" y="897"/>
                </a:lnTo>
                <a:lnTo>
                  <a:pt x="1636" y="897"/>
                </a:lnTo>
                <a:lnTo>
                  <a:pt x="1632" y="900"/>
                </a:lnTo>
                <a:lnTo>
                  <a:pt x="1629" y="902"/>
                </a:lnTo>
                <a:close/>
                <a:moveTo>
                  <a:pt x="1753" y="857"/>
                </a:moveTo>
                <a:lnTo>
                  <a:pt x="1750" y="871"/>
                </a:lnTo>
                <a:lnTo>
                  <a:pt x="1746" y="883"/>
                </a:lnTo>
                <a:lnTo>
                  <a:pt x="1745" y="886"/>
                </a:lnTo>
                <a:lnTo>
                  <a:pt x="1747" y="891"/>
                </a:lnTo>
                <a:lnTo>
                  <a:pt x="1748" y="893"/>
                </a:lnTo>
                <a:lnTo>
                  <a:pt x="1750" y="896"/>
                </a:lnTo>
                <a:lnTo>
                  <a:pt x="1753" y="896"/>
                </a:lnTo>
                <a:lnTo>
                  <a:pt x="1755" y="896"/>
                </a:lnTo>
                <a:lnTo>
                  <a:pt x="1761" y="892"/>
                </a:lnTo>
                <a:lnTo>
                  <a:pt x="1766" y="889"/>
                </a:lnTo>
                <a:lnTo>
                  <a:pt x="1771" y="885"/>
                </a:lnTo>
                <a:lnTo>
                  <a:pt x="1774" y="881"/>
                </a:lnTo>
                <a:lnTo>
                  <a:pt x="1775" y="878"/>
                </a:lnTo>
                <a:lnTo>
                  <a:pt x="1775" y="875"/>
                </a:lnTo>
                <a:lnTo>
                  <a:pt x="1775" y="870"/>
                </a:lnTo>
                <a:lnTo>
                  <a:pt x="1774" y="866"/>
                </a:lnTo>
                <a:lnTo>
                  <a:pt x="1771" y="859"/>
                </a:lnTo>
                <a:lnTo>
                  <a:pt x="1769" y="855"/>
                </a:lnTo>
                <a:lnTo>
                  <a:pt x="1766" y="850"/>
                </a:lnTo>
                <a:lnTo>
                  <a:pt x="1762" y="846"/>
                </a:lnTo>
                <a:lnTo>
                  <a:pt x="1760" y="844"/>
                </a:lnTo>
                <a:lnTo>
                  <a:pt x="1757" y="843"/>
                </a:lnTo>
                <a:lnTo>
                  <a:pt x="1755" y="843"/>
                </a:lnTo>
                <a:lnTo>
                  <a:pt x="1755" y="844"/>
                </a:lnTo>
                <a:lnTo>
                  <a:pt x="1754" y="853"/>
                </a:lnTo>
                <a:lnTo>
                  <a:pt x="1753" y="857"/>
                </a:lnTo>
                <a:close/>
                <a:moveTo>
                  <a:pt x="1643" y="847"/>
                </a:moveTo>
                <a:lnTo>
                  <a:pt x="1645" y="849"/>
                </a:lnTo>
                <a:lnTo>
                  <a:pt x="1650" y="853"/>
                </a:lnTo>
                <a:lnTo>
                  <a:pt x="1655" y="856"/>
                </a:lnTo>
                <a:lnTo>
                  <a:pt x="1661" y="859"/>
                </a:lnTo>
                <a:lnTo>
                  <a:pt x="1667" y="861"/>
                </a:lnTo>
                <a:lnTo>
                  <a:pt x="1674" y="863"/>
                </a:lnTo>
                <a:lnTo>
                  <a:pt x="1679" y="863"/>
                </a:lnTo>
                <a:lnTo>
                  <a:pt x="1682" y="863"/>
                </a:lnTo>
                <a:lnTo>
                  <a:pt x="1687" y="861"/>
                </a:lnTo>
                <a:lnTo>
                  <a:pt x="1695" y="862"/>
                </a:lnTo>
                <a:lnTo>
                  <a:pt x="1698" y="862"/>
                </a:lnTo>
                <a:lnTo>
                  <a:pt x="1700" y="860"/>
                </a:lnTo>
                <a:lnTo>
                  <a:pt x="1701" y="857"/>
                </a:lnTo>
                <a:lnTo>
                  <a:pt x="1700" y="850"/>
                </a:lnTo>
                <a:lnTo>
                  <a:pt x="1698" y="843"/>
                </a:lnTo>
                <a:lnTo>
                  <a:pt x="1695" y="839"/>
                </a:lnTo>
                <a:lnTo>
                  <a:pt x="1689" y="835"/>
                </a:lnTo>
                <a:lnTo>
                  <a:pt x="1685" y="833"/>
                </a:lnTo>
                <a:lnTo>
                  <a:pt x="1677" y="831"/>
                </a:lnTo>
                <a:lnTo>
                  <a:pt x="1672" y="831"/>
                </a:lnTo>
                <a:lnTo>
                  <a:pt x="1668" y="831"/>
                </a:lnTo>
                <a:lnTo>
                  <a:pt x="1663" y="830"/>
                </a:lnTo>
                <a:lnTo>
                  <a:pt x="1661" y="830"/>
                </a:lnTo>
                <a:lnTo>
                  <a:pt x="1658" y="830"/>
                </a:lnTo>
                <a:lnTo>
                  <a:pt x="1656" y="831"/>
                </a:lnTo>
                <a:lnTo>
                  <a:pt x="1654" y="833"/>
                </a:lnTo>
                <a:lnTo>
                  <a:pt x="1646" y="842"/>
                </a:lnTo>
                <a:lnTo>
                  <a:pt x="1643" y="847"/>
                </a:lnTo>
                <a:close/>
                <a:moveTo>
                  <a:pt x="1425" y="821"/>
                </a:moveTo>
                <a:lnTo>
                  <a:pt x="1424" y="824"/>
                </a:lnTo>
                <a:lnTo>
                  <a:pt x="1424" y="832"/>
                </a:lnTo>
                <a:lnTo>
                  <a:pt x="1424" y="841"/>
                </a:lnTo>
                <a:lnTo>
                  <a:pt x="1426" y="853"/>
                </a:lnTo>
                <a:lnTo>
                  <a:pt x="1428" y="864"/>
                </a:lnTo>
                <a:lnTo>
                  <a:pt x="1432" y="876"/>
                </a:lnTo>
                <a:lnTo>
                  <a:pt x="1435" y="886"/>
                </a:lnTo>
                <a:lnTo>
                  <a:pt x="1439" y="894"/>
                </a:lnTo>
                <a:lnTo>
                  <a:pt x="1444" y="901"/>
                </a:lnTo>
                <a:lnTo>
                  <a:pt x="1449" y="904"/>
                </a:lnTo>
                <a:lnTo>
                  <a:pt x="1456" y="907"/>
                </a:lnTo>
                <a:lnTo>
                  <a:pt x="1462" y="907"/>
                </a:lnTo>
                <a:lnTo>
                  <a:pt x="1464" y="907"/>
                </a:lnTo>
                <a:lnTo>
                  <a:pt x="1466" y="906"/>
                </a:lnTo>
                <a:lnTo>
                  <a:pt x="1468" y="905"/>
                </a:lnTo>
                <a:lnTo>
                  <a:pt x="1470" y="903"/>
                </a:lnTo>
                <a:lnTo>
                  <a:pt x="1470" y="902"/>
                </a:lnTo>
                <a:lnTo>
                  <a:pt x="1471" y="899"/>
                </a:lnTo>
                <a:lnTo>
                  <a:pt x="1470" y="897"/>
                </a:lnTo>
                <a:lnTo>
                  <a:pt x="1469" y="893"/>
                </a:lnTo>
                <a:lnTo>
                  <a:pt x="1462" y="879"/>
                </a:lnTo>
                <a:lnTo>
                  <a:pt x="1453" y="864"/>
                </a:lnTo>
                <a:lnTo>
                  <a:pt x="1445" y="852"/>
                </a:lnTo>
                <a:lnTo>
                  <a:pt x="1440" y="844"/>
                </a:lnTo>
                <a:lnTo>
                  <a:pt x="1432" y="831"/>
                </a:lnTo>
                <a:lnTo>
                  <a:pt x="1425" y="821"/>
                </a:lnTo>
                <a:close/>
                <a:moveTo>
                  <a:pt x="1560" y="571"/>
                </a:moveTo>
                <a:lnTo>
                  <a:pt x="1560" y="578"/>
                </a:lnTo>
                <a:lnTo>
                  <a:pt x="1562" y="587"/>
                </a:lnTo>
                <a:lnTo>
                  <a:pt x="1565" y="598"/>
                </a:lnTo>
                <a:lnTo>
                  <a:pt x="1569" y="607"/>
                </a:lnTo>
                <a:lnTo>
                  <a:pt x="1574" y="616"/>
                </a:lnTo>
                <a:lnTo>
                  <a:pt x="1578" y="621"/>
                </a:lnTo>
                <a:lnTo>
                  <a:pt x="1580" y="622"/>
                </a:lnTo>
                <a:lnTo>
                  <a:pt x="1583" y="622"/>
                </a:lnTo>
                <a:lnTo>
                  <a:pt x="1584" y="621"/>
                </a:lnTo>
                <a:lnTo>
                  <a:pt x="1585" y="619"/>
                </a:lnTo>
                <a:lnTo>
                  <a:pt x="1589" y="604"/>
                </a:lnTo>
                <a:lnTo>
                  <a:pt x="1594" y="591"/>
                </a:lnTo>
                <a:lnTo>
                  <a:pt x="1596" y="584"/>
                </a:lnTo>
                <a:lnTo>
                  <a:pt x="1597" y="579"/>
                </a:lnTo>
                <a:lnTo>
                  <a:pt x="1596" y="573"/>
                </a:lnTo>
                <a:lnTo>
                  <a:pt x="1594" y="569"/>
                </a:lnTo>
                <a:lnTo>
                  <a:pt x="1589" y="560"/>
                </a:lnTo>
                <a:lnTo>
                  <a:pt x="1585" y="556"/>
                </a:lnTo>
                <a:lnTo>
                  <a:pt x="1584" y="555"/>
                </a:lnTo>
                <a:lnTo>
                  <a:pt x="1581" y="555"/>
                </a:lnTo>
                <a:lnTo>
                  <a:pt x="1579" y="555"/>
                </a:lnTo>
                <a:lnTo>
                  <a:pt x="1577" y="556"/>
                </a:lnTo>
                <a:lnTo>
                  <a:pt x="1567" y="564"/>
                </a:lnTo>
                <a:lnTo>
                  <a:pt x="1560" y="571"/>
                </a:lnTo>
                <a:close/>
                <a:moveTo>
                  <a:pt x="1600" y="722"/>
                </a:moveTo>
                <a:lnTo>
                  <a:pt x="1600" y="729"/>
                </a:lnTo>
                <a:lnTo>
                  <a:pt x="1601" y="736"/>
                </a:lnTo>
                <a:lnTo>
                  <a:pt x="1605" y="744"/>
                </a:lnTo>
                <a:lnTo>
                  <a:pt x="1608" y="751"/>
                </a:lnTo>
                <a:lnTo>
                  <a:pt x="1612" y="757"/>
                </a:lnTo>
                <a:lnTo>
                  <a:pt x="1614" y="763"/>
                </a:lnTo>
                <a:lnTo>
                  <a:pt x="1616" y="769"/>
                </a:lnTo>
                <a:lnTo>
                  <a:pt x="1617" y="773"/>
                </a:lnTo>
                <a:lnTo>
                  <a:pt x="1616" y="777"/>
                </a:lnTo>
                <a:lnTo>
                  <a:pt x="1614" y="780"/>
                </a:lnTo>
                <a:lnTo>
                  <a:pt x="1611" y="782"/>
                </a:lnTo>
                <a:lnTo>
                  <a:pt x="1608" y="785"/>
                </a:lnTo>
                <a:lnTo>
                  <a:pt x="1607" y="787"/>
                </a:lnTo>
                <a:lnTo>
                  <a:pt x="1606" y="789"/>
                </a:lnTo>
                <a:lnTo>
                  <a:pt x="1606" y="791"/>
                </a:lnTo>
                <a:lnTo>
                  <a:pt x="1606" y="793"/>
                </a:lnTo>
                <a:lnTo>
                  <a:pt x="1609" y="799"/>
                </a:lnTo>
                <a:lnTo>
                  <a:pt x="1615" y="807"/>
                </a:lnTo>
                <a:lnTo>
                  <a:pt x="1623" y="815"/>
                </a:lnTo>
                <a:lnTo>
                  <a:pt x="1630" y="819"/>
                </a:lnTo>
                <a:lnTo>
                  <a:pt x="1636" y="820"/>
                </a:lnTo>
                <a:lnTo>
                  <a:pt x="1640" y="820"/>
                </a:lnTo>
                <a:lnTo>
                  <a:pt x="1646" y="816"/>
                </a:lnTo>
                <a:lnTo>
                  <a:pt x="1652" y="812"/>
                </a:lnTo>
                <a:lnTo>
                  <a:pt x="1659" y="807"/>
                </a:lnTo>
                <a:lnTo>
                  <a:pt x="1671" y="801"/>
                </a:lnTo>
                <a:lnTo>
                  <a:pt x="1675" y="798"/>
                </a:lnTo>
                <a:lnTo>
                  <a:pt x="1678" y="793"/>
                </a:lnTo>
                <a:lnTo>
                  <a:pt x="1679" y="790"/>
                </a:lnTo>
                <a:lnTo>
                  <a:pt x="1679" y="787"/>
                </a:lnTo>
                <a:lnTo>
                  <a:pt x="1678" y="783"/>
                </a:lnTo>
                <a:lnTo>
                  <a:pt x="1676" y="779"/>
                </a:lnTo>
                <a:lnTo>
                  <a:pt x="1669" y="765"/>
                </a:lnTo>
                <a:lnTo>
                  <a:pt x="1665" y="751"/>
                </a:lnTo>
                <a:lnTo>
                  <a:pt x="1662" y="745"/>
                </a:lnTo>
                <a:lnTo>
                  <a:pt x="1657" y="738"/>
                </a:lnTo>
                <a:lnTo>
                  <a:pt x="1651" y="733"/>
                </a:lnTo>
                <a:lnTo>
                  <a:pt x="1640" y="728"/>
                </a:lnTo>
                <a:lnTo>
                  <a:pt x="1629" y="724"/>
                </a:lnTo>
                <a:lnTo>
                  <a:pt x="1620" y="722"/>
                </a:lnTo>
                <a:lnTo>
                  <a:pt x="1613" y="721"/>
                </a:lnTo>
                <a:lnTo>
                  <a:pt x="1608" y="721"/>
                </a:lnTo>
                <a:lnTo>
                  <a:pt x="1601" y="722"/>
                </a:lnTo>
                <a:lnTo>
                  <a:pt x="1600" y="722"/>
                </a:lnTo>
                <a:close/>
                <a:moveTo>
                  <a:pt x="1423" y="662"/>
                </a:moveTo>
                <a:lnTo>
                  <a:pt x="1422" y="666"/>
                </a:lnTo>
                <a:lnTo>
                  <a:pt x="1422" y="670"/>
                </a:lnTo>
                <a:lnTo>
                  <a:pt x="1423" y="673"/>
                </a:lnTo>
                <a:lnTo>
                  <a:pt x="1425" y="678"/>
                </a:lnTo>
                <a:lnTo>
                  <a:pt x="1430" y="685"/>
                </a:lnTo>
                <a:lnTo>
                  <a:pt x="1436" y="691"/>
                </a:lnTo>
                <a:lnTo>
                  <a:pt x="1449" y="702"/>
                </a:lnTo>
                <a:lnTo>
                  <a:pt x="1459" y="711"/>
                </a:lnTo>
                <a:lnTo>
                  <a:pt x="1462" y="714"/>
                </a:lnTo>
                <a:lnTo>
                  <a:pt x="1466" y="717"/>
                </a:lnTo>
                <a:lnTo>
                  <a:pt x="1470" y="719"/>
                </a:lnTo>
                <a:lnTo>
                  <a:pt x="1476" y="722"/>
                </a:lnTo>
                <a:lnTo>
                  <a:pt x="1479" y="724"/>
                </a:lnTo>
                <a:lnTo>
                  <a:pt x="1481" y="727"/>
                </a:lnTo>
                <a:lnTo>
                  <a:pt x="1480" y="728"/>
                </a:lnTo>
                <a:lnTo>
                  <a:pt x="1480" y="730"/>
                </a:lnTo>
                <a:lnTo>
                  <a:pt x="1478" y="733"/>
                </a:lnTo>
                <a:lnTo>
                  <a:pt x="1475" y="735"/>
                </a:lnTo>
                <a:lnTo>
                  <a:pt x="1468" y="740"/>
                </a:lnTo>
                <a:lnTo>
                  <a:pt x="1462" y="743"/>
                </a:lnTo>
                <a:lnTo>
                  <a:pt x="1457" y="745"/>
                </a:lnTo>
                <a:lnTo>
                  <a:pt x="1453" y="746"/>
                </a:lnTo>
                <a:lnTo>
                  <a:pt x="1448" y="746"/>
                </a:lnTo>
                <a:lnTo>
                  <a:pt x="1446" y="748"/>
                </a:lnTo>
                <a:lnTo>
                  <a:pt x="1446" y="750"/>
                </a:lnTo>
                <a:lnTo>
                  <a:pt x="1447" y="754"/>
                </a:lnTo>
                <a:lnTo>
                  <a:pt x="1449" y="758"/>
                </a:lnTo>
                <a:lnTo>
                  <a:pt x="1454" y="762"/>
                </a:lnTo>
                <a:lnTo>
                  <a:pt x="1458" y="767"/>
                </a:lnTo>
                <a:lnTo>
                  <a:pt x="1462" y="770"/>
                </a:lnTo>
                <a:lnTo>
                  <a:pt x="1471" y="774"/>
                </a:lnTo>
                <a:lnTo>
                  <a:pt x="1480" y="776"/>
                </a:lnTo>
                <a:lnTo>
                  <a:pt x="1484" y="776"/>
                </a:lnTo>
                <a:lnTo>
                  <a:pt x="1487" y="774"/>
                </a:lnTo>
                <a:lnTo>
                  <a:pt x="1491" y="772"/>
                </a:lnTo>
                <a:lnTo>
                  <a:pt x="1496" y="770"/>
                </a:lnTo>
                <a:lnTo>
                  <a:pt x="1500" y="767"/>
                </a:lnTo>
                <a:lnTo>
                  <a:pt x="1504" y="766"/>
                </a:lnTo>
                <a:lnTo>
                  <a:pt x="1507" y="766"/>
                </a:lnTo>
                <a:lnTo>
                  <a:pt x="1510" y="767"/>
                </a:lnTo>
                <a:lnTo>
                  <a:pt x="1516" y="772"/>
                </a:lnTo>
                <a:lnTo>
                  <a:pt x="1524" y="777"/>
                </a:lnTo>
                <a:lnTo>
                  <a:pt x="1528" y="779"/>
                </a:lnTo>
                <a:lnTo>
                  <a:pt x="1531" y="782"/>
                </a:lnTo>
                <a:lnTo>
                  <a:pt x="1533" y="785"/>
                </a:lnTo>
                <a:lnTo>
                  <a:pt x="1534" y="789"/>
                </a:lnTo>
                <a:lnTo>
                  <a:pt x="1534" y="795"/>
                </a:lnTo>
                <a:lnTo>
                  <a:pt x="1533" y="801"/>
                </a:lnTo>
                <a:lnTo>
                  <a:pt x="1534" y="804"/>
                </a:lnTo>
                <a:lnTo>
                  <a:pt x="1536" y="807"/>
                </a:lnTo>
                <a:lnTo>
                  <a:pt x="1540" y="811"/>
                </a:lnTo>
                <a:lnTo>
                  <a:pt x="1546" y="813"/>
                </a:lnTo>
                <a:lnTo>
                  <a:pt x="1557" y="819"/>
                </a:lnTo>
                <a:lnTo>
                  <a:pt x="1565" y="822"/>
                </a:lnTo>
                <a:lnTo>
                  <a:pt x="1567" y="822"/>
                </a:lnTo>
                <a:lnTo>
                  <a:pt x="1569" y="820"/>
                </a:lnTo>
                <a:lnTo>
                  <a:pt x="1570" y="817"/>
                </a:lnTo>
                <a:lnTo>
                  <a:pt x="1571" y="811"/>
                </a:lnTo>
                <a:lnTo>
                  <a:pt x="1572" y="802"/>
                </a:lnTo>
                <a:lnTo>
                  <a:pt x="1572" y="795"/>
                </a:lnTo>
                <a:lnTo>
                  <a:pt x="1571" y="787"/>
                </a:lnTo>
                <a:lnTo>
                  <a:pt x="1570" y="779"/>
                </a:lnTo>
                <a:lnTo>
                  <a:pt x="1566" y="763"/>
                </a:lnTo>
                <a:lnTo>
                  <a:pt x="1560" y="748"/>
                </a:lnTo>
                <a:lnTo>
                  <a:pt x="1557" y="739"/>
                </a:lnTo>
                <a:lnTo>
                  <a:pt x="1551" y="732"/>
                </a:lnTo>
                <a:lnTo>
                  <a:pt x="1544" y="724"/>
                </a:lnTo>
                <a:lnTo>
                  <a:pt x="1534" y="716"/>
                </a:lnTo>
                <a:lnTo>
                  <a:pt x="1514" y="702"/>
                </a:lnTo>
                <a:lnTo>
                  <a:pt x="1497" y="689"/>
                </a:lnTo>
                <a:lnTo>
                  <a:pt x="1489" y="683"/>
                </a:lnTo>
                <a:lnTo>
                  <a:pt x="1483" y="678"/>
                </a:lnTo>
                <a:lnTo>
                  <a:pt x="1479" y="671"/>
                </a:lnTo>
                <a:lnTo>
                  <a:pt x="1475" y="666"/>
                </a:lnTo>
                <a:lnTo>
                  <a:pt x="1469" y="657"/>
                </a:lnTo>
                <a:lnTo>
                  <a:pt x="1464" y="651"/>
                </a:lnTo>
                <a:lnTo>
                  <a:pt x="1459" y="649"/>
                </a:lnTo>
                <a:lnTo>
                  <a:pt x="1453" y="648"/>
                </a:lnTo>
                <a:lnTo>
                  <a:pt x="1449" y="648"/>
                </a:lnTo>
                <a:lnTo>
                  <a:pt x="1445" y="649"/>
                </a:lnTo>
                <a:lnTo>
                  <a:pt x="1442" y="651"/>
                </a:lnTo>
                <a:lnTo>
                  <a:pt x="1438" y="653"/>
                </a:lnTo>
                <a:lnTo>
                  <a:pt x="1426" y="660"/>
                </a:lnTo>
                <a:lnTo>
                  <a:pt x="1423" y="662"/>
                </a:lnTo>
                <a:close/>
                <a:moveTo>
                  <a:pt x="1256" y="767"/>
                </a:moveTo>
                <a:lnTo>
                  <a:pt x="1259" y="771"/>
                </a:lnTo>
                <a:lnTo>
                  <a:pt x="1265" y="774"/>
                </a:lnTo>
                <a:lnTo>
                  <a:pt x="1271" y="776"/>
                </a:lnTo>
                <a:lnTo>
                  <a:pt x="1279" y="777"/>
                </a:lnTo>
                <a:lnTo>
                  <a:pt x="1291" y="777"/>
                </a:lnTo>
                <a:lnTo>
                  <a:pt x="1296" y="777"/>
                </a:lnTo>
                <a:lnTo>
                  <a:pt x="1303" y="779"/>
                </a:lnTo>
                <a:lnTo>
                  <a:pt x="1316" y="782"/>
                </a:lnTo>
                <a:lnTo>
                  <a:pt x="1324" y="782"/>
                </a:lnTo>
                <a:lnTo>
                  <a:pt x="1331" y="782"/>
                </a:lnTo>
                <a:lnTo>
                  <a:pt x="1333" y="781"/>
                </a:lnTo>
                <a:lnTo>
                  <a:pt x="1335" y="780"/>
                </a:lnTo>
                <a:lnTo>
                  <a:pt x="1336" y="778"/>
                </a:lnTo>
                <a:lnTo>
                  <a:pt x="1337" y="776"/>
                </a:lnTo>
                <a:lnTo>
                  <a:pt x="1337" y="771"/>
                </a:lnTo>
                <a:lnTo>
                  <a:pt x="1336" y="763"/>
                </a:lnTo>
                <a:lnTo>
                  <a:pt x="1334" y="755"/>
                </a:lnTo>
                <a:lnTo>
                  <a:pt x="1332" y="747"/>
                </a:lnTo>
                <a:lnTo>
                  <a:pt x="1329" y="739"/>
                </a:lnTo>
                <a:lnTo>
                  <a:pt x="1326" y="733"/>
                </a:lnTo>
                <a:lnTo>
                  <a:pt x="1322" y="728"/>
                </a:lnTo>
                <a:lnTo>
                  <a:pt x="1317" y="725"/>
                </a:lnTo>
                <a:lnTo>
                  <a:pt x="1314" y="725"/>
                </a:lnTo>
                <a:lnTo>
                  <a:pt x="1312" y="725"/>
                </a:lnTo>
                <a:lnTo>
                  <a:pt x="1310" y="727"/>
                </a:lnTo>
                <a:lnTo>
                  <a:pt x="1309" y="729"/>
                </a:lnTo>
                <a:lnTo>
                  <a:pt x="1307" y="732"/>
                </a:lnTo>
                <a:lnTo>
                  <a:pt x="1305" y="736"/>
                </a:lnTo>
                <a:lnTo>
                  <a:pt x="1302" y="739"/>
                </a:lnTo>
                <a:lnTo>
                  <a:pt x="1296" y="744"/>
                </a:lnTo>
                <a:lnTo>
                  <a:pt x="1283" y="751"/>
                </a:lnTo>
                <a:lnTo>
                  <a:pt x="1269" y="759"/>
                </a:lnTo>
                <a:lnTo>
                  <a:pt x="1259" y="766"/>
                </a:lnTo>
                <a:lnTo>
                  <a:pt x="1256" y="767"/>
                </a:lnTo>
                <a:close/>
                <a:moveTo>
                  <a:pt x="1218" y="819"/>
                </a:moveTo>
                <a:lnTo>
                  <a:pt x="1227" y="822"/>
                </a:lnTo>
                <a:lnTo>
                  <a:pt x="1239" y="824"/>
                </a:lnTo>
                <a:lnTo>
                  <a:pt x="1245" y="825"/>
                </a:lnTo>
                <a:lnTo>
                  <a:pt x="1249" y="827"/>
                </a:lnTo>
                <a:lnTo>
                  <a:pt x="1251" y="830"/>
                </a:lnTo>
                <a:lnTo>
                  <a:pt x="1252" y="831"/>
                </a:lnTo>
                <a:lnTo>
                  <a:pt x="1254" y="833"/>
                </a:lnTo>
                <a:lnTo>
                  <a:pt x="1254" y="836"/>
                </a:lnTo>
                <a:lnTo>
                  <a:pt x="1254" y="839"/>
                </a:lnTo>
                <a:lnTo>
                  <a:pt x="1255" y="841"/>
                </a:lnTo>
                <a:lnTo>
                  <a:pt x="1256" y="844"/>
                </a:lnTo>
                <a:lnTo>
                  <a:pt x="1258" y="847"/>
                </a:lnTo>
                <a:lnTo>
                  <a:pt x="1262" y="853"/>
                </a:lnTo>
                <a:lnTo>
                  <a:pt x="1268" y="857"/>
                </a:lnTo>
                <a:lnTo>
                  <a:pt x="1281" y="865"/>
                </a:lnTo>
                <a:lnTo>
                  <a:pt x="1291" y="870"/>
                </a:lnTo>
                <a:lnTo>
                  <a:pt x="1293" y="871"/>
                </a:lnTo>
                <a:lnTo>
                  <a:pt x="1295" y="870"/>
                </a:lnTo>
                <a:lnTo>
                  <a:pt x="1299" y="868"/>
                </a:lnTo>
                <a:lnTo>
                  <a:pt x="1301" y="865"/>
                </a:lnTo>
                <a:lnTo>
                  <a:pt x="1307" y="858"/>
                </a:lnTo>
                <a:lnTo>
                  <a:pt x="1312" y="848"/>
                </a:lnTo>
                <a:lnTo>
                  <a:pt x="1322" y="831"/>
                </a:lnTo>
                <a:lnTo>
                  <a:pt x="1326" y="822"/>
                </a:lnTo>
                <a:lnTo>
                  <a:pt x="1331" y="820"/>
                </a:lnTo>
                <a:lnTo>
                  <a:pt x="1340" y="816"/>
                </a:lnTo>
                <a:lnTo>
                  <a:pt x="1345" y="813"/>
                </a:lnTo>
                <a:lnTo>
                  <a:pt x="1349" y="810"/>
                </a:lnTo>
                <a:lnTo>
                  <a:pt x="1350" y="807"/>
                </a:lnTo>
                <a:lnTo>
                  <a:pt x="1350" y="806"/>
                </a:lnTo>
                <a:lnTo>
                  <a:pt x="1350" y="805"/>
                </a:lnTo>
                <a:lnTo>
                  <a:pt x="1349" y="804"/>
                </a:lnTo>
                <a:lnTo>
                  <a:pt x="1343" y="799"/>
                </a:lnTo>
                <a:lnTo>
                  <a:pt x="1334" y="795"/>
                </a:lnTo>
                <a:lnTo>
                  <a:pt x="1328" y="795"/>
                </a:lnTo>
                <a:lnTo>
                  <a:pt x="1322" y="795"/>
                </a:lnTo>
                <a:lnTo>
                  <a:pt x="1312" y="797"/>
                </a:lnTo>
                <a:lnTo>
                  <a:pt x="1302" y="801"/>
                </a:lnTo>
                <a:lnTo>
                  <a:pt x="1291" y="805"/>
                </a:lnTo>
                <a:lnTo>
                  <a:pt x="1285" y="810"/>
                </a:lnTo>
                <a:lnTo>
                  <a:pt x="1280" y="814"/>
                </a:lnTo>
                <a:lnTo>
                  <a:pt x="1278" y="817"/>
                </a:lnTo>
                <a:lnTo>
                  <a:pt x="1276" y="819"/>
                </a:lnTo>
                <a:lnTo>
                  <a:pt x="1273" y="819"/>
                </a:lnTo>
                <a:lnTo>
                  <a:pt x="1271" y="819"/>
                </a:lnTo>
                <a:lnTo>
                  <a:pt x="1268" y="816"/>
                </a:lnTo>
                <a:lnTo>
                  <a:pt x="1262" y="814"/>
                </a:lnTo>
                <a:lnTo>
                  <a:pt x="1255" y="814"/>
                </a:lnTo>
                <a:lnTo>
                  <a:pt x="1246" y="814"/>
                </a:lnTo>
                <a:lnTo>
                  <a:pt x="1237" y="815"/>
                </a:lnTo>
                <a:lnTo>
                  <a:pt x="1223" y="818"/>
                </a:lnTo>
                <a:lnTo>
                  <a:pt x="1218" y="819"/>
                </a:lnTo>
                <a:close/>
                <a:moveTo>
                  <a:pt x="1081" y="1008"/>
                </a:moveTo>
                <a:lnTo>
                  <a:pt x="1077" y="1008"/>
                </a:lnTo>
                <a:lnTo>
                  <a:pt x="1074" y="1010"/>
                </a:lnTo>
                <a:lnTo>
                  <a:pt x="1070" y="1012"/>
                </a:lnTo>
                <a:lnTo>
                  <a:pt x="1067" y="1014"/>
                </a:lnTo>
                <a:lnTo>
                  <a:pt x="1063" y="1015"/>
                </a:lnTo>
                <a:lnTo>
                  <a:pt x="1059" y="1016"/>
                </a:lnTo>
                <a:lnTo>
                  <a:pt x="1054" y="1016"/>
                </a:lnTo>
                <a:lnTo>
                  <a:pt x="1051" y="1014"/>
                </a:lnTo>
                <a:lnTo>
                  <a:pt x="1048" y="1010"/>
                </a:lnTo>
                <a:lnTo>
                  <a:pt x="1046" y="1003"/>
                </a:lnTo>
                <a:lnTo>
                  <a:pt x="1045" y="996"/>
                </a:lnTo>
                <a:lnTo>
                  <a:pt x="1045" y="989"/>
                </a:lnTo>
                <a:lnTo>
                  <a:pt x="1045" y="980"/>
                </a:lnTo>
                <a:lnTo>
                  <a:pt x="1046" y="974"/>
                </a:lnTo>
                <a:lnTo>
                  <a:pt x="1048" y="969"/>
                </a:lnTo>
                <a:lnTo>
                  <a:pt x="1050" y="967"/>
                </a:lnTo>
                <a:lnTo>
                  <a:pt x="1066" y="954"/>
                </a:lnTo>
                <a:lnTo>
                  <a:pt x="1096" y="927"/>
                </a:lnTo>
                <a:lnTo>
                  <a:pt x="1126" y="898"/>
                </a:lnTo>
                <a:lnTo>
                  <a:pt x="1142" y="882"/>
                </a:lnTo>
                <a:lnTo>
                  <a:pt x="1151" y="875"/>
                </a:lnTo>
                <a:lnTo>
                  <a:pt x="1163" y="865"/>
                </a:lnTo>
                <a:lnTo>
                  <a:pt x="1176" y="856"/>
                </a:lnTo>
                <a:lnTo>
                  <a:pt x="1187" y="849"/>
                </a:lnTo>
                <a:lnTo>
                  <a:pt x="1192" y="846"/>
                </a:lnTo>
                <a:lnTo>
                  <a:pt x="1195" y="843"/>
                </a:lnTo>
                <a:lnTo>
                  <a:pt x="1198" y="839"/>
                </a:lnTo>
                <a:lnTo>
                  <a:pt x="1200" y="836"/>
                </a:lnTo>
                <a:lnTo>
                  <a:pt x="1201" y="834"/>
                </a:lnTo>
                <a:lnTo>
                  <a:pt x="1203" y="834"/>
                </a:lnTo>
                <a:lnTo>
                  <a:pt x="1204" y="836"/>
                </a:lnTo>
                <a:lnTo>
                  <a:pt x="1205" y="841"/>
                </a:lnTo>
                <a:lnTo>
                  <a:pt x="1206" y="855"/>
                </a:lnTo>
                <a:lnTo>
                  <a:pt x="1207" y="866"/>
                </a:lnTo>
                <a:lnTo>
                  <a:pt x="1206" y="876"/>
                </a:lnTo>
                <a:lnTo>
                  <a:pt x="1204" y="882"/>
                </a:lnTo>
                <a:lnTo>
                  <a:pt x="1200" y="887"/>
                </a:lnTo>
                <a:lnTo>
                  <a:pt x="1194" y="896"/>
                </a:lnTo>
                <a:lnTo>
                  <a:pt x="1191" y="900"/>
                </a:lnTo>
                <a:lnTo>
                  <a:pt x="1189" y="904"/>
                </a:lnTo>
                <a:lnTo>
                  <a:pt x="1186" y="909"/>
                </a:lnTo>
                <a:lnTo>
                  <a:pt x="1186" y="912"/>
                </a:lnTo>
                <a:lnTo>
                  <a:pt x="1187" y="922"/>
                </a:lnTo>
                <a:lnTo>
                  <a:pt x="1189" y="932"/>
                </a:lnTo>
                <a:lnTo>
                  <a:pt x="1189" y="938"/>
                </a:lnTo>
                <a:lnTo>
                  <a:pt x="1187" y="944"/>
                </a:lnTo>
                <a:lnTo>
                  <a:pt x="1185" y="950"/>
                </a:lnTo>
                <a:lnTo>
                  <a:pt x="1181" y="955"/>
                </a:lnTo>
                <a:lnTo>
                  <a:pt x="1174" y="966"/>
                </a:lnTo>
                <a:lnTo>
                  <a:pt x="1169" y="975"/>
                </a:lnTo>
                <a:lnTo>
                  <a:pt x="1165" y="979"/>
                </a:lnTo>
                <a:lnTo>
                  <a:pt x="1163" y="981"/>
                </a:lnTo>
                <a:lnTo>
                  <a:pt x="1162" y="981"/>
                </a:lnTo>
                <a:lnTo>
                  <a:pt x="1161" y="981"/>
                </a:lnTo>
                <a:lnTo>
                  <a:pt x="1159" y="980"/>
                </a:lnTo>
                <a:lnTo>
                  <a:pt x="1158" y="979"/>
                </a:lnTo>
                <a:lnTo>
                  <a:pt x="1155" y="974"/>
                </a:lnTo>
                <a:lnTo>
                  <a:pt x="1153" y="968"/>
                </a:lnTo>
                <a:lnTo>
                  <a:pt x="1152" y="959"/>
                </a:lnTo>
                <a:lnTo>
                  <a:pt x="1151" y="952"/>
                </a:lnTo>
                <a:lnTo>
                  <a:pt x="1149" y="946"/>
                </a:lnTo>
                <a:lnTo>
                  <a:pt x="1148" y="942"/>
                </a:lnTo>
                <a:lnTo>
                  <a:pt x="1147" y="941"/>
                </a:lnTo>
                <a:lnTo>
                  <a:pt x="1145" y="941"/>
                </a:lnTo>
                <a:lnTo>
                  <a:pt x="1143" y="942"/>
                </a:lnTo>
                <a:lnTo>
                  <a:pt x="1141" y="944"/>
                </a:lnTo>
                <a:lnTo>
                  <a:pt x="1134" y="954"/>
                </a:lnTo>
                <a:lnTo>
                  <a:pt x="1128" y="966"/>
                </a:lnTo>
                <a:lnTo>
                  <a:pt x="1121" y="977"/>
                </a:lnTo>
                <a:lnTo>
                  <a:pt x="1116" y="990"/>
                </a:lnTo>
                <a:lnTo>
                  <a:pt x="1110" y="1003"/>
                </a:lnTo>
                <a:lnTo>
                  <a:pt x="1105" y="1017"/>
                </a:lnTo>
                <a:lnTo>
                  <a:pt x="1103" y="1022"/>
                </a:lnTo>
                <a:lnTo>
                  <a:pt x="1099" y="1026"/>
                </a:lnTo>
                <a:lnTo>
                  <a:pt x="1096" y="1029"/>
                </a:lnTo>
                <a:lnTo>
                  <a:pt x="1093" y="1030"/>
                </a:lnTo>
                <a:lnTo>
                  <a:pt x="1092" y="1030"/>
                </a:lnTo>
                <a:lnTo>
                  <a:pt x="1091" y="1029"/>
                </a:lnTo>
                <a:lnTo>
                  <a:pt x="1090" y="1026"/>
                </a:lnTo>
                <a:lnTo>
                  <a:pt x="1089" y="1025"/>
                </a:lnTo>
                <a:lnTo>
                  <a:pt x="1089" y="1021"/>
                </a:lnTo>
                <a:lnTo>
                  <a:pt x="1089" y="1016"/>
                </a:lnTo>
                <a:lnTo>
                  <a:pt x="1091" y="1008"/>
                </a:lnTo>
                <a:lnTo>
                  <a:pt x="1092" y="1004"/>
                </a:lnTo>
                <a:lnTo>
                  <a:pt x="1087" y="1007"/>
                </a:lnTo>
                <a:lnTo>
                  <a:pt x="1081" y="1008"/>
                </a:lnTo>
                <a:close/>
                <a:moveTo>
                  <a:pt x="1139" y="1050"/>
                </a:moveTo>
                <a:lnTo>
                  <a:pt x="1146" y="1045"/>
                </a:lnTo>
                <a:lnTo>
                  <a:pt x="1153" y="1040"/>
                </a:lnTo>
                <a:lnTo>
                  <a:pt x="1156" y="1037"/>
                </a:lnTo>
                <a:lnTo>
                  <a:pt x="1158" y="1032"/>
                </a:lnTo>
                <a:lnTo>
                  <a:pt x="1159" y="1026"/>
                </a:lnTo>
                <a:lnTo>
                  <a:pt x="1159" y="1020"/>
                </a:lnTo>
                <a:lnTo>
                  <a:pt x="1158" y="1008"/>
                </a:lnTo>
                <a:lnTo>
                  <a:pt x="1158" y="997"/>
                </a:lnTo>
                <a:lnTo>
                  <a:pt x="1157" y="994"/>
                </a:lnTo>
                <a:lnTo>
                  <a:pt x="1157" y="992"/>
                </a:lnTo>
                <a:lnTo>
                  <a:pt x="1156" y="992"/>
                </a:lnTo>
                <a:lnTo>
                  <a:pt x="1154" y="994"/>
                </a:lnTo>
                <a:lnTo>
                  <a:pt x="1138" y="1011"/>
                </a:lnTo>
                <a:lnTo>
                  <a:pt x="1125" y="1024"/>
                </a:lnTo>
                <a:lnTo>
                  <a:pt x="1125" y="1028"/>
                </a:lnTo>
                <a:lnTo>
                  <a:pt x="1125" y="1031"/>
                </a:lnTo>
                <a:lnTo>
                  <a:pt x="1126" y="1035"/>
                </a:lnTo>
                <a:lnTo>
                  <a:pt x="1127" y="1039"/>
                </a:lnTo>
                <a:lnTo>
                  <a:pt x="1129" y="1046"/>
                </a:lnTo>
                <a:lnTo>
                  <a:pt x="1130" y="1051"/>
                </a:lnTo>
                <a:lnTo>
                  <a:pt x="1135" y="1050"/>
                </a:lnTo>
                <a:lnTo>
                  <a:pt x="1139" y="1050"/>
                </a:lnTo>
                <a:close/>
                <a:moveTo>
                  <a:pt x="1169" y="1063"/>
                </a:moveTo>
                <a:lnTo>
                  <a:pt x="1172" y="1067"/>
                </a:lnTo>
                <a:lnTo>
                  <a:pt x="1177" y="1072"/>
                </a:lnTo>
                <a:lnTo>
                  <a:pt x="1185" y="1076"/>
                </a:lnTo>
                <a:lnTo>
                  <a:pt x="1194" y="1080"/>
                </a:lnTo>
                <a:lnTo>
                  <a:pt x="1203" y="1084"/>
                </a:lnTo>
                <a:lnTo>
                  <a:pt x="1212" y="1086"/>
                </a:lnTo>
                <a:lnTo>
                  <a:pt x="1218" y="1087"/>
                </a:lnTo>
                <a:lnTo>
                  <a:pt x="1221" y="1086"/>
                </a:lnTo>
                <a:lnTo>
                  <a:pt x="1228" y="1079"/>
                </a:lnTo>
                <a:lnTo>
                  <a:pt x="1239" y="1068"/>
                </a:lnTo>
                <a:lnTo>
                  <a:pt x="1244" y="1063"/>
                </a:lnTo>
                <a:lnTo>
                  <a:pt x="1248" y="1060"/>
                </a:lnTo>
                <a:lnTo>
                  <a:pt x="1250" y="1059"/>
                </a:lnTo>
                <a:lnTo>
                  <a:pt x="1252" y="1059"/>
                </a:lnTo>
                <a:lnTo>
                  <a:pt x="1254" y="1059"/>
                </a:lnTo>
                <a:lnTo>
                  <a:pt x="1255" y="1060"/>
                </a:lnTo>
                <a:lnTo>
                  <a:pt x="1257" y="1063"/>
                </a:lnTo>
                <a:lnTo>
                  <a:pt x="1260" y="1065"/>
                </a:lnTo>
                <a:lnTo>
                  <a:pt x="1264" y="1067"/>
                </a:lnTo>
                <a:lnTo>
                  <a:pt x="1269" y="1068"/>
                </a:lnTo>
                <a:lnTo>
                  <a:pt x="1280" y="1070"/>
                </a:lnTo>
                <a:lnTo>
                  <a:pt x="1287" y="1072"/>
                </a:lnTo>
                <a:lnTo>
                  <a:pt x="1294" y="1073"/>
                </a:lnTo>
                <a:lnTo>
                  <a:pt x="1304" y="1074"/>
                </a:lnTo>
                <a:lnTo>
                  <a:pt x="1307" y="1075"/>
                </a:lnTo>
                <a:lnTo>
                  <a:pt x="1310" y="1076"/>
                </a:lnTo>
                <a:lnTo>
                  <a:pt x="1311" y="1077"/>
                </a:lnTo>
                <a:lnTo>
                  <a:pt x="1310" y="1079"/>
                </a:lnTo>
                <a:lnTo>
                  <a:pt x="1306" y="1081"/>
                </a:lnTo>
                <a:lnTo>
                  <a:pt x="1302" y="1082"/>
                </a:lnTo>
                <a:lnTo>
                  <a:pt x="1295" y="1083"/>
                </a:lnTo>
                <a:lnTo>
                  <a:pt x="1289" y="1084"/>
                </a:lnTo>
                <a:lnTo>
                  <a:pt x="1282" y="1085"/>
                </a:lnTo>
                <a:lnTo>
                  <a:pt x="1276" y="1086"/>
                </a:lnTo>
                <a:lnTo>
                  <a:pt x="1271" y="1089"/>
                </a:lnTo>
                <a:lnTo>
                  <a:pt x="1268" y="1094"/>
                </a:lnTo>
                <a:lnTo>
                  <a:pt x="1264" y="1098"/>
                </a:lnTo>
                <a:lnTo>
                  <a:pt x="1259" y="1102"/>
                </a:lnTo>
                <a:lnTo>
                  <a:pt x="1251" y="1106"/>
                </a:lnTo>
                <a:lnTo>
                  <a:pt x="1245" y="1110"/>
                </a:lnTo>
                <a:lnTo>
                  <a:pt x="1238" y="1114"/>
                </a:lnTo>
                <a:lnTo>
                  <a:pt x="1233" y="1118"/>
                </a:lnTo>
                <a:lnTo>
                  <a:pt x="1229" y="1121"/>
                </a:lnTo>
                <a:lnTo>
                  <a:pt x="1228" y="1123"/>
                </a:lnTo>
                <a:lnTo>
                  <a:pt x="1230" y="1125"/>
                </a:lnTo>
                <a:lnTo>
                  <a:pt x="1234" y="1128"/>
                </a:lnTo>
                <a:lnTo>
                  <a:pt x="1239" y="1130"/>
                </a:lnTo>
                <a:lnTo>
                  <a:pt x="1244" y="1133"/>
                </a:lnTo>
                <a:lnTo>
                  <a:pt x="1249" y="1134"/>
                </a:lnTo>
                <a:lnTo>
                  <a:pt x="1256" y="1136"/>
                </a:lnTo>
                <a:lnTo>
                  <a:pt x="1261" y="1138"/>
                </a:lnTo>
                <a:lnTo>
                  <a:pt x="1267" y="1138"/>
                </a:lnTo>
                <a:lnTo>
                  <a:pt x="1277" y="1138"/>
                </a:lnTo>
                <a:lnTo>
                  <a:pt x="1286" y="1139"/>
                </a:lnTo>
                <a:lnTo>
                  <a:pt x="1291" y="1138"/>
                </a:lnTo>
                <a:lnTo>
                  <a:pt x="1296" y="1135"/>
                </a:lnTo>
                <a:lnTo>
                  <a:pt x="1303" y="1130"/>
                </a:lnTo>
                <a:lnTo>
                  <a:pt x="1311" y="1123"/>
                </a:lnTo>
                <a:lnTo>
                  <a:pt x="1326" y="1105"/>
                </a:lnTo>
                <a:lnTo>
                  <a:pt x="1338" y="1090"/>
                </a:lnTo>
                <a:lnTo>
                  <a:pt x="1344" y="1085"/>
                </a:lnTo>
                <a:lnTo>
                  <a:pt x="1349" y="1082"/>
                </a:lnTo>
                <a:lnTo>
                  <a:pt x="1351" y="1081"/>
                </a:lnTo>
                <a:lnTo>
                  <a:pt x="1353" y="1080"/>
                </a:lnTo>
                <a:lnTo>
                  <a:pt x="1356" y="1081"/>
                </a:lnTo>
                <a:lnTo>
                  <a:pt x="1358" y="1082"/>
                </a:lnTo>
                <a:lnTo>
                  <a:pt x="1365" y="1089"/>
                </a:lnTo>
                <a:lnTo>
                  <a:pt x="1369" y="1096"/>
                </a:lnTo>
                <a:lnTo>
                  <a:pt x="1370" y="1098"/>
                </a:lnTo>
                <a:lnTo>
                  <a:pt x="1372" y="1100"/>
                </a:lnTo>
                <a:lnTo>
                  <a:pt x="1374" y="1100"/>
                </a:lnTo>
                <a:lnTo>
                  <a:pt x="1377" y="1099"/>
                </a:lnTo>
                <a:lnTo>
                  <a:pt x="1381" y="1097"/>
                </a:lnTo>
                <a:lnTo>
                  <a:pt x="1386" y="1096"/>
                </a:lnTo>
                <a:lnTo>
                  <a:pt x="1390" y="1096"/>
                </a:lnTo>
                <a:lnTo>
                  <a:pt x="1394" y="1096"/>
                </a:lnTo>
                <a:lnTo>
                  <a:pt x="1400" y="1097"/>
                </a:lnTo>
                <a:lnTo>
                  <a:pt x="1403" y="1098"/>
                </a:lnTo>
                <a:lnTo>
                  <a:pt x="1404" y="1099"/>
                </a:lnTo>
                <a:lnTo>
                  <a:pt x="1408" y="1102"/>
                </a:lnTo>
                <a:lnTo>
                  <a:pt x="1410" y="1103"/>
                </a:lnTo>
                <a:lnTo>
                  <a:pt x="1412" y="1103"/>
                </a:lnTo>
                <a:lnTo>
                  <a:pt x="1414" y="1101"/>
                </a:lnTo>
                <a:lnTo>
                  <a:pt x="1415" y="1098"/>
                </a:lnTo>
                <a:lnTo>
                  <a:pt x="1420" y="1086"/>
                </a:lnTo>
                <a:lnTo>
                  <a:pt x="1424" y="1076"/>
                </a:lnTo>
                <a:lnTo>
                  <a:pt x="1427" y="1067"/>
                </a:lnTo>
                <a:lnTo>
                  <a:pt x="1428" y="1064"/>
                </a:lnTo>
                <a:lnTo>
                  <a:pt x="1431" y="1062"/>
                </a:lnTo>
                <a:lnTo>
                  <a:pt x="1436" y="1055"/>
                </a:lnTo>
                <a:lnTo>
                  <a:pt x="1438" y="1050"/>
                </a:lnTo>
                <a:lnTo>
                  <a:pt x="1439" y="1043"/>
                </a:lnTo>
                <a:lnTo>
                  <a:pt x="1439" y="1036"/>
                </a:lnTo>
                <a:lnTo>
                  <a:pt x="1437" y="1029"/>
                </a:lnTo>
                <a:lnTo>
                  <a:pt x="1433" y="1012"/>
                </a:lnTo>
                <a:lnTo>
                  <a:pt x="1427" y="996"/>
                </a:lnTo>
                <a:lnTo>
                  <a:pt x="1426" y="993"/>
                </a:lnTo>
                <a:lnTo>
                  <a:pt x="1425" y="991"/>
                </a:lnTo>
                <a:lnTo>
                  <a:pt x="1423" y="990"/>
                </a:lnTo>
                <a:lnTo>
                  <a:pt x="1421" y="989"/>
                </a:lnTo>
                <a:lnTo>
                  <a:pt x="1419" y="989"/>
                </a:lnTo>
                <a:lnTo>
                  <a:pt x="1417" y="990"/>
                </a:lnTo>
                <a:lnTo>
                  <a:pt x="1414" y="992"/>
                </a:lnTo>
                <a:lnTo>
                  <a:pt x="1412" y="996"/>
                </a:lnTo>
                <a:lnTo>
                  <a:pt x="1401" y="1008"/>
                </a:lnTo>
                <a:lnTo>
                  <a:pt x="1396" y="1013"/>
                </a:lnTo>
                <a:lnTo>
                  <a:pt x="1394" y="1012"/>
                </a:lnTo>
                <a:lnTo>
                  <a:pt x="1393" y="1011"/>
                </a:lnTo>
                <a:lnTo>
                  <a:pt x="1391" y="1009"/>
                </a:lnTo>
                <a:lnTo>
                  <a:pt x="1389" y="1006"/>
                </a:lnTo>
                <a:lnTo>
                  <a:pt x="1382" y="996"/>
                </a:lnTo>
                <a:lnTo>
                  <a:pt x="1375" y="985"/>
                </a:lnTo>
                <a:lnTo>
                  <a:pt x="1371" y="979"/>
                </a:lnTo>
                <a:lnTo>
                  <a:pt x="1369" y="974"/>
                </a:lnTo>
                <a:lnTo>
                  <a:pt x="1368" y="970"/>
                </a:lnTo>
                <a:lnTo>
                  <a:pt x="1368" y="966"/>
                </a:lnTo>
                <a:lnTo>
                  <a:pt x="1371" y="958"/>
                </a:lnTo>
                <a:lnTo>
                  <a:pt x="1374" y="950"/>
                </a:lnTo>
                <a:lnTo>
                  <a:pt x="1374" y="945"/>
                </a:lnTo>
                <a:lnTo>
                  <a:pt x="1373" y="941"/>
                </a:lnTo>
                <a:lnTo>
                  <a:pt x="1371" y="936"/>
                </a:lnTo>
                <a:lnTo>
                  <a:pt x="1368" y="932"/>
                </a:lnTo>
                <a:lnTo>
                  <a:pt x="1365" y="929"/>
                </a:lnTo>
                <a:lnTo>
                  <a:pt x="1361" y="927"/>
                </a:lnTo>
                <a:lnTo>
                  <a:pt x="1359" y="927"/>
                </a:lnTo>
                <a:lnTo>
                  <a:pt x="1356" y="927"/>
                </a:lnTo>
                <a:lnTo>
                  <a:pt x="1350" y="931"/>
                </a:lnTo>
                <a:lnTo>
                  <a:pt x="1340" y="937"/>
                </a:lnTo>
                <a:lnTo>
                  <a:pt x="1335" y="942"/>
                </a:lnTo>
                <a:lnTo>
                  <a:pt x="1332" y="946"/>
                </a:lnTo>
                <a:lnTo>
                  <a:pt x="1329" y="951"/>
                </a:lnTo>
                <a:lnTo>
                  <a:pt x="1328" y="955"/>
                </a:lnTo>
                <a:lnTo>
                  <a:pt x="1328" y="963"/>
                </a:lnTo>
                <a:lnTo>
                  <a:pt x="1328" y="966"/>
                </a:lnTo>
                <a:lnTo>
                  <a:pt x="1331" y="970"/>
                </a:lnTo>
                <a:lnTo>
                  <a:pt x="1336" y="978"/>
                </a:lnTo>
                <a:lnTo>
                  <a:pt x="1342" y="989"/>
                </a:lnTo>
                <a:lnTo>
                  <a:pt x="1344" y="997"/>
                </a:lnTo>
                <a:lnTo>
                  <a:pt x="1343" y="999"/>
                </a:lnTo>
                <a:lnTo>
                  <a:pt x="1342" y="1002"/>
                </a:lnTo>
                <a:lnTo>
                  <a:pt x="1339" y="1004"/>
                </a:lnTo>
                <a:lnTo>
                  <a:pt x="1337" y="1007"/>
                </a:lnTo>
                <a:lnTo>
                  <a:pt x="1336" y="1009"/>
                </a:lnTo>
                <a:lnTo>
                  <a:pt x="1335" y="1011"/>
                </a:lnTo>
                <a:lnTo>
                  <a:pt x="1335" y="1013"/>
                </a:lnTo>
                <a:lnTo>
                  <a:pt x="1336" y="1015"/>
                </a:lnTo>
                <a:lnTo>
                  <a:pt x="1339" y="1017"/>
                </a:lnTo>
                <a:lnTo>
                  <a:pt x="1342" y="1019"/>
                </a:lnTo>
                <a:lnTo>
                  <a:pt x="1345" y="1019"/>
                </a:lnTo>
                <a:lnTo>
                  <a:pt x="1348" y="1020"/>
                </a:lnTo>
                <a:lnTo>
                  <a:pt x="1351" y="1020"/>
                </a:lnTo>
                <a:lnTo>
                  <a:pt x="1352" y="1022"/>
                </a:lnTo>
                <a:lnTo>
                  <a:pt x="1353" y="1024"/>
                </a:lnTo>
                <a:lnTo>
                  <a:pt x="1353" y="1028"/>
                </a:lnTo>
                <a:lnTo>
                  <a:pt x="1350" y="1038"/>
                </a:lnTo>
                <a:lnTo>
                  <a:pt x="1346" y="1050"/>
                </a:lnTo>
                <a:lnTo>
                  <a:pt x="1344" y="1055"/>
                </a:lnTo>
                <a:lnTo>
                  <a:pt x="1340" y="1057"/>
                </a:lnTo>
                <a:lnTo>
                  <a:pt x="1339" y="1058"/>
                </a:lnTo>
                <a:lnTo>
                  <a:pt x="1337" y="1058"/>
                </a:lnTo>
                <a:lnTo>
                  <a:pt x="1336" y="1058"/>
                </a:lnTo>
                <a:lnTo>
                  <a:pt x="1334" y="1056"/>
                </a:lnTo>
                <a:lnTo>
                  <a:pt x="1325" y="1048"/>
                </a:lnTo>
                <a:lnTo>
                  <a:pt x="1313" y="1039"/>
                </a:lnTo>
                <a:lnTo>
                  <a:pt x="1302" y="1032"/>
                </a:lnTo>
                <a:lnTo>
                  <a:pt x="1295" y="1025"/>
                </a:lnTo>
                <a:lnTo>
                  <a:pt x="1292" y="1018"/>
                </a:lnTo>
                <a:lnTo>
                  <a:pt x="1288" y="1007"/>
                </a:lnTo>
                <a:lnTo>
                  <a:pt x="1286" y="999"/>
                </a:lnTo>
                <a:lnTo>
                  <a:pt x="1282" y="993"/>
                </a:lnTo>
                <a:lnTo>
                  <a:pt x="1278" y="988"/>
                </a:lnTo>
                <a:lnTo>
                  <a:pt x="1271" y="984"/>
                </a:lnTo>
                <a:lnTo>
                  <a:pt x="1265" y="979"/>
                </a:lnTo>
                <a:lnTo>
                  <a:pt x="1260" y="973"/>
                </a:lnTo>
                <a:lnTo>
                  <a:pt x="1254" y="966"/>
                </a:lnTo>
                <a:lnTo>
                  <a:pt x="1248" y="959"/>
                </a:lnTo>
                <a:lnTo>
                  <a:pt x="1243" y="954"/>
                </a:lnTo>
                <a:lnTo>
                  <a:pt x="1238" y="951"/>
                </a:lnTo>
                <a:lnTo>
                  <a:pt x="1235" y="951"/>
                </a:lnTo>
                <a:lnTo>
                  <a:pt x="1232" y="951"/>
                </a:lnTo>
                <a:lnTo>
                  <a:pt x="1229" y="953"/>
                </a:lnTo>
                <a:lnTo>
                  <a:pt x="1226" y="956"/>
                </a:lnTo>
                <a:lnTo>
                  <a:pt x="1217" y="967"/>
                </a:lnTo>
                <a:lnTo>
                  <a:pt x="1210" y="975"/>
                </a:lnTo>
                <a:lnTo>
                  <a:pt x="1206" y="978"/>
                </a:lnTo>
                <a:lnTo>
                  <a:pt x="1204" y="980"/>
                </a:lnTo>
                <a:lnTo>
                  <a:pt x="1203" y="984"/>
                </a:lnTo>
                <a:lnTo>
                  <a:pt x="1203" y="987"/>
                </a:lnTo>
                <a:lnTo>
                  <a:pt x="1202" y="988"/>
                </a:lnTo>
                <a:lnTo>
                  <a:pt x="1202" y="989"/>
                </a:lnTo>
                <a:lnTo>
                  <a:pt x="1200" y="990"/>
                </a:lnTo>
                <a:lnTo>
                  <a:pt x="1198" y="990"/>
                </a:lnTo>
                <a:lnTo>
                  <a:pt x="1194" y="991"/>
                </a:lnTo>
                <a:lnTo>
                  <a:pt x="1189" y="991"/>
                </a:lnTo>
                <a:lnTo>
                  <a:pt x="1184" y="993"/>
                </a:lnTo>
                <a:lnTo>
                  <a:pt x="1181" y="995"/>
                </a:lnTo>
                <a:lnTo>
                  <a:pt x="1181" y="997"/>
                </a:lnTo>
                <a:lnTo>
                  <a:pt x="1181" y="999"/>
                </a:lnTo>
                <a:lnTo>
                  <a:pt x="1182" y="1002"/>
                </a:lnTo>
                <a:lnTo>
                  <a:pt x="1184" y="1007"/>
                </a:lnTo>
                <a:lnTo>
                  <a:pt x="1191" y="1013"/>
                </a:lnTo>
                <a:lnTo>
                  <a:pt x="1197" y="1019"/>
                </a:lnTo>
                <a:lnTo>
                  <a:pt x="1203" y="1023"/>
                </a:lnTo>
                <a:lnTo>
                  <a:pt x="1208" y="1026"/>
                </a:lnTo>
                <a:lnTo>
                  <a:pt x="1213" y="1030"/>
                </a:lnTo>
                <a:lnTo>
                  <a:pt x="1216" y="1032"/>
                </a:lnTo>
                <a:lnTo>
                  <a:pt x="1216" y="1033"/>
                </a:lnTo>
                <a:lnTo>
                  <a:pt x="1216" y="1033"/>
                </a:lnTo>
                <a:lnTo>
                  <a:pt x="1215" y="1034"/>
                </a:lnTo>
                <a:lnTo>
                  <a:pt x="1214" y="1035"/>
                </a:lnTo>
                <a:lnTo>
                  <a:pt x="1204" y="1039"/>
                </a:lnTo>
                <a:lnTo>
                  <a:pt x="1196" y="1043"/>
                </a:lnTo>
                <a:lnTo>
                  <a:pt x="1187" y="1046"/>
                </a:lnTo>
                <a:lnTo>
                  <a:pt x="1181" y="1048"/>
                </a:lnTo>
                <a:lnTo>
                  <a:pt x="1179" y="1048"/>
                </a:lnTo>
                <a:lnTo>
                  <a:pt x="1177" y="1051"/>
                </a:lnTo>
                <a:lnTo>
                  <a:pt x="1174" y="1054"/>
                </a:lnTo>
                <a:lnTo>
                  <a:pt x="1173" y="1057"/>
                </a:lnTo>
                <a:lnTo>
                  <a:pt x="1170" y="1062"/>
                </a:lnTo>
                <a:lnTo>
                  <a:pt x="1169" y="1063"/>
                </a:lnTo>
                <a:close/>
                <a:moveTo>
                  <a:pt x="1498" y="1258"/>
                </a:moveTo>
                <a:lnTo>
                  <a:pt x="1499" y="1262"/>
                </a:lnTo>
                <a:lnTo>
                  <a:pt x="1502" y="1266"/>
                </a:lnTo>
                <a:lnTo>
                  <a:pt x="1505" y="1272"/>
                </a:lnTo>
                <a:lnTo>
                  <a:pt x="1510" y="1277"/>
                </a:lnTo>
                <a:lnTo>
                  <a:pt x="1521" y="1287"/>
                </a:lnTo>
                <a:lnTo>
                  <a:pt x="1533" y="1300"/>
                </a:lnTo>
                <a:lnTo>
                  <a:pt x="1545" y="1311"/>
                </a:lnTo>
                <a:lnTo>
                  <a:pt x="1555" y="1322"/>
                </a:lnTo>
                <a:lnTo>
                  <a:pt x="1564" y="1332"/>
                </a:lnTo>
                <a:lnTo>
                  <a:pt x="1568" y="1340"/>
                </a:lnTo>
                <a:lnTo>
                  <a:pt x="1571" y="1352"/>
                </a:lnTo>
                <a:lnTo>
                  <a:pt x="1574" y="1364"/>
                </a:lnTo>
                <a:lnTo>
                  <a:pt x="1576" y="1368"/>
                </a:lnTo>
                <a:lnTo>
                  <a:pt x="1577" y="1372"/>
                </a:lnTo>
                <a:lnTo>
                  <a:pt x="1579" y="1374"/>
                </a:lnTo>
                <a:lnTo>
                  <a:pt x="1583" y="1375"/>
                </a:lnTo>
                <a:lnTo>
                  <a:pt x="1587" y="1374"/>
                </a:lnTo>
                <a:lnTo>
                  <a:pt x="1591" y="1372"/>
                </a:lnTo>
                <a:lnTo>
                  <a:pt x="1596" y="1368"/>
                </a:lnTo>
                <a:lnTo>
                  <a:pt x="1601" y="1364"/>
                </a:lnTo>
                <a:lnTo>
                  <a:pt x="1611" y="1354"/>
                </a:lnTo>
                <a:lnTo>
                  <a:pt x="1616" y="1346"/>
                </a:lnTo>
                <a:lnTo>
                  <a:pt x="1621" y="1337"/>
                </a:lnTo>
                <a:lnTo>
                  <a:pt x="1628" y="1320"/>
                </a:lnTo>
                <a:lnTo>
                  <a:pt x="1631" y="1310"/>
                </a:lnTo>
                <a:lnTo>
                  <a:pt x="1632" y="1301"/>
                </a:lnTo>
                <a:lnTo>
                  <a:pt x="1632" y="1296"/>
                </a:lnTo>
                <a:lnTo>
                  <a:pt x="1632" y="1292"/>
                </a:lnTo>
                <a:lnTo>
                  <a:pt x="1631" y="1287"/>
                </a:lnTo>
                <a:lnTo>
                  <a:pt x="1629" y="1284"/>
                </a:lnTo>
                <a:lnTo>
                  <a:pt x="1623" y="1278"/>
                </a:lnTo>
                <a:lnTo>
                  <a:pt x="1617" y="1272"/>
                </a:lnTo>
                <a:lnTo>
                  <a:pt x="1611" y="1266"/>
                </a:lnTo>
                <a:lnTo>
                  <a:pt x="1605" y="1261"/>
                </a:lnTo>
                <a:lnTo>
                  <a:pt x="1599" y="1257"/>
                </a:lnTo>
                <a:lnTo>
                  <a:pt x="1595" y="1253"/>
                </a:lnTo>
                <a:lnTo>
                  <a:pt x="1594" y="1251"/>
                </a:lnTo>
                <a:lnTo>
                  <a:pt x="1593" y="1249"/>
                </a:lnTo>
                <a:lnTo>
                  <a:pt x="1594" y="1247"/>
                </a:lnTo>
                <a:lnTo>
                  <a:pt x="1595" y="1244"/>
                </a:lnTo>
                <a:lnTo>
                  <a:pt x="1601" y="1232"/>
                </a:lnTo>
                <a:lnTo>
                  <a:pt x="1607" y="1216"/>
                </a:lnTo>
                <a:lnTo>
                  <a:pt x="1611" y="1201"/>
                </a:lnTo>
                <a:lnTo>
                  <a:pt x="1612" y="1193"/>
                </a:lnTo>
                <a:lnTo>
                  <a:pt x="1612" y="1185"/>
                </a:lnTo>
                <a:lnTo>
                  <a:pt x="1612" y="1173"/>
                </a:lnTo>
                <a:lnTo>
                  <a:pt x="1611" y="1168"/>
                </a:lnTo>
                <a:lnTo>
                  <a:pt x="1609" y="1164"/>
                </a:lnTo>
                <a:lnTo>
                  <a:pt x="1608" y="1163"/>
                </a:lnTo>
                <a:lnTo>
                  <a:pt x="1607" y="1163"/>
                </a:lnTo>
                <a:lnTo>
                  <a:pt x="1605" y="1163"/>
                </a:lnTo>
                <a:lnTo>
                  <a:pt x="1602" y="1164"/>
                </a:lnTo>
                <a:lnTo>
                  <a:pt x="1597" y="1169"/>
                </a:lnTo>
                <a:lnTo>
                  <a:pt x="1594" y="1175"/>
                </a:lnTo>
                <a:lnTo>
                  <a:pt x="1591" y="1184"/>
                </a:lnTo>
                <a:lnTo>
                  <a:pt x="1588" y="1192"/>
                </a:lnTo>
                <a:lnTo>
                  <a:pt x="1586" y="1199"/>
                </a:lnTo>
                <a:lnTo>
                  <a:pt x="1583" y="1205"/>
                </a:lnTo>
                <a:lnTo>
                  <a:pt x="1580" y="1207"/>
                </a:lnTo>
                <a:lnTo>
                  <a:pt x="1578" y="1207"/>
                </a:lnTo>
                <a:lnTo>
                  <a:pt x="1576" y="1206"/>
                </a:lnTo>
                <a:lnTo>
                  <a:pt x="1574" y="1204"/>
                </a:lnTo>
                <a:lnTo>
                  <a:pt x="1566" y="1193"/>
                </a:lnTo>
                <a:lnTo>
                  <a:pt x="1560" y="1184"/>
                </a:lnTo>
                <a:lnTo>
                  <a:pt x="1557" y="1182"/>
                </a:lnTo>
                <a:lnTo>
                  <a:pt x="1555" y="1180"/>
                </a:lnTo>
                <a:lnTo>
                  <a:pt x="1552" y="1182"/>
                </a:lnTo>
                <a:lnTo>
                  <a:pt x="1550" y="1187"/>
                </a:lnTo>
                <a:lnTo>
                  <a:pt x="1547" y="1192"/>
                </a:lnTo>
                <a:lnTo>
                  <a:pt x="1543" y="1196"/>
                </a:lnTo>
                <a:lnTo>
                  <a:pt x="1540" y="1199"/>
                </a:lnTo>
                <a:lnTo>
                  <a:pt x="1535" y="1201"/>
                </a:lnTo>
                <a:lnTo>
                  <a:pt x="1532" y="1205"/>
                </a:lnTo>
                <a:lnTo>
                  <a:pt x="1530" y="1207"/>
                </a:lnTo>
                <a:lnTo>
                  <a:pt x="1529" y="1210"/>
                </a:lnTo>
                <a:lnTo>
                  <a:pt x="1529" y="1213"/>
                </a:lnTo>
                <a:lnTo>
                  <a:pt x="1533" y="1223"/>
                </a:lnTo>
                <a:lnTo>
                  <a:pt x="1542" y="1235"/>
                </a:lnTo>
                <a:lnTo>
                  <a:pt x="1549" y="1245"/>
                </a:lnTo>
                <a:lnTo>
                  <a:pt x="1552" y="1253"/>
                </a:lnTo>
                <a:lnTo>
                  <a:pt x="1550" y="1260"/>
                </a:lnTo>
                <a:lnTo>
                  <a:pt x="1546" y="1267"/>
                </a:lnTo>
                <a:lnTo>
                  <a:pt x="1543" y="1271"/>
                </a:lnTo>
                <a:lnTo>
                  <a:pt x="1540" y="1273"/>
                </a:lnTo>
                <a:lnTo>
                  <a:pt x="1538" y="1274"/>
                </a:lnTo>
                <a:lnTo>
                  <a:pt x="1536" y="1274"/>
                </a:lnTo>
                <a:lnTo>
                  <a:pt x="1535" y="1273"/>
                </a:lnTo>
                <a:lnTo>
                  <a:pt x="1533" y="1272"/>
                </a:lnTo>
                <a:lnTo>
                  <a:pt x="1525" y="1265"/>
                </a:lnTo>
                <a:lnTo>
                  <a:pt x="1513" y="1258"/>
                </a:lnTo>
                <a:lnTo>
                  <a:pt x="1504" y="1253"/>
                </a:lnTo>
                <a:lnTo>
                  <a:pt x="1501" y="1251"/>
                </a:lnTo>
                <a:lnTo>
                  <a:pt x="1498" y="1258"/>
                </a:lnTo>
                <a:close/>
                <a:moveTo>
                  <a:pt x="1130" y="1287"/>
                </a:moveTo>
                <a:lnTo>
                  <a:pt x="1136" y="1281"/>
                </a:lnTo>
                <a:lnTo>
                  <a:pt x="1146" y="1273"/>
                </a:lnTo>
                <a:lnTo>
                  <a:pt x="1158" y="1264"/>
                </a:lnTo>
                <a:lnTo>
                  <a:pt x="1173" y="1255"/>
                </a:lnTo>
                <a:lnTo>
                  <a:pt x="1186" y="1245"/>
                </a:lnTo>
                <a:lnTo>
                  <a:pt x="1198" y="1236"/>
                </a:lnTo>
                <a:lnTo>
                  <a:pt x="1203" y="1232"/>
                </a:lnTo>
                <a:lnTo>
                  <a:pt x="1206" y="1228"/>
                </a:lnTo>
                <a:lnTo>
                  <a:pt x="1210" y="1225"/>
                </a:lnTo>
                <a:lnTo>
                  <a:pt x="1211" y="1221"/>
                </a:lnTo>
                <a:lnTo>
                  <a:pt x="1211" y="1216"/>
                </a:lnTo>
                <a:lnTo>
                  <a:pt x="1211" y="1211"/>
                </a:lnTo>
                <a:lnTo>
                  <a:pt x="1210" y="1206"/>
                </a:lnTo>
                <a:lnTo>
                  <a:pt x="1207" y="1199"/>
                </a:lnTo>
                <a:lnTo>
                  <a:pt x="1203" y="1193"/>
                </a:lnTo>
                <a:lnTo>
                  <a:pt x="1197" y="1187"/>
                </a:lnTo>
                <a:lnTo>
                  <a:pt x="1187" y="1179"/>
                </a:lnTo>
                <a:lnTo>
                  <a:pt x="1176" y="1171"/>
                </a:lnTo>
                <a:lnTo>
                  <a:pt x="1159" y="1158"/>
                </a:lnTo>
                <a:lnTo>
                  <a:pt x="1153" y="1152"/>
                </a:lnTo>
                <a:lnTo>
                  <a:pt x="1151" y="1151"/>
                </a:lnTo>
                <a:lnTo>
                  <a:pt x="1150" y="1152"/>
                </a:lnTo>
                <a:lnTo>
                  <a:pt x="1148" y="1155"/>
                </a:lnTo>
                <a:lnTo>
                  <a:pt x="1142" y="1158"/>
                </a:lnTo>
                <a:lnTo>
                  <a:pt x="1136" y="1163"/>
                </a:lnTo>
                <a:lnTo>
                  <a:pt x="1131" y="1166"/>
                </a:lnTo>
                <a:lnTo>
                  <a:pt x="1126" y="1168"/>
                </a:lnTo>
                <a:lnTo>
                  <a:pt x="1121" y="1169"/>
                </a:lnTo>
                <a:lnTo>
                  <a:pt x="1115" y="1170"/>
                </a:lnTo>
                <a:lnTo>
                  <a:pt x="1113" y="1170"/>
                </a:lnTo>
                <a:lnTo>
                  <a:pt x="1111" y="1163"/>
                </a:lnTo>
                <a:lnTo>
                  <a:pt x="1104" y="1148"/>
                </a:lnTo>
                <a:lnTo>
                  <a:pt x="1099" y="1140"/>
                </a:lnTo>
                <a:lnTo>
                  <a:pt x="1093" y="1133"/>
                </a:lnTo>
                <a:lnTo>
                  <a:pt x="1089" y="1130"/>
                </a:lnTo>
                <a:lnTo>
                  <a:pt x="1086" y="1128"/>
                </a:lnTo>
                <a:lnTo>
                  <a:pt x="1082" y="1127"/>
                </a:lnTo>
                <a:lnTo>
                  <a:pt x="1076" y="1127"/>
                </a:lnTo>
                <a:lnTo>
                  <a:pt x="1063" y="1129"/>
                </a:lnTo>
                <a:lnTo>
                  <a:pt x="1054" y="1131"/>
                </a:lnTo>
                <a:lnTo>
                  <a:pt x="1049" y="1133"/>
                </a:lnTo>
                <a:lnTo>
                  <a:pt x="1045" y="1134"/>
                </a:lnTo>
                <a:lnTo>
                  <a:pt x="1036" y="1134"/>
                </a:lnTo>
                <a:lnTo>
                  <a:pt x="1022" y="1134"/>
                </a:lnTo>
                <a:lnTo>
                  <a:pt x="1016" y="1135"/>
                </a:lnTo>
                <a:lnTo>
                  <a:pt x="1010" y="1138"/>
                </a:lnTo>
                <a:lnTo>
                  <a:pt x="1007" y="1139"/>
                </a:lnTo>
                <a:lnTo>
                  <a:pt x="1006" y="1141"/>
                </a:lnTo>
                <a:lnTo>
                  <a:pt x="1005" y="1144"/>
                </a:lnTo>
                <a:lnTo>
                  <a:pt x="1005" y="1147"/>
                </a:lnTo>
                <a:lnTo>
                  <a:pt x="1005" y="1149"/>
                </a:lnTo>
                <a:lnTo>
                  <a:pt x="1006" y="1152"/>
                </a:lnTo>
                <a:lnTo>
                  <a:pt x="1008" y="1154"/>
                </a:lnTo>
                <a:lnTo>
                  <a:pt x="1010" y="1155"/>
                </a:lnTo>
                <a:lnTo>
                  <a:pt x="1015" y="1158"/>
                </a:lnTo>
                <a:lnTo>
                  <a:pt x="1020" y="1161"/>
                </a:lnTo>
                <a:lnTo>
                  <a:pt x="1025" y="1164"/>
                </a:lnTo>
                <a:lnTo>
                  <a:pt x="1028" y="1167"/>
                </a:lnTo>
                <a:lnTo>
                  <a:pt x="1028" y="1169"/>
                </a:lnTo>
                <a:lnTo>
                  <a:pt x="1028" y="1172"/>
                </a:lnTo>
                <a:lnTo>
                  <a:pt x="1028" y="1175"/>
                </a:lnTo>
                <a:lnTo>
                  <a:pt x="1026" y="1179"/>
                </a:lnTo>
                <a:lnTo>
                  <a:pt x="1019" y="1193"/>
                </a:lnTo>
                <a:lnTo>
                  <a:pt x="1011" y="1204"/>
                </a:lnTo>
                <a:lnTo>
                  <a:pt x="1008" y="1207"/>
                </a:lnTo>
                <a:lnTo>
                  <a:pt x="1006" y="1211"/>
                </a:lnTo>
                <a:lnTo>
                  <a:pt x="1005" y="1214"/>
                </a:lnTo>
                <a:lnTo>
                  <a:pt x="1005" y="1217"/>
                </a:lnTo>
                <a:lnTo>
                  <a:pt x="1006" y="1226"/>
                </a:lnTo>
                <a:lnTo>
                  <a:pt x="1008" y="1236"/>
                </a:lnTo>
                <a:lnTo>
                  <a:pt x="1008" y="1241"/>
                </a:lnTo>
                <a:lnTo>
                  <a:pt x="1008" y="1247"/>
                </a:lnTo>
                <a:lnTo>
                  <a:pt x="1007" y="1252"/>
                </a:lnTo>
                <a:lnTo>
                  <a:pt x="1004" y="1256"/>
                </a:lnTo>
                <a:lnTo>
                  <a:pt x="996" y="1266"/>
                </a:lnTo>
                <a:lnTo>
                  <a:pt x="987" y="1280"/>
                </a:lnTo>
                <a:lnTo>
                  <a:pt x="984" y="1286"/>
                </a:lnTo>
                <a:lnTo>
                  <a:pt x="981" y="1293"/>
                </a:lnTo>
                <a:lnTo>
                  <a:pt x="980" y="1298"/>
                </a:lnTo>
                <a:lnTo>
                  <a:pt x="980" y="1302"/>
                </a:lnTo>
                <a:lnTo>
                  <a:pt x="982" y="1310"/>
                </a:lnTo>
                <a:lnTo>
                  <a:pt x="983" y="1319"/>
                </a:lnTo>
                <a:lnTo>
                  <a:pt x="984" y="1323"/>
                </a:lnTo>
                <a:lnTo>
                  <a:pt x="987" y="1327"/>
                </a:lnTo>
                <a:lnTo>
                  <a:pt x="993" y="1332"/>
                </a:lnTo>
                <a:lnTo>
                  <a:pt x="999" y="1339"/>
                </a:lnTo>
                <a:lnTo>
                  <a:pt x="1014" y="1348"/>
                </a:lnTo>
                <a:lnTo>
                  <a:pt x="1025" y="1357"/>
                </a:lnTo>
                <a:lnTo>
                  <a:pt x="1030" y="1361"/>
                </a:lnTo>
                <a:lnTo>
                  <a:pt x="1033" y="1364"/>
                </a:lnTo>
                <a:lnTo>
                  <a:pt x="1036" y="1367"/>
                </a:lnTo>
                <a:lnTo>
                  <a:pt x="1036" y="1371"/>
                </a:lnTo>
                <a:lnTo>
                  <a:pt x="1037" y="1380"/>
                </a:lnTo>
                <a:lnTo>
                  <a:pt x="1039" y="1387"/>
                </a:lnTo>
                <a:lnTo>
                  <a:pt x="1041" y="1390"/>
                </a:lnTo>
                <a:lnTo>
                  <a:pt x="1043" y="1393"/>
                </a:lnTo>
                <a:lnTo>
                  <a:pt x="1045" y="1394"/>
                </a:lnTo>
                <a:lnTo>
                  <a:pt x="1047" y="1394"/>
                </a:lnTo>
                <a:lnTo>
                  <a:pt x="1050" y="1393"/>
                </a:lnTo>
                <a:lnTo>
                  <a:pt x="1054" y="1389"/>
                </a:lnTo>
                <a:lnTo>
                  <a:pt x="1059" y="1383"/>
                </a:lnTo>
                <a:lnTo>
                  <a:pt x="1064" y="1376"/>
                </a:lnTo>
                <a:lnTo>
                  <a:pt x="1072" y="1364"/>
                </a:lnTo>
                <a:lnTo>
                  <a:pt x="1075" y="1358"/>
                </a:lnTo>
                <a:lnTo>
                  <a:pt x="1079" y="1359"/>
                </a:lnTo>
                <a:lnTo>
                  <a:pt x="1086" y="1360"/>
                </a:lnTo>
                <a:lnTo>
                  <a:pt x="1089" y="1359"/>
                </a:lnTo>
                <a:lnTo>
                  <a:pt x="1093" y="1359"/>
                </a:lnTo>
                <a:lnTo>
                  <a:pt x="1095" y="1357"/>
                </a:lnTo>
                <a:lnTo>
                  <a:pt x="1096" y="1353"/>
                </a:lnTo>
                <a:lnTo>
                  <a:pt x="1097" y="1344"/>
                </a:lnTo>
                <a:lnTo>
                  <a:pt x="1099" y="1331"/>
                </a:lnTo>
                <a:lnTo>
                  <a:pt x="1103" y="1319"/>
                </a:lnTo>
                <a:lnTo>
                  <a:pt x="1106" y="1309"/>
                </a:lnTo>
                <a:lnTo>
                  <a:pt x="1119" y="1296"/>
                </a:lnTo>
                <a:lnTo>
                  <a:pt x="1130" y="1287"/>
                </a:lnTo>
                <a:close/>
                <a:moveTo>
                  <a:pt x="1408" y="1198"/>
                </a:moveTo>
                <a:lnTo>
                  <a:pt x="1409" y="1203"/>
                </a:lnTo>
                <a:lnTo>
                  <a:pt x="1413" y="1210"/>
                </a:lnTo>
                <a:lnTo>
                  <a:pt x="1420" y="1217"/>
                </a:lnTo>
                <a:lnTo>
                  <a:pt x="1427" y="1226"/>
                </a:lnTo>
                <a:lnTo>
                  <a:pt x="1436" y="1233"/>
                </a:lnTo>
                <a:lnTo>
                  <a:pt x="1443" y="1237"/>
                </a:lnTo>
                <a:lnTo>
                  <a:pt x="1446" y="1238"/>
                </a:lnTo>
                <a:lnTo>
                  <a:pt x="1449" y="1238"/>
                </a:lnTo>
                <a:lnTo>
                  <a:pt x="1452" y="1238"/>
                </a:lnTo>
                <a:lnTo>
                  <a:pt x="1454" y="1236"/>
                </a:lnTo>
                <a:lnTo>
                  <a:pt x="1458" y="1228"/>
                </a:lnTo>
                <a:lnTo>
                  <a:pt x="1462" y="1222"/>
                </a:lnTo>
                <a:lnTo>
                  <a:pt x="1464" y="1219"/>
                </a:lnTo>
                <a:lnTo>
                  <a:pt x="1464" y="1215"/>
                </a:lnTo>
                <a:lnTo>
                  <a:pt x="1462" y="1211"/>
                </a:lnTo>
                <a:lnTo>
                  <a:pt x="1460" y="1204"/>
                </a:lnTo>
                <a:lnTo>
                  <a:pt x="1456" y="1197"/>
                </a:lnTo>
                <a:lnTo>
                  <a:pt x="1453" y="1193"/>
                </a:lnTo>
                <a:lnTo>
                  <a:pt x="1448" y="1190"/>
                </a:lnTo>
                <a:lnTo>
                  <a:pt x="1445" y="1188"/>
                </a:lnTo>
                <a:lnTo>
                  <a:pt x="1441" y="1188"/>
                </a:lnTo>
                <a:lnTo>
                  <a:pt x="1438" y="1188"/>
                </a:lnTo>
                <a:lnTo>
                  <a:pt x="1434" y="1189"/>
                </a:lnTo>
                <a:lnTo>
                  <a:pt x="1428" y="1191"/>
                </a:lnTo>
                <a:lnTo>
                  <a:pt x="1413" y="1196"/>
                </a:lnTo>
                <a:lnTo>
                  <a:pt x="1408" y="1198"/>
                </a:lnTo>
                <a:close/>
                <a:moveTo>
                  <a:pt x="1507" y="1516"/>
                </a:moveTo>
                <a:lnTo>
                  <a:pt x="1498" y="1505"/>
                </a:lnTo>
                <a:lnTo>
                  <a:pt x="1487" y="1494"/>
                </a:lnTo>
                <a:lnTo>
                  <a:pt x="1483" y="1489"/>
                </a:lnTo>
                <a:lnTo>
                  <a:pt x="1481" y="1483"/>
                </a:lnTo>
                <a:lnTo>
                  <a:pt x="1480" y="1481"/>
                </a:lnTo>
                <a:lnTo>
                  <a:pt x="1480" y="1479"/>
                </a:lnTo>
                <a:lnTo>
                  <a:pt x="1481" y="1477"/>
                </a:lnTo>
                <a:lnTo>
                  <a:pt x="1482" y="1476"/>
                </a:lnTo>
                <a:lnTo>
                  <a:pt x="1487" y="1474"/>
                </a:lnTo>
                <a:lnTo>
                  <a:pt x="1494" y="1472"/>
                </a:lnTo>
                <a:lnTo>
                  <a:pt x="1503" y="1472"/>
                </a:lnTo>
                <a:lnTo>
                  <a:pt x="1511" y="1471"/>
                </a:lnTo>
                <a:lnTo>
                  <a:pt x="1519" y="1470"/>
                </a:lnTo>
                <a:lnTo>
                  <a:pt x="1526" y="1468"/>
                </a:lnTo>
                <a:lnTo>
                  <a:pt x="1528" y="1467"/>
                </a:lnTo>
                <a:lnTo>
                  <a:pt x="1529" y="1465"/>
                </a:lnTo>
                <a:lnTo>
                  <a:pt x="1530" y="1463"/>
                </a:lnTo>
                <a:lnTo>
                  <a:pt x="1530" y="1461"/>
                </a:lnTo>
                <a:lnTo>
                  <a:pt x="1526" y="1455"/>
                </a:lnTo>
                <a:lnTo>
                  <a:pt x="1518" y="1445"/>
                </a:lnTo>
                <a:lnTo>
                  <a:pt x="1507" y="1432"/>
                </a:lnTo>
                <a:lnTo>
                  <a:pt x="1493" y="1418"/>
                </a:lnTo>
                <a:lnTo>
                  <a:pt x="1481" y="1404"/>
                </a:lnTo>
                <a:lnTo>
                  <a:pt x="1469" y="1391"/>
                </a:lnTo>
                <a:lnTo>
                  <a:pt x="1461" y="1381"/>
                </a:lnTo>
                <a:lnTo>
                  <a:pt x="1458" y="1373"/>
                </a:lnTo>
                <a:lnTo>
                  <a:pt x="1454" y="1355"/>
                </a:lnTo>
                <a:lnTo>
                  <a:pt x="1447" y="1330"/>
                </a:lnTo>
                <a:lnTo>
                  <a:pt x="1441" y="1306"/>
                </a:lnTo>
                <a:lnTo>
                  <a:pt x="1437" y="1294"/>
                </a:lnTo>
                <a:lnTo>
                  <a:pt x="1435" y="1284"/>
                </a:lnTo>
                <a:lnTo>
                  <a:pt x="1434" y="1271"/>
                </a:lnTo>
                <a:lnTo>
                  <a:pt x="1433" y="1258"/>
                </a:lnTo>
                <a:lnTo>
                  <a:pt x="1433" y="1252"/>
                </a:lnTo>
                <a:lnTo>
                  <a:pt x="1425" y="1249"/>
                </a:lnTo>
                <a:lnTo>
                  <a:pt x="1408" y="1241"/>
                </a:lnTo>
                <a:lnTo>
                  <a:pt x="1399" y="1238"/>
                </a:lnTo>
                <a:lnTo>
                  <a:pt x="1391" y="1237"/>
                </a:lnTo>
                <a:lnTo>
                  <a:pt x="1388" y="1237"/>
                </a:lnTo>
                <a:lnTo>
                  <a:pt x="1384" y="1238"/>
                </a:lnTo>
                <a:lnTo>
                  <a:pt x="1383" y="1239"/>
                </a:lnTo>
                <a:lnTo>
                  <a:pt x="1382" y="1242"/>
                </a:lnTo>
                <a:lnTo>
                  <a:pt x="1381" y="1255"/>
                </a:lnTo>
                <a:lnTo>
                  <a:pt x="1380" y="1267"/>
                </a:lnTo>
                <a:lnTo>
                  <a:pt x="1380" y="1274"/>
                </a:lnTo>
                <a:lnTo>
                  <a:pt x="1380" y="1279"/>
                </a:lnTo>
                <a:lnTo>
                  <a:pt x="1382" y="1285"/>
                </a:lnTo>
                <a:lnTo>
                  <a:pt x="1386" y="1291"/>
                </a:lnTo>
                <a:lnTo>
                  <a:pt x="1394" y="1301"/>
                </a:lnTo>
                <a:lnTo>
                  <a:pt x="1401" y="1313"/>
                </a:lnTo>
                <a:lnTo>
                  <a:pt x="1403" y="1319"/>
                </a:lnTo>
                <a:lnTo>
                  <a:pt x="1404" y="1323"/>
                </a:lnTo>
                <a:lnTo>
                  <a:pt x="1404" y="1327"/>
                </a:lnTo>
                <a:lnTo>
                  <a:pt x="1403" y="1330"/>
                </a:lnTo>
                <a:lnTo>
                  <a:pt x="1394" y="1337"/>
                </a:lnTo>
                <a:lnTo>
                  <a:pt x="1380" y="1343"/>
                </a:lnTo>
                <a:lnTo>
                  <a:pt x="1374" y="1345"/>
                </a:lnTo>
                <a:lnTo>
                  <a:pt x="1368" y="1346"/>
                </a:lnTo>
                <a:lnTo>
                  <a:pt x="1366" y="1345"/>
                </a:lnTo>
                <a:lnTo>
                  <a:pt x="1364" y="1344"/>
                </a:lnTo>
                <a:lnTo>
                  <a:pt x="1361" y="1342"/>
                </a:lnTo>
                <a:lnTo>
                  <a:pt x="1361" y="1340"/>
                </a:lnTo>
                <a:lnTo>
                  <a:pt x="1360" y="1322"/>
                </a:lnTo>
                <a:lnTo>
                  <a:pt x="1361" y="1299"/>
                </a:lnTo>
                <a:lnTo>
                  <a:pt x="1361" y="1288"/>
                </a:lnTo>
                <a:lnTo>
                  <a:pt x="1359" y="1280"/>
                </a:lnTo>
                <a:lnTo>
                  <a:pt x="1358" y="1277"/>
                </a:lnTo>
                <a:lnTo>
                  <a:pt x="1357" y="1274"/>
                </a:lnTo>
                <a:lnTo>
                  <a:pt x="1354" y="1273"/>
                </a:lnTo>
                <a:lnTo>
                  <a:pt x="1352" y="1272"/>
                </a:lnTo>
                <a:lnTo>
                  <a:pt x="1349" y="1273"/>
                </a:lnTo>
                <a:lnTo>
                  <a:pt x="1346" y="1274"/>
                </a:lnTo>
                <a:lnTo>
                  <a:pt x="1343" y="1277"/>
                </a:lnTo>
                <a:lnTo>
                  <a:pt x="1338" y="1280"/>
                </a:lnTo>
                <a:lnTo>
                  <a:pt x="1332" y="1287"/>
                </a:lnTo>
                <a:lnTo>
                  <a:pt x="1326" y="1296"/>
                </a:lnTo>
                <a:lnTo>
                  <a:pt x="1320" y="1304"/>
                </a:lnTo>
                <a:lnTo>
                  <a:pt x="1313" y="1309"/>
                </a:lnTo>
                <a:lnTo>
                  <a:pt x="1310" y="1310"/>
                </a:lnTo>
                <a:lnTo>
                  <a:pt x="1308" y="1311"/>
                </a:lnTo>
                <a:lnTo>
                  <a:pt x="1305" y="1310"/>
                </a:lnTo>
                <a:lnTo>
                  <a:pt x="1303" y="1308"/>
                </a:lnTo>
                <a:lnTo>
                  <a:pt x="1299" y="1302"/>
                </a:lnTo>
                <a:lnTo>
                  <a:pt x="1296" y="1294"/>
                </a:lnTo>
                <a:lnTo>
                  <a:pt x="1294" y="1285"/>
                </a:lnTo>
                <a:lnTo>
                  <a:pt x="1293" y="1277"/>
                </a:lnTo>
                <a:lnTo>
                  <a:pt x="1293" y="1269"/>
                </a:lnTo>
                <a:lnTo>
                  <a:pt x="1292" y="1261"/>
                </a:lnTo>
                <a:lnTo>
                  <a:pt x="1290" y="1256"/>
                </a:lnTo>
                <a:lnTo>
                  <a:pt x="1288" y="1252"/>
                </a:lnTo>
                <a:lnTo>
                  <a:pt x="1286" y="1252"/>
                </a:lnTo>
                <a:lnTo>
                  <a:pt x="1284" y="1252"/>
                </a:lnTo>
                <a:lnTo>
                  <a:pt x="1281" y="1254"/>
                </a:lnTo>
                <a:lnTo>
                  <a:pt x="1278" y="1256"/>
                </a:lnTo>
                <a:lnTo>
                  <a:pt x="1270" y="1262"/>
                </a:lnTo>
                <a:lnTo>
                  <a:pt x="1262" y="1269"/>
                </a:lnTo>
                <a:lnTo>
                  <a:pt x="1255" y="1276"/>
                </a:lnTo>
                <a:lnTo>
                  <a:pt x="1247" y="1280"/>
                </a:lnTo>
                <a:lnTo>
                  <a:pt x="1245" y="1281"/>
                </a:lnTo>
                <a:lnTo>
                  <a:pt x="1242" y="1282"/>
                </a:lnTo>
                <a:lnTo>
                  <a:pt x="1240" y="1281"/>
                </a:lnTo>
                <a:lnTo>
                  <a:pt x="1239" y="1279"/>
                </a:lnTo>
                <a:lnTo>
                  <a:pt x="1238" y="1273"/>
                </a:lnTo>
                <a:lnTo>
                  <a:pt x="1237" y="1264"/>
                </a:lnTo>
                <a:lnTo>
                  <a:pt x="1238" y="1257"/>
                </a:lnTo>
                <a:lnTo>
                  <a:pt x="1238" y="1249"/>
                </a:lnTo>
                <a:lnTo>
                  <a:pt x="1238" y="1241"/>
                </a:lnTo>
                <a:lnTo>
                  <a:pt x="1238" y="1236"/>
                </a:lnTo>
                <a:lnTo>
                  <a:pt x="1237" y="1235"/>
                </a:lnTo>
                <a:lnTo>
                  <a:pt x="1236" y="1234"/>
                </a:lnTo>
                <a:lnTo>
                  <a:pt x="1235" y="1233"/>
                </a:lnTo>
                <a:lnTo>
                  <a:pt x="1233" y="1234"/>
                </a:lnTo>
                <a:lnTo>
                  <a:pt x="1217" y="1240"/>
                </a:lnTo>
                <a:lnTo>
                  <a:pt x="1191" y="1252"/>
                </a:lnTo>
                <a:lnTo>
                  <a:pt x="1178" y="1259"/>
                </a:lnTo>
                <a:lnTo>
                  <a:pt x="1168" y="1265"/>
                </a:lnTo>
                <a:lnTo>
                  <a:pt x="1163" y="1270"/>
                </a:lnTo>
                <a:lnTo>
                  <a:pt x="1160" y="1273"/>
                </a:lnTo>
                <a:lnTo>
                  <a:pt x="1158" y="1276"/>
                </a:lnTo>
                <a:lnTo>
                  <a:pt x="1158" y="1279"/>
                </a:lnTo>
                <a:lnTo>
                  <a:pt x="1159" y="1299"/>
                </a:lnTo>
                <a:lnTo>
                  <a:pt x="1158" y="1307"/>
                </a:lnTo>
                <a:lnTo>
                  <a:pt x="1152" y="1309"/>
                </a:lnTo>
                <a:lnTo>
                  <a:pt x="1138" y="1314"/>
                </a:lnTo>
                <a:lnTo>
                  <a:pt x="1132" y="1318"/>
                </a:lnTo>
                <a:lnTo>
                  <a:pt x="1127" y="1322"/>
                </a:lnTo>
                <a:lnTo>
                  <a:pt x="1125" y="1324"/>
                </a:lnTo>
                <a:lnTo>
                  <a:pt x="1124" y="1326"/>
                </a:lnTo>
                <a:lnTo>
                  <a:pt x="1124" y="1328"/>
                </a:lnTo>
                <a:lnTo>
                  <a:pt x="1124" y="1331"/>
                </a:lnTo>
                <a:lnTo>
                  <a:pt x="1128" y="1337"/>
                </a:lnTo>
                <a:lnTo>
                  <a:pt x="1134" y="1344"/>
                </a:lnTo>
                <a:lnTo>
                  <a:pt x="1141" y="1350"/>
                </a:lnTo>
                <a:lnTo>
                  <a:pt x="1149" y="1357"/>
                </a:lnTo>
                <a:lnTo>
                  <a:pt x="1157" y="1362"/>
                </a:lnTo>
                <a:lnTo>
                  <a:pt x="1164" y="1366"/>
                </a:lnTo>
                <a:lnTo>
                  <a:pt x="1172" y="1369"/>
                </a:lnTo>
                <a:lnTo>
                  <a:pt x="1176" y="1369"/>
                </a:lnTo>
                <a:lnTo>
                  <a:pt x="1180" y="1367"/>
                </a:lnTo>
                <a:lnTo>
                  <a:pt x="1185" y="1363"/>
                </a:lnTo>
                <a:lnTo>
                  <a:pt x="1191" y="1358"/>
                </a:lnTo>
                <a:lnTo>
                  <a:pt x="1196" y="1352"/>
                </a:lnTo>
                <a:lnTo>
                  <a:pt x="1200" y="1347"/>
                </a:lnTo>
                <a:lnTo>
                  <a:pt x="1204" y="1344"/>
                </a:lnTo>
                <a:lnTo>
                  <a:pt x="1206" y="1344"/>
                </a:lnTo>
                <a:lnTo>
                  <a:pt x="1207" y="1344"/>
                </a:lnTo>
                <a:lnTo>
                  <a:pt x="1208" y="1345"/>
                </a:lnTo>
                <a:lnTo>
                  <a:pt x="1210" y="1346"/>
                </a:lnTo>
                <a:lnTo>
                  <a:pt x="1210" y="1352"/>
                </a:lnTo>
                <a:lnTo>
                  <a:pt x="1206" y="1358"/>
                </a:lnTo>
                <a:lnTo>
                  <a:pt x="1203" y="1364"/>
                </a:lnTo>
                <a:lnTo>
                  <a:pt x="1199" y="1369"/>
                </a:lnTo>
                <a:lnTo>
                  <a:pt x="1190" y="1379"/>
                </a:lnTo>
                <a:lnTo>
                  <a:pt x="1185" y="1383"/>
                </a:lnTo>
                <a:lnTo>
                  <a:pt x="1179" y="1379"/>
                </a:lnTo>
                <a:lnTo>
                  <a:pt x="1167" y="1373"/>
                </a:lnTo>
                <a:lnTo>
                  <a:pt x="1162" y="1372"/>
                </a:lnTo>
                <a:lnTo>
                  <a:pt x="1159" y="1372"/>
                </a:lnTo>
                <a:lnTo>
                  <a:pt x="1156" y="1372"/>
                </a:lnTo>
                <a:lnTo>
                  <a:pt x="1153" y="1373"/>
                </a:lnTo>
                <a:lnTo>
                  <a:pt x="1151" y="1374"/>
                </a:lnTo>
                <a:lnTo>
                  <a:pt x="1149" y="1376"/>
                </a:lnTo>
                <a:lnTo>
                  <a:pt x="1148" y="1380"/>
                </a:lnTo>
                <a:lnTo>
                  <a:pt x="1148" y="1385"/>
                </a:lnTo>
                <a:lnTo>
                  <a:pt x="1149" y="1394"/>
                </a:lnTo>
                <a:lnTo>
                  <a:pt x="1152" y="1403"/>
                </a:lnTo>
                <a:lnTo>
                  <a:pt x="1156" y="1411"/>
                </a:lnTo>
                <a:lnTo>
                  <a:pt x="1161" y="1417"/>
                </a:lnTo>
                <a:lnTo>
                  <a:pt x="1167" y="1423"/>
                </a:lnTo>
                <a:lnTo>
                  <a:pt x="1173" y="1427"/>
                </a:lnTo>
                <a:lnTo>
                  <a:pt x="1178" y="1429"/>
                </a:lnTo>
                <a:lnTo>
                  <a:pt x="1182" y="1429"/>
                </a:lnTo>
                <a:lnTo>
                  <a:pt x="1196" y="1425"/>
                </a:lnTo>
                <a:lnTo>
                  <a:pt x="1218" y="1418"/>
                </a:lnTo>
                <a:lnTo>
                  <a:pt x="1229" y="1416"/>
                </a:lnTo>
                <a:lnTo>
                  <a:pt x="1243" y="1414"/>
                </a:lnTo>
                <a:lnTo>
                  <a:pt x="1255" y="1413"/>
                </a:lnTo>
                <a:lnTo>
                  <a:pt x="1267" y="1414"/>
                </a:lnTo>
                <a:lnTo>
                  <a:pt x="1277" y="1416"/>
                </a:lnTo>
                <a:lnTo>
                  <a:pt x="1286" y="1418"/>
                </a:lnTo>
                <a:lnTo>
                  <a:pt x="1292" y="1420"/>
                </a:lnTo>
                <a:lnTo>
                  <a:pt x="1298" y="1424"/>
                </a:lnTo>
                <a:lnTo>
                  <a:pt x="1301" y="1426"/>
                </a:lnTo>
                <a:lnTo>
                  <a:pt x="1302" y="1429"/>
                </a:lnTo>
                <a:lnTo>
                  <a:pt x="1301" y="1432"/>
                </a:lnTo>
                <a:lnTo>
                  <a:pt x="1298" y="1436"/>
                </a:lnTo>
                <a:lnTo>
                  <a:pt x="1293" y="1438"/>
                </a:lnTo>
                <a:lnTo>
                  <a:pt x="1287" y="1439"/>
                </a:lnTo>
                <a:lnTo>
                  <a:pt x="1282" y="1439"/>
                </a:lnTo>
                <a:lnTo>
                  <a:pt x="1274" y="1438"/>
                </a:lnTo>
                <a:lnTo>
                  <a:pt x="1267" y="1437"/>
                </a:lnTo>
                <a:lnTo>
                  <a:pt x="1259" y="1436"/>
                </a:lnTo>
                <a:lnTo>
                  <a:pt x="1249" y="1436"/>
                </a:lnTo>
                <a:lnTo>
                  <a:pt x="1239" y="1438"/>
                </a:lnTo>
                <a:lnTo>
                  <a:pt x="1227" y="1439"/>
                </a:lnTo>
                <a:lnTo>
                  <a:pt x="1215" y="1440"/>
                </a:lnTo>
                <a:lnTo>
                  <a:pt x="1202" y="1441"/>
                </a:lnTo>
                <a:lnTo>
                  <a:pt x="1190" y="1441"/>
                </a:lnTo>
                <a:lnTo>
                  <a:pt x="1179" y="1441"/>
                </a:lnTo>
                <a:lnTo>
                  <a:pt x="1171" y="1443"/>
                </a:lnTo>
                <a:lnTo>
                  <a:pt x="1168" y="1445"/>
                </a:lnTo>
                <a:lnTo>
                  <a:pt x="1165" y="1447"/>
                </a:lnTo>
                <a:lnTo>
                  <a:pt x="1164" y="1449"/>
                </a:lnTo>
                <a:lnTo>
                  <a:pt x="1165" y="1451"/>
                </a:lnTo>
                <a:lnTo>
                  <a:pt x="1169" y="1463"/>
                </a:lnTo>
                <a:lnTo>
                  <a:pt x="1175" y="1475"/>
                </a:lnTo>
                <a:lnTo>
                  <a:pt x="1179" y="1480"/>
                </a:lnTo>
                <a:lnTo>
                  <a:pt x="1183" y="1485"/>
                </a:lnTo>
                <a:lnTo>
                  <a:pt x="1187" y="1489"/>
                </a:lnTo>
                <a:lnTo>
                  <a:pt x="1193" y="1492"/>
                </a:lnTo>
                <a:lnTo>
                  <a:pt x="1200" y="1494"/>
                </a:lnTo>
                <a:lnTo>
                  <a:pt x="1208" y="1495"/>
                </a:lnTo>
                <a:lnTo>
                  <a:pt x="1219" y="1494"/>
                </a:lnTo>
                <a:lnTo>
                  <a:pt x="1230" y="1494"/>
                </a:lnTo>
                <a:lnTo>
                  <a:pt x="1241" y="1494"/>
                </a:lnTo>
                <a:lnTo>
                  <a:pt x="1249" y="1495"/>
                </a:lnTo>
                <a:lnTo>
                  <a:pt x="1252" y="1496"/>
                </a:lnTo>
                <a:lnTo>
                  <a:pt x="1256" y="1497"/>
                </a:lnTo>
                <a:lnTo>
                  <a:pt x="1258" y="1499"/>
                </a:lnTo>
                <a:lnTo>
                  <a:pt x="1259" y="1501"/>
                </a:lnTo>
                <a:lnTo>
                  <a:pt x="1260" y="1515"/>
                </a:lnTo>
                <a:lnTo>
                  <a:pt x="1262" y="1528"/>
                </a:lnTo>
                <a:lnTo>
                  <a:pt x="1264" y="1539"/>
                </a:lnTo>
                <a:lnTo>
                  <a:pt x="1265" y="1543"/>
                </a:lnTo>
                <a:lnTo>
                  <a:pt x="1272" y="1544"/>
                </a:lnTo>
                <a:lnTo>
                  <a:pt x="1291" y="1544"/>
                </a:lnTo>
                <a:lnTo>
                  <a:pt x="1302" y="1544"/>
                </a:lnTo>
                <a:lnTo>
                  <a:pt x="1311" y="1543"/>
                </a:lnTo>
                <a:lnTo>
                  <a:pt x="1320" y="1542"/>
                </a:lnTo>
                <a:lnTo>
                  <a:pt x="1326" y="1540"/>
                </a:lnTo>
                <a:lnTo>
                  <a:pt x="1338" y="1536"/>
                </a:lnTo>
                <a:lnTo>
                  <a:pt x="1354" y="1531"/>
                </a:lnTo>
                <a:lnTo>
                  <a:pt x="1362" y="1528"/>
                </a:lnTo>
                <a:lnTo>
                  <a:pt x="1370" y="1525"/>
                </a:lnTo>
                <a:lnTo>
                  <a:pt x="1378" y="1521"/>
                </a:lnTo>
                <a:lnTo>
                  <a:pt x="1384" y="1516"/>
                </a:lnTo>
                <a:lnTo>
                  <a:pt x="1395" y="1504"/>
                </a:lnTo>
                <a:lnTo>
                  <a:pt x="1403" y="1496"/>
                </a:lnTo>
                <a:lnTo>
                  <a:pt x="1409" y="1494"/>
                </a:lnTo>
                <a:lnTo>
                  <a:pt x="1413" y="1494"/>
                </a:lnTo>
                <a:lnTo>
                  <a:pt x="1419" y="1496"/>
                </a:lnTo>
                <a:lnTo>
                  <a:pt x="1426" y="1500"/>
                </a:lnTo>
                <a:lnTo>
                  <a:pt x="1435" y="1506"/>
                </a:lnTo>
                <a:lnTo>
                  <a:pt x="1444" y="1512"/>
                </a:lnTo>
                <a:lnTo>
                  <a:pt x="1454" y="1516"/>
                </a:lnTo>
                <a:lnTo>
                  <a:pt x="1463" y="1519"/>
                </a:lnTo>
                <a:lnTo>
                  <a:pt x="1478" y="1523"/>
                </a:lnTo>
                <a:lnTo>
                  <a:pt x="1487" y="1525"/>
                </a:lnTo>
                <a:lnTo>
                  <a:pt x="1492" y="1524"/>
                </a:lnTo>
                <a:lnTo>
                  <a:pt x="1499" y="1521"/>
                </a:lnTo>
                <a:lnTo>
                  <a:pt x="1504" y="1518"/>
                </a:lnTo>
                <a:lnTo>
                  <a:pt x="1507" y="1516"/>
                </a:lnTo>
                <a:close/>
                <a:moveTo>
                  <a:pt x="2165" y="3195"/>
                </a:moveTo>
                <a:lnTo>
                  <a:pt x="2154" y="3200"/>
                </a:lnTo>
                <a:lnTo>
                  <a:pt x="2136" y="3205"/>
                </a:lnTo>
                <a:lnTo>
                  <a:pt x="2127" y="3208"/>
                </a:lnTo>
                <a:lnTo>
                  <a:pt x="2122" y="3211"/>
                </a:lnTo>
                <a:lnTo>
                  <a:pt x="2120" y="3213"/>
                </a:lnTo>
                <a:lnTo>
                  <a:pt x="2120" y="3216"/>
                </a:lnTo>
                <a:lnTo>
                  <a:pt x="2120" y="3218"/>
                </a:lnTo>
                <a:lnTo>
                  <a:pt x="2122" y="3220"/>
                </a:lnTo>
                <a:lnTo>
                  <a:pt x="2126" y="3226"/>
                </a:lnTo>
                <a:lnTo>
                  <a:pt x="2132" y="3229"/>
                </a:lnTo>
                <a:lnTo>
                  <a:pt x="2137" y="3230"/>
                </a:lnTo>
                <a:lnTo>
                  <a:pt x="2142" y="3231"/>
                </a:lnTo>
                <a:lnTo>
                  <a:pt x="2152" y="3231"/>
                </a:lnTo>
                <a:lnTo>
                  <a:pt x="2162" y="3233"/>
                </a:lnTo>
                <a:lnTo>
                  <a:pt x="2172" y="3237"/>
                </a:lnTo>
                <a:lnTo>
                  <a:pt x="2184" y="3240"/>
                </a:lnTo>
                <a:lnTo>
                  <a:pt x="2189" y="3241"/>
                </a:lnTo>
                <a:lnTo>
                  <a:pt x="2193" y="3242"/>
                </a:lnTo>
                <a:lnTo>
                  <a:pt x="2196" y="3242"/>
                </a:lnTo>
                <a:lnTo>
                  <a:pt x="2199" y="3240"/>
                </a:lnTo>
                <a:lnTo>
                  <a:pt x="2200" y="3236"/>
                </a:lnTo>
                <a:lnTo>
                  <a:pt x="2202" y="3231"/>
                </a:lnTo>
                <a:lnTo>
                  <a:pt x="2203" y="3229"/>
                </a:lnTo>
                <a:lnTo>
                  <a:pt x="2205" y="3228"/>
                </a:lnTo>
                <a:lnTo>
                  <a:pt x="2207" y="3227"/>
                </a:lnTo>
                <a:lnTo>
                  <a:pt x="2210" y="3227"/>
                </a:lnTo>
                <a:lnTo>
                  <a:pt x="2222" y="3227"/>
                </a:lnTo>
                <a:lnTo>
                  <a:pt x="2238" y="3225"/>
                </a:lnTo>
                <a:lnTo>
                  <a:pt x="2247" y="3224"/>
                </a:lnTo>
                <a:lnTo>
                  <a:pt x="2253" y="3222"/>
                </a:lnTo>
                <a:lnTo>
                  <a:pt x="2257" y="3219"/>
                </a:lnTo>
                <a:lnTo>
                  <a:pt x="2257" y="3218"/>
                </a:lnTo>
                <a:lnTo>
                  <a:pt x="2251" y="3212"/>
                </a:lnTo>
                <a:lnTo>
                  <a:pt x="2237" y="3202"/>
                </a:lnTo>
                <a:lnTo>
                  <a:pt x="2229" y="3196"/>
                </a:lnTo>
                <a:lnTo>
                  <a:pt x="2222" y="3192"/>
                </a:lnTo>
                <a:lnTo>
                  <a:pt x="2213" y="3189"/>
                </a:lnTo>
                <a:lnTo>
                  <a:pt x="2207" y="3188"/>
                </a:lnTo>
                <a:lnTo>
                  <a:pt x="2198" y="3188"/>
                </a:lnTo>
                <a:lnTo>
                  <a:pt x="2190" y="3188"/>
                </a:lnTo>
                <a:lnTo>
                  <a:pt x="2188" y="3189"/>
                </a:lnTo>
                <a:lnTo>
                  <a:pt x="2185" y="3190"/>
                </a:lnTo>
                <a:lnTo>
                  <a:pt x="2183" y="3191"/>
                </a:lnTo>
                <a:lnTo>
                  <a:pt x="2181" y="3194"/>
                </a:lnTo>
                <a:lnTo>
                  <a:pt x="2179" y="3196"/>
                </a:lnTo>
                <a:lnTo>
                  <a:pt x="2176" y="3197"/>
                </a:lnTo>
                <a:lnTo>
                  <a:pt x="2173" y="3197"/>
                </a:lnTo>
                <a:lnTo>
                  <a:pt x="2170" y="3197"/>
                </a:lnTo>
                <a:lnTo>
                  <a:pt x="2167" y="3196"/>
                </a:lnTo>
                <a:lnTo>
                  <a:pt x="2165" y="3195"/>
                </a:lnTo>
                <a:close/>
                <a:moveTo>
                  <a:pt x="1907" y="3132"/>
                </a:moveTo>
                <a:lnTo>
                  <a:pt x="1918" y="3124"/>
                </a:lnTo>
                <a:lnTo>
                  <a:pt x="1936" y="3112"/>
                </a:lnTo>
                <a:lnTo>
                  <a:pt x="1946" y="3106"/>
                </a:lnTo>
                <a:lnTo>
                  <a:pt x="1956" y="3103"/>
                </a:lnTo>
                <a:lnTo>
                  <a:pt x="1960" y="3102"/>
                </a:lnTo>
                <a:lnTo>
                  <a:pt x="1964" y="3102"/>
                </a:lnTo>
                <a:lnTo>
                  <a:pt x="1967" y="3103"/>
                </a:lnTo>
                <a:lnTo>
                  <a:pt x="1970" y="3105"/>
                </a:lnTo>
                <a:lnTo>
                  <a:pt x="1975" y="3109"/>
                </a:lnTo>
                <a:lnTo>
                  <a:pt x="1983" y="3113"/>
                </a:lnTo>
                <a:lnTo>
                  <a:pt x="1991" y="3115"/>
                </a:lnTo>
                <a:lnTo>
                  <a:pt x="2000" y="3115"/>
                </a:lnTo>
                <a:lnTo>
                  <a:pt x="2015" y="3116"/>
                </a:lnTo>
                <a:lnTo>
                  <a:pt x="2027" y="3118"/>
                </a:lnTo>
                <a:lnTo>
                  <a:pt x="2040" y="3123"/>
                </a:lnTo>
                <a:lnTo>
                  <a:pt x="2062" y="3132"/>
                </a:lnTo>
                <a:lnTo>
                  <a:pt x="2073" y="3138"/>
                </a:lnTo>
                <a:lnTo>
                  <a:pt x="2083" y="3144"/>
                </a:lnTo>
                <a:lnTo>
                  <a:pt x="2092" y="3149"/>
                </a:lnTo>
                <a:lnTo>
                  <a:pt x="2096" y="3154"/>
                </a:lnTo>
                <a:lnTo>
                  <a:pt x="2103" y="3164"/>
                </a:lnTo>
                <a:lnTo>
                  <a:pt x="2112" y="3172"/>
                </a:lnTo>
                <a:lnTo>
                  <a:pt x="2114" y="3175"/>
                </a:lnTo>
                <a:lnTo>
                  <a:pt x="2115" y="3179"/>
                </a:lnTo>
                <a:lnTo>
                  <a:pt x="2114" y="3181"/>
                </a:lnTo>
                <a:lnTo>
                  <a:pt x="2114" y="3182"/>
                </a:lnTo>
                <a:lnTo>
                  <a:pt x="2112" y="3184"/>
                </a:lnTo>
                <a:lnTo>
                  <a:pt x="2110" y="3185"/>
                </a:lnTo>
                <a:lnTo>
                  <a:pt x="2103" y="3187"/>
                </a:lnTo>
                <a:lnTo>
                  <a:pt x="2095" y="3189"/>
                </a:lnTo>
                <a:lnTo>
                  <a:pt x="2086" y="3190"/>
                </a:lnTo>
                <a:lnTo>
                  <a:pt x="2076" y="3190"/>
                </a:lnTo>
                <a:lnTo>
                  <a:pt x="2067" y="3189"/>
                </a:lnTo>
                <a:lnTo>
                  <a:pt x="2057" y="3188"/>
                </a:lnTo>
                <a:lnTo>
                  <a:pt x="2049" y="3184"/>
                </a:lnTo>
                <a:lnTo>
                  <a:pt x="2042" y="3180"/>
                </a:lnTo>
                <a:lnTo>
                  <a:pt x="2030" y="3168"/>
                </a:lnTo>
                <a:lnTo>
                  <a:pt x="2016" y="3158"/>
                </a:lnTo>
                <a:lnTo>
                  <a:pt x="2009" y="3153"/>
                </a:lnTo>
                <a:lnTo>
                  <a:pt x="2003" y="3150"/>
                </a:lnTo>
                <a:lnTo>
                  <a:pt x="1996" y="3148"/>
                </a:lnTo>
                <a:lnTo>
                  <a:pt x="1990" y="3147"/>
                </a:lnTo>
                <a:lnTo>
                  <a:pt x="1976" y="3145"/>
                </a:lnTo>
                <a:lnTo>
                  <a:pt x="1960" y="3142"/>
                </a:lnTo>
                <a:lnTo>
                  <a:pt x="1952" y="3141"/>
                </a:lnTo>
                <a:lnTo>
                  <a:pt x="1945" y="3141"/>
                </a:lnTo>
                <a:lnTo>
                  <a:pt x="1941" y="3141"/>
                </a:lnTo>
                <a:lnTo>
                  <a:pt x="1938" y="3142"/>
                </a:lnTo>
                <a:lnTo>
                  <a:pt x="1937" y="3143"/>
                </a:lnTo>
                <a:lnTo>
                  <a:pt x="1937" y="3145"/>
                </a:lnTo>
                <a:lnTo>
                  <a:pt x="1938" y="3147"/>
                </a:lnTo>
                <a:lnTo>
                  <a:pt x="1939" y="3148"/>
                </a:lnTo>
                <a:lnTo>
                  <a:pt x="1939" y="3150"/>
                </a:lnTo>
                <a:lnTo>
                  <a:pt x="1938" y="3151"/>
                </a:lnTo>
                <a:lnTo>
                  <a:pt x="1936" y="3151"/>
                </a:lnTo>
                <a:lnTo>
                  <a:pt x="1931" y="3151"/>
                </a:lnTo>
                <a:lnTo>
                  <a:pt x="1921" y="3149"/>
                </a:lnTo>
                <a:lnTo>
                  <a:pt x="1914" y="3146"/>
                </a:lnTo>
                <a:lnTo>
                  <a:pt x="1907" y="3144"/>
                </a:lnTo>
                <a:lnTo>
                  <a:pt x="1904" y="3142"/>
                </a:lnTo>
                <a:lnTo>
                  <a:pt x="1905" y="3137"/>
                </a:lnTo>
                <a:lnTo>
                  <a:pt x="1907" y="3132"/>
                </a:lnTo>
                <a:close/>
                <a:moveTo>
                  <a:pt x="3808" y="2685"/>
                </a:moveTo>
                <a:lnTo>
                  <a:pt x="3796" y="2692"/>
                </a:lnTo>
                <a:lnTo>
                  <a:pt x="3783" y="2704"/>
                </a:lnTo>
                <a:lnTo>
                  <a:pt x="3783" y="2707"/>
                </a:lnTo>
                <a:lnTo>
                  <a:pt x="3785" y="2712"/>
                </a:lnTo>
                <a:lnTo>
                  <a:pt x="3786" y="2714"/>
                </a:lnTo>
                <a:lnTo>
                  <a:pt x="3787" y="2716"/>
                </a:lnTo>
                <a:lnTo>
                  <a:pt x="3789" y="2716"/>
                </a:lnTo>
                <a:lnTo>
                  <a:pt x="3790" y="2716"/>
                </a:lnTo>
                <a:lnTo>
                  <a:pt x="3797" y="2706"/>
                </a:lnTo>
                <a:lnTo>
                  <a:pt x="3805" y="2699"/>
                </a:lnTo>
                <a:lnTo>
                  <a:pt x="3808" y="2698"/>
                </a:lnTo>
                <a:lnTo>
                  <a:pt x="3811" y="2697"/>
                </a:lnTo>
                <a:lnTo>
                  <a:pt x="3815" y="2697"/>
                </a:lnTo>
                <a:lnTo>
                  <a:pt x="3823" y="2698"/>
                </a:lnTo>
                <a:lnTo>
                  <a:pt x="3826" y="2699"/>
                </a:lnTo>
                <a:lnTo>
                  <a:pt x="3829" y="2698"/>
                </a:lnTo>
                <a:lnTo>
                  <a:pt x="3831" y="2697"/>
                </a:lnTo>
                <a:lnTo>
                  <a:pt x="3833" y="2696"/>
                </a:lnTo>
                <a:lnTo>
                  <a:pt x="3836" y="2691"/>
                </a:lnTo>
                <a:lnTo>
                  <a:pt x="3840" y="2687"/>
                </a:lnTo>
                <a:lnTo>
                  <a:pt x="3847" y="2685"/>
                </a:lnTo>
                <a:lnTo>
                  <a:pt x="3853" y="2683"/>
                </a:lnTo>
                <a:lnTo>
                  <a:pt x="3856" y="2682"/>
                </a:lnTo>
                <a:lnTo>
                  <a:pt x="3857" y="2680"/>
                </a:lnTo>
                <a:lnTo>
                  <a:pt x="3856" y="2677"/>
                </a:lnTo>
                <a:lnTo>
                  <a:pt x="3853" y="2672"/>
                </a:lnTo>
                <a:lnTo>
                  <a:pt x="3849" y="2667"/>
                </a:lnTo>
                <a:lnTo>
                  <a:pt x="3845" y="2664"/>
                </a:lnTo>
                <a:lnTo>
                  <a:pt x="3840" y="2662"/>
                </a:lnTo>
                <a:lnTo>
                  <a:pt x="3837" y="2661"/>
                </a:lnTo>
                <a:lnTo>
                  <a:pt x="3834" y="2660"/>
                </a:lnTo>
                <a:lnTo>
                  <a:pt x="3832" y="2661"/>
                </a:lnTo>
                <a:lnTo>
                  <a:pt x="3830" y="2662"/>
                </a:lnTo>
                <a:lnTo>
                  <a:pt x="3828" y="2664"/>
                </a:lnTo>
                <a:lnTo>
                  <a:pt x="3818" y="2678"/>
                </a:lnTo>
                <a:lnTo>
                  <a:pt x="3813" y="2685"/>
                </a:lnTo>
                <a:lnTo>
                  <a:pt x="3808" y="2685"/>
                </a:lnTo>
                <a:close/>
                <a:moveTo>
                  <a:pt x="3951" y="2588"/>
                </a:moveTo>
                <a:lnTo>
                  <a:pt x="3947" y="2597"/>
                </a:lnTo>
                <a:lnTo>
                  <a:pt x="3944" y="2604"/>
                </a:lnTo>
                <a:lnTo>
                  <a:pt x="3944" y="2608"/>
                </a:lnTo>
                <a:lnTo>
                  <a:pt x="3944" y="2612"/>
                </a:lnTo>
                <a:lnTo>
                  <a:pt x="3946" y="2615"/>
                </a:lnTo>
                <a:lnTo>
                  <a:pt x="3948" y="2619"/>
                </a:lnTo>
                <a:lnTo>
                  <a:pt x="3951" y="2626"/>
                </a:lnTo>
                <a:lnTo>
                  <a:pt x="3954" y="2634"/>
                </a:lnTo>
                <a:lnTo>
                  <a:pt x="3954" y="2637"/>
                </a:lnTo>
                <a:lnTo>
                  <a:pt x="3953" y="2640"/>
                </a:lnTo>
                <a:lnTo>
                  <a:pt x="3951" y="2642"/>
                </a:lnTo>
                <a:lnTo>
                  <a:pt x="3948" y="2643"/>
                </a:lnTo>
                <a:lnTo>
                  <a:pt x="3942" y="2646"/>
                </a:lnTo>
                <a:lnTo>
                  <a:pt x="3934" y="2647"/>
                </a:lnTo>
                <a:lnTo>
                  <a:pt x="3931" y="2648"/>
                </a:lnTo>
                <a:lnTo>
                  <a:pt x="3928" y="2650"/>
                </a:lnTo>
                <a:lnTo>
                  <a:pt x="3927" y="2653"/>
                </a:lnTo>
                <a:lnTo>
                  <a:pt x="3928" y="2656"/>
                </a:lnTo>
                <a:lnTo>
                  <a:pt x="3934" y="2662"/>
                </a:lnTo>
                <a:lnTo>
                  <a:pt x="3939" y="2668"/>
                </a:lnTo>
                <a:lnTo>
                  <a:pt x="3941" y="2671"/>
                </a:lnTo>
                <a:lnTo>
                  <a:pt x="3943" y="2675"/>
                </a:lnTo>
                <a:lnTo>
                  <a:pt x="3943" y="2679"/>
                </a:lnTo>
                <a:lnTo>
                  <a:pt x="3942" y="2682"/>
                </a:lnTo>
                <a:lnTo>
                  <a:pt x="3941" y="2686"/>
                </a:lnTo>
                <a:lnTo>
                  <a:pt x="3941" y="2690"/>
                </a:lnTo>
                <a:lnTo>
                  <a:pt x="3942" y="2694"/>
                </a:lnTo>
                <a:lnTo>
                  <a:pt x="3943" y="2699"/>
                </a:lnTo>
                <a:lnTo>
                  <a:pt x="3945" y="2706"/>
                </a:lnTo>
                <a:lnTo>
                  <a:pt x="3947" y="2708"/>
                </a:lnTo>
                <a:lnTo>
                  <a:pt x="3951" y="2710"/>
                </a:lnTo>
                <a:lnTo>
                  <a:pt x="3961" y="2713"/>
                </a:lnTo>
                <a:lnTo>
                  <a:pt x="3966" y="2713"/>
                </a:lnTo>
                <a:lnTo>
                  <a:pt x="3971" y="2712"/>
                </a:lnTo>
                <a:lnTo>
                  <a:pt x="3972" y="2711"/>
                </a:lnTo>
                <a:lnTo>
                  <a:pt x="3973" y="2709"/>
                </a:lnTo>
                <a:lnTo>
                  <a:pt x="3975" y="2706"/>
                </a:lnTo>
                <a:lnTo>
                  <a:pt x="3975" y="2703"/>
                </a:lnTo>
                <a:lnTo>
                  <a:pt x="3973" y="2687"/>
                </a:lnTo>
                <a:lnTo>
                  <a:pt x="3975" y="2672"/>
                </a:lnTo>
                <a:lnTo>
                  <a:pt x="3976" y="2661"/>
                </a:lnTo>
                <a:lnTo>
                  <a:pt x="3975" y="2654"/>
                </a:lnTo>
                <a:lnTo>
                  <a:pt x="3971" y="2650"/>
                </a:lnTo>
                <a:lnTo>
                  <a:pt x="3968" y="2646"/>
                </a:lnTo>
                <a:lnTo>
                  <a:pt x="3967" y="2644"/>
                </a:lnTo>
                <a:lnTo>
                  <a:pt x="3966" y="2640"/>
                </a:lnTo>
                <a:lnTo>
                  <a:pt x="3966" y="2635"/>
                </a:lnTo>
                <a:lnTo>
                  <a:pt x="3968" y="2628"/>
                </a:lnTo>
                <a:lnTo>
                  <a:pt x="3971" y="2616"/>
                </a:lnTo>
                <a:lnTo>
                  <a:pt x="3972" y="2605"/>
                </a:lnTo>
                <a:lnTo>
                  <a:pt x="3971" y="2601"/>
                </a:lnTo>
                <a:lnTo>
                  <a:pt x="3970" y="2598"/>
                </a:lnTo>
                <a:lnTo>
                  <a:pt x="3969" y="2595"/>
                </a:lnTo>
                <a:lnTo>
                  <a:pt x="3968" y="2593"/>
                </a:lnTo>
                <a:lnTo>
                  <a:pt x="3963" y="2590"/>
                </a:lnTo>
                <a:lnTo>
                  <a:pt x="3959" y="2589"/>
                </a:lnTo>
                <a:lnTo>
                  <a:pt x="3954" y="2589"/>
                </a:lnTo>
                <a:lnTo>
                  <a:pt x="3951" y="2588"/>
                </a:lnTo>
                <a:close/>
                <a:moveTo>
                  <a:pt x="5530" y="3421"/>
                </a:moveTo>
                <a:lnTo>
                  <a:pt x="5526" y="3429"/>
                </a:lnTo>
                <a:lnTo>
                  <a:pt x="5520" y="3442"/>
                </a:lnTo>
                <a:lnTo>
                  <a:pt x="5517" y="3448"/>
                </a:lnTo>
                <a:lnTo>
                  <a:pt x="5515" y="3454"/>
                </a:lnTo>
                <a:lnTo>
                  <a:pt x="5514" y="3460"/>
                </a:lnTo>
                <a:lnTo>
                  <a:pt x="5515" y="3465"/>
                </a:lnTo>
                <a:lnTo>
                  <a:pt x="5518" y="3474"/>
                </a:lnTo>
                <a:lnTo>
                  <a:pt x="5523" y="3487"/>
                </a:lnTo>
                <a:lnTo>
                  <a:pt x="5526" y="3493"/>
                </a:lnTo>
                <a:lnTo>
                  <a:pt x="5529" y="3498"/>
                </a:lnTo>
                <a:lnTo>
                  <a:pt x="5533" y="3503"/>
                </a:lnTo>
                <a:lnTo>
                  <a:pt x="5537" y="3507"/>
                </a:lnTo>
                <a:lnTo>
                  <a:pt x="5541" y="3509"/>
                </a:lnTo>
                <a:lnTo>
                  <a:pt x="5545" y="3509"/>
                </a:lnTo>
                <a:lnTo>
                  <a:pt x="5549" y="3507"/>
                </a:lnTo>
                <a:lnTo>
                  <a:pt x="5553" y="3504"/>
                </a:lnTo>
                <a:lnTo>
                  <a:pt x="5561" y="3498"/>
                </a:lnTo>
                <a:lnTo>
                  <a:pt x="5563" y="3494"/>
                </a:lnTo>
                <a:lnTo>
                  <a:pt x="5565" y="3490"/>
                </a:lnTo>
                <a:lnTo>
                  <a:pt x="5569" y="3485"/>
                </a:lnTo>
                <a:lnTo>
                  <a:pt x="5571" y="3481"/>
                </a:lnTo>
                <a:lnTo>
                  <a:pt x="5572" y="3478"/>
                </a:lnTo>
                <a:lnTo>
                  <a:pt x="5572" y="3475"/>
                </a:lnTo>
                <a:lnTo>
                  <a:pt x="5572" y="3472"/>
                </a:lnTo>
                <a:lnTo>
                  <a:pt x="5563" y="3458"/>
                </a:lnTo>
                <a:lnTo>
                  <a:pt x="5555" y="3445"/>
                </a:lnTo>
                <a:lnTo>
                  <a:pt x="5544" y="3431"/>
                </a:lnTo>
                <a:lnTo>
                  <a:pt x="5537" y="3424"/>
                </a:lnTo>
                <a:lnTo>
                  <a:pt x="5534" y="3422"/>
                </a:lnTo>
                <a:lnTo>
                  <a:pt x="5530" y="3421"/>
                </a:lnTo>
                <a:close/>
                <a:moveTo>
                  <a:pt x="6631" y="2898"/>
                </a:moveTo>
                <a:lnTo>
                  <a:pt x="6633" y="2902"/>
                </a:lnTo>
                <a:lnTo>
                  <a:pt x="6635" y="2904"/>
                </a:lnTo>
                <a:lnTo>
                  <a:pt x="6637" y="2906"/>
                </a:lnTo>
                <a:lnTo>
                  <a:pt x="6639" y="2906"/>
                </a:lnTo>
                <a:lnTo>
                  <a:pt x="6643" y="2905"/>
                </a:lnTo>
                <a:lnTo>
                  <a:pt x="6648" y="2902"/>
                </a:lnTo>
                <a:lnTo>
                  <a:pt x="6659" y="2890"/>
                </a:lnTo>
                <a:lnTo>
                  <a:pt x="6669" y="2880"/>
                </a:lnTo>
                <a:lnTo>
                  <a:pt x="6677" y="2876"/>
                </a:lnTo>
                <a:lnTo>
                  <a:pt x="6685" y="2872"/>
                </a:lnTo>
                <a:lnTo>
                  <a:pt x="6696" y="2868"/>
                </a:lnTo>
                <a:lnTo>
                  <a:pt x="6706" y="2866"/>
                </a:lnTo>
                <a:lnTo>
                  <a:pt x="6725" y="2862"/>
                </a:lnTo>
                <a:lnTo>
                  <a:pt x="6735" y="2860"/>
                </a:lnTo>
                <a:lnTo>
                  <a:pt x="6742" y="2859"/>
                </a:lnTo>
                <a:lnTo>
                  <a:pt x="6752" y="2854"/>
                </a:lnTo>
                <a:lnTo>
                  <a:pt x="6765" y="2846"/>
                </a:lnTo>
                <a:lnTo>
                  <a:pt x="6776" y="2837"/>
                </a:lnTo>
                <a:lnTo>
                  <a:pt x="6778" y="2834"/>
                </a:lnTo>
                <a:lnTo>
                  <a:pt x="6780" y="2830"/>
                </a:lnTo>
                <a:lnTo>
                  <a:pt x="6781" y="2824"/>
                </a:lnTo>
                <a:lnTo>
                  <a:pt x="6782" y="2819"/>
                </a:lnTo>
                <a:lnTo>
                  <a:pt x="6784" y="2807"/>
                </a:lnTo>
                <a:lnTo>
                  <a:pt x="6785" y="2793"/>
                </a:lnTo>
                <a:lnTo>
                  <a:pt x="6785" y="2781"/>
                </a:lnTo>
                <a:lnTo>
                  <a:pt x="6787" y="2772"/>
                </a:lnTo>
                <a:lnTo>
                  <a:pt x="6788" y="2769"/>
                </a:lnTo>
                <a:lnTo>
                  <a:pt x="6789" y="2767"/>
                </a:lnTo>
                <a:lnTo>
                  <a:pt x="6791" y="2766"/>
                </a:lnTo>
                <a:lnTo>
                  <a:pt x="6794" y="2767"/>
                </a:lnTo>
                <a:lnTo>
                  <a:pt x="6799" y="2771"/>
                </a:lnTo>
                <a:lnTo>
                  <a:pt x="6803" y="2773"/>
                </a:lnTo>
                <a:lnTo>
                  <a:pt x="6809" y="2775"/>
                </a:lnTo>
                <a:lnTo>
                  <a:pt x="6813" y="2777"/>
                </a:lnTo>
                <a:lnTo>
                  <a:pt x="6818" y="2777"/>
                </a:lnTo>
                <a:lnTo>
                  <a:pt x="6823" y="2776"/>
                </a:lnTo>
                <a:lnTo>
                  <a:pt x="6830" y="2775"/>
                </a:lnTo>
                <a:lnTo>
                  <a:pt x="6837" y="2772"/>
                </a:lnTo>
                <a:lnTo>
                  <a:pt x="6844" y="2768"/>
                </a:lnTo>
                <a:lnTo>
                  <a:pt x="6851" y="2763"/>
                </a:lnTo>
                <a:lnTo>
                  <a:pt x="6856" y="2755"/>
                </a:lnTo>
                <a:lnTo>
                  <a:pt x="6860" y="2748"/>
                </a:lnTo>
                <a:lnTo>
                  <a:pt x="6868" y="2734"/>
                </a:lnTo>
                <a:lnTo>
                  <a:pt x="6876" y="2723"/>
                </a:lnTo>
                <a:lnTo>
                  <a:pt x="6889" y="2712"/>
                </a:lnTo>
                <a:lnTo>
                  <a:pt x="6907" y="2700"/>
                </a:lnTo>
                <a:lnTo>
                  <a:pt x="6911" y="2696"/>
                </a:lnTo>
                <a:lnTo>
                  <a:pt x="6915" y="2692"/>
                </a:lnTo>
                <a:lnTo>
                  <a:pt x="6918" y="2688"/>
                </a:lnTo>
                <a:lnTo>
                  <a:pt x="6919" y="2685"/>
                </a:lnTo>
                <a:lnTo>
                  <a:pt x="6920" y="2681"/>
                </a:lnTo>
                <a:lnTo>
                  <a:pt x="6920" y="2678"/>
                </a:lnTo>
                <a:lnTo>
                  <a:pt x="6918" y="2675"/>
                </a:lnTo>
                <a:lnTo>
                  <a:pt x="6915" y="2670"/>
                </a:lnTo>
                <a:lnTo>
                  <a:pt x="6900" y="2658"/>
                </a:lnTo>
                <a:lnTo>
                  <a:pt x="6889" y="2645"/>
                </a:lnTo>
                <a:lnTo>
                  <a:pt x="6886" y="2640"/>
                </a:lnTo>
                <a:lnTo>
                  <a:pt x="6885" y="2636"/>
                </a:lnTo>
                <a:lnTo>
                  <a:pt x="6885" y="2634"/>
                </a:lnTo>
                <a:lnTo>
                  <a:pt x="6885" y="2632"/>
                </a:lnTo>
                <a:lnTo>
                  <a:pt x="6886" y="2630"/>
                </a:lnTo>
                <a:lnTo>
                  <a:pt x="6888" y="2627"/>
                </a:lnTo>
                <a:lnTo>
                  <a:pt x="6901" y="2618"/>
                </a:lnTo>
                <a:lnTo>
                  <a:pt x="6920" y="2604"/>
                </a:lnTo>
                <a:lnTo>
                  <a:pt x="6939" y="2593"/>
                </a:lnTo>
                <a:lnTo>
                  <a:pt x="6950" y="2584"/>
                </a:lnTo>
                <a:lnTo>
                  <a:pt x="6973" y="2566"/>
                </a:lnTo>
                <a:lnTo>
                  <a:pt x="7013" y="2532"/>
                </a:lnTo>
                <a:lnTo>
                  <a:pt x="7048" y="2502"/>
                </a:lnTo>
                <a:lnTo>
                  <a:pt x="7055" y="2493"/>
                </a:lnTo>
                <a:lnTo>
                  <a:pt x="7032" y="2509"/>
                </a:lnTo>
                <a:lnTo>
                  <a:pt x="6998" y="2530"/>
                </a:lnTo>
                <a:lnTo>
                  <a:pt x="6983" y="2540"/>
                </a:lnTo>
                <a:lnTo>
                  <a:pt x="6968" y="2548"/>
                </a:lnTo>
                <a:lnTo>
                  <a:pt x="6962" y="2550"/>
                </a:lnTo>
                <a:lnTo>
                  <a:pt x="6957" y="2552"/>
                </a:lnTo>
                <a:lnTo>
                  <a:pt x="6954" y="2552"/>
                </a:lnTo>
                <a:lnTo>
                  <a:pt x="6952" y="2551"/>
                </a:lnTo>
                <a:lnTo>
                  <a:pt x="6951" y="2549"/>
                </a:lnTo>
                <a:lnTo>
                  <a:pt x="6950" y="2548"/>
                </a:lnTo>
                <a:lnTo>
                  <a:pt x="6948" y="2547"/>
                </a:lnTo>
                <a:lnTo>
                  <a:pt x="6945" y="2546"/>
                </a:lnTo>
                <a:lnTo>
                  <a:pt x="6939" y="2545"/>
                </a:lnTo>
                <a:lnTo>
                  <a:pt x="6931" y="2545"/>
                </a:lnTo>
                <a:lnTo>
                  <a:pt x="6925" y="2545"/>
                </a:lnTo>
                <a:lnTo>
                  <a:pt x="6918" y="2543"/>
                </a:lnTo>
                <a:lnTo>
                  <a:pt x="6915" y="2543"/>
                </a:lnTo>
                <a:lnTo>
                  <a:pt x="6912" y="2540"/>
                </a:lnTo>
                <a:lnTo>
                  <a:pt x="6910" y="2539"/>
                </a:lnTo>
                <a:lnTo>
                  <a:pt x="6908" y="2537"/>
                </a:lnTo>
                <a:lnTo>
                  <a:pt x="6902" y="2527"/>
                </a:lnTo>
                <a:lnTo>
                  <a:pt x="6895" y="2514"/>
                </a:lnTo>
                <a:lnTo>
                  <a:pt x="6891" y="2509"/>
                </a:lnTo>
                <a:lnTo>
                  <a:pt x="6889" y="2505"/>
                </a:lnTo>
                <a:lnTo>
                  <a:pt x="6888" y="2503"/>
                </a:lnTo>
                <a:lnTo>
                  <a:pt x="6889" y="2502"/>
                </a:lnTo>
                <a:lnTo>
                  <a:pt x="6890" y="2500"/>
                </a:lnTo>
                <a:lnTo>
                  <a:pt x="6891" y="2496"/>
                </a:lnTo>
                <a:lnTo>
                  <a:pt x="6891" y="2492"/>
                </a:lnTo>
                <a:lnTo>
                  <a:pt x="6891" y="2487"/>
                </a:lnTo>
                <a:lnTo>
                  <a:pt x="6891" y="2483"/>
                </a:lnTo>
                <a:lnTo>
                  <a:pt x="6893" y="2479"/>
                </a:lnTo>
                <a:lnTo>
                  <a:pt x="6893" y="2477"/>
                </a:lnTo>
                <a:lnTo>
                  <a:pt x="6894" y="2476"/>
                </a:lnTo>
                <a:lnTo>
                  <a:pt x="6895" y="2476"/>
                </a:lnTo>
                <a:lnTo>
                  <a:pt x="6896" y="2476"/>
                </a:lnTo>
                <a:lnTo>
                  <a:pt x="6898" y="2477"/>
                </a:lnTo>
                <a:lnTo>
                  <a:pt x="6902" y="2477"/>
                </a:lnTo>
                <a:lnTo>
                  <a:pt x="6906" y="2477"/>
                </a:lnTo>
                <a:lnTo>
                  <a:pt x="6910" y="2476"/>
                </a:lnTo>
                <a:lnTo>
                  <a:pt x="6915" y="2473"/>
                </a:lnTo>
                <a:lnTo>
                  <a:pt x="6917" y="2471"/>
                </a:lnTo>
                <a:lnTo>
                  <a:pt x="6918" y="2469"/>
                </a:lnTo>
                <a:lnTo>
                  <a:pt x="6918" y="2467"/>
                </a:lnTo>
                <a:lnTo>
                  <a:pt x="6917" y="2464"/>
                </a:lnTo>
                <a:lnTo>
                  <a:pt x="6916" y="2461"/>
                </a:lnTo>
                <a:lnTo>
                  <a:pt x="6911" y="2456"/>
                </a:lnTo>
                <a:lnTo>
                  <a:pt x="6906" y="2451"/>
                </a:lnTo>
                <a:lnTo>
                  <a:pt x="6901" y="2447"/>
                </a:lnTo>
                <a:lnTo>
                  <a:pt x="6896" y="2443"/>
                </a:lnTo>
                <a:lnTo>
                  <a:pt x="6894" y="2441"/>
                </a:lnTo>
                <a:lnTo>
                  <a:pt x="6891" y="2439"/>
                </a:lnTo>
                <a:lnTo>
                  <a:pt x="6890" y="2437"/>
                </a:lnTo>
                <a:lnTo>
                  <a:pt x="6890" y="2435"/>
                </a:lnTo>
                <a:lnTo>
                  <a:pt x="6890" y="2432"/>
                </a:lnTo>
                <a:lnTo>
                  <a:pt x="6891" y="2429"/>
                </a:lnTo>
                <a:lnTo>
                  <a:pt x="6894" y="2426"/>
                </a:lnTo>
                <a:lnTo>
                  <a:pt x="6897" y="2422"/>
                </a:lnTo>
                <a:lnTo>
                  <a:pt x="6913" y="2411"/>
                </a:lnTo>
                <a:lnTo>
                  <a:pt x="6928" y="2402"/>
                </a:lnTo>
                <a:lnTo>
                  <a:pt x="6934" y="2398"/>
                </a:lnTo>
                <a:lnTo>
                  <a:pt x="6938" y="2393"/>
                </a:lnTo>
                <a:lnTo>
                  <a:pt x="6938" y="2390"/>
                </a:lnTo>
                <a:lnTo>
                  <a:pt x="6938" y="2386"/>
                </a:lnTo>
                <a:lnTo>
                  <a:pt x="6937" y="2382"/>
                </a:lnTo>
                <a:lnTo>
                  <a:pt x="6935" y="2378"/>
                </a:lnTo>
                <a:lnTo>
                  <a:pt x="6930" y="2363"/>
                </a:lnTo>
                <a:lnTo>
                  <a:pt x="6925" y="2338"/>
                </a:lnTo>
                <a:lnTo>
                  <a:pt x="6920" y="2309"/>
                </a:lnTo>
                <a:lnTo>
                  <a:pt x="6915" y="2276"/>
                </a:lnTo>
                <a:lnTo>
                  <a:pt x="6909" y="2247"/>
                </a:lnTo>
                <a:lnTo>
                  <a:pt x="6904" y="2224"/>
                </a:lnTo>
                <a:lnTo>
                  <a:pt x="6902" y="2216"/>
                </a:lnTo>
                <a:lnTo>
                  <a:pt x="6899" y="2210"/>
                </a:lnTo>
                <a:lnTo>
                  <a:pt x="6898" y="2209"/>
                </a:lnTo>
                <a:lnTo>
                  <a:pt x="6897" y="2209"/>
                </a:lnTo>
                <a:lnTo>
                  <a:pt x="6896" y="2210"/>
                </a:lnTo>
                <a:lnTo>
                  <a:pt x="6896" y="2213"/>
                </a:lnTo>
                <a:lnTo>
                  <a:pt x="6887" y="2232"/>
                </a:lnTo>
                <a:lnTo>
                  <a:pt x="6880" y="2252"/>
                </a:lnTo>
                <a:lnTo>
                  <a:pt x="6875" y="2269"/>
                </a:lnTo>
                <a:lnTo>
                  <a:pt x="6873" y="2277"/>
                </a:lnTo>
                <a:lnTo>
                  <a:pt x="6872" y="2282"/>
                </a:lnTo>
                <a:lnTo>
                  <a:pt x="6871" y="2287"/>
                </a:lnTo>
                <a:lnTo>
                  <a:pt x="6869" y="2290"/>
                </a:lnTo>
                <a:lnTo>
                  <a:pt x="6871" y="2293"/>
                </a:lnTo>
                <a:lnTo>
                  <a:pt x="6872" y="2297"/>
                </a:lnTo>
                <a:lnTo>
                  <a:pt x="6874" y="2303"/>
                </a:lnTo>
                <a:lnTo>
                  <a:pt x="6876" y="2308"/>
                </a:lnTo>
                <a:lnTo>
                  <a:pt x="6878" y="2315"/>
                </a:lnTo>
                <a:lnTo>
                  <a:pt x="6879" y="2321"/>
                </a:lnTo>
                <a:lnTo>
                  <a:pt x="6880" y="2329"/>
                </a:lnTo>
                <a:lnTo>
                  <a:pt x="6880" y="2342"/>
                </a:lnTo>
                <a:lnTo>
                  <a:pt x="6880" y="2352"/>
                </a:lnTo>
                <a:lnTo>
                  <a:pt x="6880" y="2364"/>
                </a:lnTo>
                <a:lnTo>
                  <a:pt x="6880" y="2386"/>
                </a:lnTo>
                <a:lnTo>
                  <a:pt x="6881" y="2407"/>
                </a:lnTo>
                <a:lnTo>
                  <a:pt x="6882" y="2419"/>
                </a:lnTo>
                <a:lnTo>
                  <a:pt x="6882" y="2422"/>
                </a:lnTo>
                <a:lnTo>
                  <a:pt x="6881" y="2426"/>
                </a:lnTo>
                <a:lnTo>
                  <a:pt x="6879" y="2430"/>
                </a:lnTo>
                <a:lnTo>
                  <a:pt x="6877" y="2436"/>
                </a:lnTo>
                <a:lnTo>
                  <a:pt x="6872" y="2446"/>
                </a:lnTo>
                <a:lnTo>
                  <a:pt x="6868" y="2455"/>
                </a:lnTo>
                <a:lnTo>
                  <a:pt x="6864" y="2469"/>
                </a:lnTo>
                <a:lnTo>
                  <a:pt x="6861" y="2484"/>
                </a:lnTo>
                <a:lnTo>
                  <a:pt x="6864" y="2490"/>
                </a:lnTo>
                <a:lnTo>
                  <a:pt x="6869" y="2495"/>
                </a:lnTo>
                <a:lnTo>
                  <a:pt x="6871" y="2499"/>
                </a:lnTo>
                <a:lnTo>
                  <a:pt x="6872" y="2501"/>
                </a:lnTo>
                <a:lnTo>
                  <a:pt x="6871" y="2503"/>
                </a:lnTo>
                <a:lnTo>
                  <a:pt x="6867" y="2505"/>
                </a:lnTo>
                <a:lnTo>
                  <a:pt x="6858" y="2506"/>
                </a:lnTo>
                <a:lnTo>
                  <a:pt x="6848" y="2506"/>
                </a:lnTo>
                <a:lnTo>
                  <a:pt x="6845" y="2507"/>
                </a:lnTo>
                <a:lnTo>
                  <a:pt x="6843" y="2510"/>
                </a:lnTo>
                <a:lnTo>
                  <a:pt x="6842" y="2513"/>
                </a:lnTo>
                <a:lnTo>
                  <a:pt x="6844" y="2518"/>
                </a:lnTo>
                <a:lnTo>
                  <a:pt x="6845" y="2522"/>
                </a:lnTo>
                <a:lnTo>
                  <a:pt x="6847" y="2524"/>
                </a:lnTo>
                <a:lnTo>
                  <a:pt x="6851" y="2526"/>
                </a:lnTo>
                <a:lnTo>
                  <a:pt x="6853" y="2527"/>
                </a:lnTo>
                <a:lnTo>
                  <a:pt x="6859" y="2529"/>
                </a:lnTo>
                <a:lnTo>
                  <a:pt x="6865" y="2530"/>
                </a:lnTo>
                <a:lnTo>
                  <a:pt x="6867" y="2531"/>
                </a:lnTo>
                <a:lnTo>
                  <a:pt x="6869" y="2532"/>
                </a:lnTo>
                <a:lnTo>
                  <a:pt x="6872" y="2534"/>
                </a:lnTo>
                <a:lnTo>
                  <a:pt x="6873" y="2536"/>
                </a:lnTo>
                <a:lnTo>
                  <a:pt x="6874" y="2538"/>
                </a:lnTo>
                <a:lnTo>
                  <a:pt x="6874" y="2543"/>
                </a:lnTo>
                <a:lnTo>
                  <a:pt x="6873" y="2547"/>
                </a:lnTo>
                <a:lnTo>
                  <a:pt x="6871" y="2553"/>
                </a:lnTo>
                <a:lnTo>
                  <a:pt x="6865" y="2564"/>
                </a:lnTo>
                <a:lnTo>
                  <a:pt x="6860" y="2573"/>
                </a:lnTo>
                <a:lnTo>
                  <a:pt x="6855" y="2580"/>
                </a:lnTo>
                <a:lnTo>
                  <a:pt x="6848" y="2587"/>
                </a:lnTo>
                <a:lnTo>
                  <a:pt x="6843" y="2591"/>
                </a:lnTo>
                <a:lnTo>
                  <a:pt x="6838" y="2594"/>
                </a:lnTo>
                <a:lnTo>
                  <a:pt x="6833" y="2596"/>
                </a:lnTo>
                <a:lnTo>
                  <a:pt x="6828" y="2597"/>
                </a:lnTo>
                <a:lnTo>
                  <a:pt x="6822" y="2596"/>
                </a:lnTo>
                <a:lnTo>
                  <a:pt x="6817" y="2595"/>
                </a:lnTo>
                <a:lnTo>
                  <a:pt x="6812" y="2592"/>
                </a:lnTo>
                <a:lnTo>
                  <a:pt x="6807" y="2591"/>
                </a:lnTo>
                <a:lnTo>
                  <a:pt x="6804" y="2590"/>
                </a:lnTo>
                <a:lnTo>
                  <a:pt x="6802" y="2590"/>
                </a:lnTo>
                <a:lnTo>
                  <a:pt x="6800" y="2590"/>
                </a:lnTo>
                <a:lnTo>
                  <a:pt x="6799" y="2591"/>
                </a:lnTo>
                <a:lnTo>
                  <a:pt x="6798" y="2593"/>
                </a:lnTo>
                <a:lnTo>
                  <a:pt x="6798" y="2595"/>
                </a:lnTo>
                <a:lnTo>
                  <a:pt x="6799" y="2599"/>
                </a:lnTo>
                <a:lnTo>
                  <a:pt x="6799" y="2604"/>
                </a:lnTo>
                <a:lnTo>
                  <a:pt x="6801" y="2609"/>
                </a:lnTo>
                <a:lnTo>
                  <a:pt x="6803" y="2613"/>
                </a:lnTo>
                <a:lnTo>
                  <a:pt x="6806" y="2616"/>
                </a:lnTo>
                <a:lnTo>
                  <a:pt x="6808" y="2619"/>
                </a:lnTo>
                <a:lnTo>
                  <a:pt x="6813" y="2623"/>
                </a:lnTo>
                <a:lnTo>
                  <a:pt x="6818" y="2625"/>
                </a:lnTo>
                <a:lnTo>
                  <a:pt x="6823" y="2627"/>
                </a:lnTo>
                <a:lnTo>
                  <a:pt x="6828" y="2630"/>
                </a:lnTo>
                <a:lnTo>
                  <a:pt x="6830" y="2632"/>
                </a:lnTo>
                <a:lnTo>
                  <a:pt x="6831" y="2634"/>
                </a:lnTo>
                <a:lnTo>
                  <a:pt x="6832" y="2636"/>
                </a:lnTo>
                <a:lnTo>
                  <a:pt x="6833" y="2639"/>
                </a:lnTo>
                <a:lnTo>
                  <a:pt x="6834" y="2652"/>
                </a:lnTo>
                <a:lnTo>
                  <a:pt x="6836" y="2664"/>
                </a:lnTo>
                <a:lnTo>
                  <a:pt x="6837" y="2670"/>
                </a:lnTo>
                <a:lnTo>
                  <a:pt x="6837" y="2677"/>
                </a:lnTo>
                <a:lnTo>
                  <a:pt x="6836" y="2683"/>
                </a:lnTo>
                <a:lnTo>
                  <a:pt x="6835" y="2689"/>
                </a:lnTo>
                <a:lnTo>
                  <a:pt x="6832" y="2694"/>
                </a:lnTo>
                <a:lnTo>
                  <a:pt x="6828" y="2699"/>
                </a:lnTo>
                <a:lnTo>
                  <a:pt x="6823" y="2702"/>
                </a:lnTo>
                <a:lnTo>
                  <a:pt x="6818" y="2705"/>
                </a:lnTo>
                <a:lnTo>
                  <a:pt x="6813" y="2708"/>
                </a:lnTo>
                <a:lnTo>
                  <a:pt x="6808" y="2711"/>
                </a:lnTo>
                <a:lnTo>
                  <a:pt x="6803" y="2715"/>
                </a:lnTo>
                <a:lnTo>
                  <a:pt x="6800" y="2721"/>
                </a:lnTo>
                <a:lnTo>
                  <a:pt x="6798" y="2726"/>
                </a:lnTo>
                <a:lnTo>
                  <a:pt x="6794" y="2729"/>
                </a:lnTo>
                <a:lnTo>
                  <a:pt x="6789" y="2731"/>
                </a:lnTo>
                <a:lnTo>
                  <a:pt x="6782" y="2733"/>
                </a:lnTo>
                <a:lnTo>
                  <a:pt x="6776" y="2735"/>
                </a:lnTo>
                <a:lnTo>
                  <a:pt x="6770" y="2739"/>
                </a:lnTo>
                <a:lnTo>
                  <a:pt x="6765" y="2742"/>
                </a:lnTo>
                <a:lnTo>
                  <a:pt x="6758" y="2747"/>
                </a:lnTo>
                <a:lnTo>
                  <a:pt x="6751" y="2758"/>
                </a:lnTo>
                <a:lnTo>
                  <a:pt x="6745" y="2769"/>
                </a:lnTo>
                <a:lnTo>
                  <a:pt x="6743" y="2773"/>
                </a:lnTo>
                <a:lnTo>
                  <a:pt x="6740" y="2777"/>
                </a:lnTo>
                <a:lnTo>
                  <a:pt x="6736" y="2781"/>
                </a:lnTo>
                <a:lnTo>
                  <a:pt x="6732" y="2785"/>
                </a:lnTo>
                <a:lnTo>
                  <a:pt x="6724" y="2791"/>
                </a:lnTo>
                <a:lnTo>
                  <a:pt x="6715" y="2794"/>
                </a:lnTo>
                <a:lnTo>
                  <a:pt x="6713" y="2794"/>
                </a:lnTo>
                <a:lnTo>
                  <a:pt x="6710" y="2793"/>
                </a:lnTo>
                <a:lnTo>
                  <a:pt x="6708" y="2791"/>
                </a:lnTo>
                <a:lnTo>
                  <a:pt x="6707" y="2788"/>
                </a:lnTo>
                <a:lnTo>
                  <a:pt x="6707" y="2777"/>
                </a:lnTo>
                <a:lnTo>
                  <a:pt x="6707" y="2768"/>
                </a:lnTo>
                <a:lnTo>
                  <a:pt x="6707" y="2766"/>
                </a:lnTo>
                <a:lnTo>
                  <a:pt x="6706" y="2765"/>
                </a:lnTo>
                <a:lnTo>
                  <a:pt x="6705" y="2764"/>
                </a:lnTo>
                <a:lnTo>
                  <a:pt x="6704" y="2764"/>
                </a:lnTo>
                <a:lnTo>
                  <a:pt x="6698" y="2767"/>
                </a:lnTo>
                <a:lnTo>
                  <a:pt x="6690" y="2773"/>
                </a:lnTo>
                <a:lnTo>
                  <a:pt x="6681" y="2783"/>
                </a:lnTo>
                <a:lnTo>
                  <a:pt x="6675" y="2790"/>
                </a:lnTo>
                <a:lnTo>
                  <a:pt x="6670" y="2797"/>
                </a:lnTo>
                <a:lnTo>
                  <a:pt x="6667" y="2805"/>
                </a:lnTo>
                <a:lnTo>
                  <a:pt x="6663" y="2815"/>
                </a:lnTo>
                <a:lnTo>
                  <a:pt x="6659" y="2824"/>
                </a:lnTo>
                <a:lnTo>
                  <a:pt x="6657" y="2828"/>
                </a:lnTo>
                <a:lnTo>
                  <a:pt x="6653" y="2829"/>
                </a:lnTo>
                <a:lnTo>
                  <a:pt x="6648" y="2830"/>
                </a:lnTo>
                <a:lnTo>
                  <a:pt x="6644" y="2831"/>
                </a:lnTo>
                <a:lnTo>
                  <a:pt x="6639" y="2831"/>
                </a:lnTo>
                <a:lnTo>
                  <a:pt x="6635" y="2832"/>
                </a:lnTo>
                <a:lnTo>
                  <a:pt x="6631" y="2834"/>
                </a:lnTo>
                <a:lnTo>
                  <a:pt x="6626" y="2837"/>
                </a:lnTo>
                <a:lnTo>
                  <a:pt x="6623" y="2841"/>
                </a:lnTo>
                <a:lnTo>
                  <a:pt x="6620" y="2846"/>
                </a:lnTo>
                <a:lnTo>
                  <a:pt x="6617" y="2853"/>
                </a:lnTo>
                <a:lnTo>
                  <a:pt x="6615" y="2860"/>
                </a:lnTo>
                <a:lnTo>
                  <a:pt x="6613" y="2866"/>
                </a:lnTo>
                <a:lnTo>
                  <a:pt x="6613" y="2874"/>
                </a:lnTo>
                <a:lnTo>
                  <a:pt x="6613" y="2879"/>
                </a:lnTo>
                <a:lnTo>
                  <a:pt x="6614" y="2884"/>
                </a:lnTo>
                <a:lnTo>
                  <a:pt x="6617" y="2891"/>
                </a:lnTo>
                <a:lnTo>
                  <a:pt x="6618" y="2899"/>
                </a:lnTo>
                <a:lnTo>
                  <a:pt x="6618" y="2902"/>
                </a:lnTo>
                <a:lnTo>
                  <a:pt x="6618" y="2905"/>
                </a:lnTo>
                <a:lnTo>
                  <a:pt x="6617" y="2907"/>
                </a:lnTo>
                <a:lnTo>
                  <a:pt x="6615" y="2909"/>
                </a:lnTo>
                <a:lnTo>
                  <a:pt x="6614" y="2911"/>
                </a:lnTo>
                <a:lnTo>
                  <a:pt x="6614" y="2912"/>
                </a:lnTo>
                <a:lnTo>
                  <a:pt x="6615" y="2912"/>
                </a:lnTo>
                <a:lnTo>
                  <a:pt x="6617" y="2913"/>
                </a:lnTo>
                <a:lnTo>
                  <a:pt x="6621" y="2913"/>
                </a:lnTo>
                <a:lnTo>
                  <a:pt x="6624" y="2915"/>
                </a:lnTo>
                <a:lnTo>
                  <a:pt x="6625" y="2915"/>
                </a:lnTo>
                <a:lnTo>
                  <a:pt x="6627" y="2912"/>
                </a:lnTo>
                <a:lnTo>
                  <a:pt x="6628" y="2908"/>
                </a:lnTo>
                <a:lnTo>
                  <a:pt x="6627" y="2906"/>
                </a:lnTo>
                <a:lnTo>
                  <a:pt x="6627" y="2903"/>
                </a:lnTo>
                <a:lnTo>
                  <a:pt x="6628" y="2901"/>
                </a:lnTo>
                <a:lnTo>
                  <a:pt x="6630" y="2899"/>
                </a:lnTo>
                <a:lnTo>
                  <a:pt x="6631" y="2898"/>
                </a:lnTo>
                <a:close/>
                <a:moveTo>
                  <a:pt x="6397" y="3098"/>
                </a:moveTo>
                <a:lnTo>
                  <a:pt x="6398" y="3104"/>
                </a:lnTo>
                <a:lnTo>
                  <a:pt x="6401" y="3112"/>
                </a:lnTo>
                <a:lnTo>
                  <a:pt x="6404" y="3119"/>
                </a:lnTo>
                <a:lnTo>
                  <a:pt x="6407" y="3126"/>
                </a:lnTo>
                <a:lnTo>
                  <a:pt x="6412" y="3132"/>
                </a:lnTo>
                <a:lnTo>
                  <a:pt x="6416" y="3137"/>
                </a:lnTo>
                <a:lnTo>
                  <a:pt x="6418" y="3138"/>
                </a:lnTo>
                <a:lnTo>
                  <a:pt x="6419" y="3138"/>
                </a:lnTo>
                <a:lnTo>
                  <a:pt x="6421" y="3138"/>
                </a:lnTo>
                <a:lnTo>
                  <a:pt x="6422" y="3137"/>
                </a:lnTo>
                <a:lnTo>
                  <a:pt x="6427" y="3126"/>
                </a:lnTo>
                <a:lnTo>
                  <a:pt x="6433" y="3112"/>
                </a:lnTo>
                <a:lnTo>
                  <a:pt x="6439" y="3096"/>
                </a:lnTo>
                <a:lnTo>
                  <a:pt x="6446" y="3083"/>
                </a:lnTo>
                <a:lnTo>
                  <a:pt x="6452" y="3076"/>
                </a:lnTo>
                <a:lnTo>
                  <a:pt x="6456" y="3071"/>
                </a:lnTo>
                <a:lnTo>
                  <a:pt x="6457" y="3067"/>
                </a:lnTo>
                <a:lnTo>
                  <a:pt x="6457" y="3065"/>
                </a:lnTo>
                <a:lnTo>
                  <a:pt x="6456" y="3064"/>
                </a:lnTo>
                <a:lnTo>
                  <a:pt x="6455" y="3062"/>
                </a:lnTo>
                <a:lnTo>
                  <a:pt x="6449" y="3057"/>
                </a:lnTo>
                <a:lnTo>
                  <a:pt x="6442" y="3053"/>
                </a:lnTo>
                <a:lnTo>
                  <a:pt x="6439" y="3052"/>
                </a:lnTo>
                <a:lnTo>
                  <a:pt x="6435" y="3052"/>
                </a:lnTo>
                <a:lnTo>
                  <a:pt x="6430" y="3053"/>
                </a:lnTo>
                <a:lnTo>
                  <a:pt x="6427" y="3055"/>
                </a:lnTo>
                <a:lnTo>
                  <a:pt x="6416" y="3070"/>
                </a:lnTo>
                <a:lnTo>
                  <a:pt x="6408" y="3080"/>
                </a:lnTo>
                <a:lnTo>
                  <a:pt x="6400" y="3091"/>
                </a:lnTo>
                <a:lnTo>
                  <a:pt x="6397" y="3098"/>
                </a:lnTo>
                <a:close/>
                <a:moveTo>
                  <a:pt x="6463" y="3448"/>
                </a:moveTo>
                <a:lnTo>
                  <a:pt x="6466" y="3454"/>
                </a:lnTo>
                <a:lnTo>
                  <a:pt x="6472" y="3460"/>
                </a:lnTo>
                <a:lnTo>
                  <a:pt x="6479" y="3469"/>
                </a:lnTo>
                <a:lnTo>
                  <a:pt x="6486" y="3478"/>
                </a:lnTo>
                <a:lnTo>
                  <a:pt x="6503" y="3496"/>
                </a:lnTo>
                <a:lnTo>
                  <a:pt x="6515" y="3509"/>
                </a:lnTo>
                <a:lnTo>
                  <a:pt x="6518" y="3510"/>
                </a:lnTo>
                <a:lnTo>
                  <a:pt x="6522" y="3510"/>
                </a:lnTo>
                <a:lnTo>
                  <a:pt x="6525" y="3509"/>
                </a:lnTo>
                <a:lnTo>
                  <a:pt x="6529" y="3507"/>
                </a:lnTo>
                <a:lnTo>
                  <a:pt x="6536" y="3499"/>
                </a:lnTo>
                <a:lnTo>
                  <a:pt x="6544" y="3489"/>
                </a:lnTo>
                <a:lnTo>
                  <a:pt x="6550" y="3477"/>
                </a:lnTo>
                <a:lnTo>
                  <a:pt x="6554" y="3466"/>
                </a:lnTo>
                <a:lnTo>
                  <a:pt x="6555" y="3460"/>
                </a:lnTo>
                <a:lnTo>
                  <a:pt x="6556" y="3456"/>
                </a:lnTo>
                <a:lnTo>
                  <a:pt x="6556" y="3451"/>
                </a:lnTo>
                <a:lnTo>
                  <a:pt x="6555" y="3448"/>
                </a:lnTo>
                <a:lnTo>
                  <a:pt x="6552" y="3442"/>
                </a:lnTo>
                <a:lnTo>
                  <a:pt x="6550" y="3434"/>
                </a:lnTo>
                <a:lnTo>
                  <a:pt x="6549" y="3427"/>
                </a:lnTo>
                <a:lnTo>
                  <a:pt x="6548" y="3420"/>
                </a:lnTo>
                <a:lnTo>
                  <a:pt x="6547" y="3414"/>
                </a:lnTo>
                <a:lnTo>
                  <a:pt x="6545" y="3411"/>
                </a:lnTo>
                <a:lnTo>
                  <a:pt x="6543" y="3410"/>
                </a:lnTo>
                <a:lnTo>
                  <a:pt x="6542" y="3410"/>
                </a:lnTo>
                <a:lnTo>
                  <a:pt x="6538" y="3411"/>
                </a:lnTo>
                <a:lnTo>
                  <a:pt x="6536" y="3413"/>
                </a:lnTo>
                <a:lnTo>
                  <a:pt x="6525" y="3422"/>
                </a:lnTo>
                <a:lnTo>
                  <a:pt x="6515" y="3431"/>
                </a:lnTo>
                <a:lnTo>
                  <a:pt x="6511" y="3435"/>
                </a:lnTo>
                <a:lnTo>
                  <a:pt x="6509" y="3439"/>
                </a:lnTo>
                <a:lnTo>
                  <a:pt x="6508" y="3444"/>
                </a:lnTo>
                <a:lnTo>
                  <a:pt x="6508" y="3448"/>
                </a:lnTo>
                <a:lnTo>
                  <a:pt x="6508" y="3450"/>
                </a:lnTo>
                <a:lnTo>
                  <a:pt x="6507" y="3451"/>
                </a:lnTo>
                <a:lnTo>
                  <a:pt x="6506" y="3452"/>
                </a:lnTo>
                <a:lnTo>
                  <a:pt x="6505" y="3453"/>
                </a:lnTo>
                <a:lnTo>
                  <a:pt x="6502" y="3454"/>
                </a:lnTo>
                <a:lnTo>
                  <a:pt x="6498" y="3454"/>
                </a:lnTo>
                <a:lnTo>
                  <a:pt x="6487" y="3451"/>
                </a:lnTo>
                <a:lnTo>
                  <a:pt x="6480" y="3447"/>
                </a:lnTo>
                <a:lnTo>
                  <a:pt x="6475" y="3443"/>
                </a:lnTo>
                <a:lnTo>
                  <a:pt x="6471" y="3439"/>
                </a:lnTo>
                <a:lnTo>
                  <a:pt x="6469" y="3437"/>
                </a:lnTo>
                <a:lnTo>
                  <a:pt x="6467" y="3438"/>
                </a:lnTo>
                <a:lnTo>
                  <a:pt x="6464" y="3440"/>
                </a:lnTo>
                <a:lnTo>
                  <a:pt x="6463" y="3443"/>
                </a:lnTo>
                <a:lnTo>
                  <a:pt x="6463" y="3446"/>
                </a:lnTo>
                <a:lnTo>
                  <a:pt x="6463" y="3448"/>
                </a:lnTo>
                <a:close/>
                <a:moveTo>
                  <a:pt x="6389" y="3251"/>
                </a:moveTo>
                <a:lnTo>
                  <a:pt x="6387" y="3255"/>
                </a:lnTo>
                <a:lnTo>
                  <a:pt x="6387" y="3259"/>
                </a:lnTo>
                <a:lnTo>
                  <a:pt x="6387" y="3266"/>
                </a:lnTo>
                <a:lnTo>
                  <a:pt x="6390" y="3272"/>
                </a:lnTo>
                <a:lnTo>
                  <a:pt x="6393" y="3286"/>
                </a:lnTo>
                <a:lnTo>
                  <a:pt x="6398" y="3301"/>
                </a:lnTo>
                <a:lnTo>
                  <a:pt x="6408" y="3327"/>
                </a:lnTo>
                <a:lnTo>
                  <a:pt x="6415" y="3341"/>
                </a:lnTo>
                <a:lnTo>
                  <a:pt x="6416" y="3342"/>
                </a:lnTo>
                <a:lnTo>
                  <a:pt x="6420" y="3342"/>
                </a:lnTo>
                <a:lnTo>
                  <a:pt x="6424" y="3340"/>
                </a:lnTo>
                <a:lnTo>
                  <a:pt x="6429" y="3338"/>
                </a:lnTo>
                <a:lnTo>
                  <a:pt x="6435" y="3335"/>
                </a:lnTo>
                <a:lnTo>
                  <a:pt x="6440" y="3332"/>
                </a:lnTo>
                <a:lnTo>
                  <a:pt x="6443" y="3327"/>
                </a:lnTo>
                <a:lnTo>
                  <a:pt x="6446" y="3324"/>
                </a:lnTo>
                <a:lnTo>
                  <a:pt x="6447" y="3315"/>
                </a:lnTo>
                <a:lnTo>
                  <a:pt x="6446" y="3304"/>
                </a:lnTo>
                <a:lnTo>
                  <a:pt x="6446" y="3298"/>
                </a:lnTo>
                <a:lnTo>
                  <a:pt x="6447" y="3292"/>
                </a:lnTo>
                <a:lnTo>
                  <a:pt x="6448" y="3285"/>
                </a:lnTo>
                <a:lnTo>
                  <a:pt x="6452" y="3280"/>
                </a:lnTo>
                <a:lnTo>
                  <a:pt x="6456" y="3273"/>
                </a:lnTo>
                <a:lnTo>
                  <a:pt x="6457" y="3263"/>
                </a:lnTo>
                <a:lnTo>
                  <a:pt x="6458" y="3254"/>
                </a:lnTo>
                <a:lnTo>
                  <a:pt x="6457" y="3246"/>
                </a:lnTo>
                <a:lnTo>
                  <a:pt x="6455" y="3236"/>
                </a:lnTo>
                <a:lnTo>
                  <a:pt x="6452" y="3230"/>
                </a:lnTo>
                <a:lnTo>
                  <a:pt x="6451" y="3227"/>
                </a:lnTo>
                <a:lnTo>
                  <a:pt x="6450" y="3225"/>
                </a:lnTo>
                <a:lnTo>
                  <a:pt x="6448" y="3224"/>
                </a:lnTo>
                <a:lnTo>
                  <a:pt x="6447" y="3224"/>
                </a:lnTo>
                <a:lnTo>
                  <a:pt x="6439" y="3223"/>
                </a:lnTo>
                <a:lnTo>
                  <a:pt x="6429" y="3222"/>
                </a:lnTo>
                <a:lnTo>
                  <a:pt x="6425" y="3222"/>
                </a:lnTo>
                <a:lnTo>
                  <a:pt x="6421" y="3223"/>
                </a:lnTo>
                <a:lnTo>
                  <a:pt x="6419" y="3225"/>
                </a:lnTo>
                <a:lnTo>
                  <a:pt x="6417" y="3227"/>
                </a:lnTo>
                <a:lnTo>
                  <a:pt x="6416" y="3229"/>
                </a:lnTo>
                <a:lnTo>
                  <a:pt x="6415" y="3232"/>
                </a:lnTo>
                <a:lnTo>
                  <a:pt x="6414" y="3237"/>
                </a:lnTo>
                <a:lnTo>
                  <a:pt x="6413" y="3240"/>
                </a:lnTo>
                <a:lnTo>
                  <a:pt x="6412" y="3241"/>
                </a:lnTo>
                <a:lnTo>
                  <a:pt x="6411" y="3242"/>
                </a:lnTo>
                <a:lnTo>
                  <a:pt x="6408" y="3241"/>
                </a:lnTo>
                <a:lnTo>
                  <a:pt x="6406" y="3241"/>
                </a:lnTo>
                <a:lnTo>
                  <a:pt x="6401" y="3245"/>
                </a:lnTo>
                <a:lnTo>
                  <a:pt x="6397" y="3247"/>
                </a:lnTo>
                <a:lnTo>
                  <a:pt x="6392" y="3250"/>
                </a:lnTo>
                <a:lnTo>
                  <a:pt x="6389" y="3251"/>
                </a:lnTo>
                <a:close/>
                <a:moveTo>
                  <a:pt x="6332" y="3679"/>
                </a:moveTo>
                <a:lnTo>
                  <a:pt x="6336" y="3671"/>
                </a:lnTo>
                <a:lnTo>
                  <a:pt x="6340" y="3661"/>
                </a:lnTo>
                <a:lnTo>
                  <a:pt x="6343" y="3648"/>
                </a:lnTo>
                <a:lnTo>
                  <a:pt x="6348" y="3636"/>
                </a:lnTo>
                <a:lnTo>
                  <a:pt x="6351" y="3625"/>
                </a:lnTo>
                <a:lnTo>
                  <a:pt x="6355" y="3615"/>
                </a:lnTo>
                <a:lnTo>
                  <a:pt x="6357" y="3612"/>
                </a:lnTo>
                <a:lnTo>
                  <a:pt x="6359" y="3609"/>
                </a:lnTo>
                <a:lnTo>
                  <a:pt x="6361" y="3608"/>
                </a:lnTo>
                <a:lnTo>
                  <a:pt x="6363" y="3608"/>
                </a:lnTo>
                <a:lnTo>
                  <a:pt x="6369" y="3608"/>
                </a:lnTo>
                <a:lnTo>
                  <a:pt x="6371" y="3607"/>
                </a:lnTo>
                <a:lnTo>
                  <a:pt x="6373" y="3605"/>
                </a:lnTo>
                <a:lnTo>
                  <a:pt x="6374" y="3602"/>
                </a:lnTo>
                <a:lnTo>
                  <a:pt x="6373" y="3598"/>
                </a:lnTo>
                <a:lnTo>
                  <a:pt x="6371" y="3591"/>
                </a:lnTo>
                <a:lnTo>
                  <a:pt x="6368" y="3585"/>
                </a:lnTo>
                <a:lnTo>
                  <a:pt x="6363" y="3578"/>
                </a:lnTo>
                <a:lnTo>
                  <a:pt x="6358" y="3570"/>
                </a:lnTo>
                <a:lnTo>
                  <a:pt x="6355" y="3562"/>
                </a:lnTo>
                <a:lnTo>
                  <a:pt x="6354" y="3554"/>
                </a:lnTo>
                <a:lnTo>
                  <a:pt x="6353" y="3546"/>
                </a:lnTo>
                <a:lnTo>
                  <a:pt x="6354" y="3541"/>
                </a:lnTo>
                <a:lnTo>
                  <a:pt x="6357" y="3537"/>
                </a:lnTo>
                <a:lnTo>
                  <a:pt x="6358" y="3535"/>
                </a:lnTo>
                <a:lnTo>
                  <a:pt x="6361" y="3535"/>
                </a:lnTo>
                <a:lnTo>
                  <a:pt x="6363" y="3535"/>
                </a:lnTo>
                <a:lnTo>
                  <a:pt x="6367" y="3535"/>
                </a:lnTo>
                <a:lnTo>
                  <a:pt x="6371" y="3536"/>
                </a:lnTo>
                <a:lnTo>
                  <a:pt x="6374" y="3536"/>
                </a:lnTo>
                <a:lnTo>
                  <a:pt x="6377" y="3535"/>
                </a:lnTo>
                <a:lnTo>
                  <a:pt x="6380" y="3534"/>
                </a:lnTo>
                <a:lnTo>
                  <a:pt x="6386" y="3529"/>
                </a:lnTo>
                <a:lnTo>
                  <a:pt x="6392" y="3523"/>
                </a:lnTo>
                <a:lnTo>
                  <a:pt x="6395" y="3517"/>
                </a:lnTo>
                <a:lnTo>
                  <a:pt x="6396" y="3512"/>
                </a:lnTo>
                <a:lnTo>
                  <a:pt x="6396" y="3510"/>
                </a:lnTo>
                <a:lnTo>
                  <a:pt x="6395" y="3508"/>
                </a:lnTo>
                <a:lnTo>
                  <a:pt x="6394" y="3507"/>
                </a:lnTo>
                <a:lnTo>
                  <a:pt x="6392" y="3507"/>
                </a:lnTo>
                <a:lnTo>
                  <a:pt x="6385" y="3505"/>
                </a:lnTo>
                <a:lnTo>
                  <a:pt x="6377" y="3502"/>
                </a:lnTo>
                <a:lnTo>
                  <a:pt x="6369" y="3498"/>
                </a:lnTo>
                <a:lnTo>
                  <a:pt x="6358" y="3494"/>
                </a:lnTo>
                <a:lnTo>
                  <a:pt x="6349" y="3490"/>
                </a:lnTo>
                <a:lnTo>
                  <a:pt x="6340" y="3487"/>
                </a:lnTo>
                <a:lnTo>
                  <a:pt x="6337" y="3486"/>
                </a:lnTo>
                <a:lnTo>
                  <a:pt x="6334" y="3486"/>
                </a:lnTo>
                <a:lnTo>
                  <a:pt x="6332" y="3486"/>
                </a:lnTo>
                <a:lnTo>
                  <a:pt x="6330" y="3487"/>
                </a:lnTo>
                <a:lnTo>
                  <a:pt x="6319" y="3500"/>
                </a:lnTo>
                <a:lnTo>
                  <a:pt x="6301" y="3522"/>
                </a:lnTo>
                <a:lnTo>
                  <a:pt x="6282" y="3546"/>
                </a:lnTo>
                <a:lnTo>
                  <a:pt x="6269" y="3563"/>
                </a:lnTo>
                <a:lnTo>
                  <a:pt x="6268" y="3565"/>
                </a:lnTo>
                <a:lnTo>
                  <a:pt x="6268" y="3568"/>
                </a:lnTo>
                <a:lnTo>
                  <a:pt x="6268" y="3573"/>
                </a:lnTo>
                <a:lnTo>
                  <a:pt x="6268" y="3576"/>
                </a:lnTo>
                <a:lnTo>
                  <a:pt x="6270" y="3583"/>
                </a:lnTo>
                <a:lnTo>
                  <a:pt x="6271" y="3589"/>
                </a:lnTo>
                <a:lnTo>
                  <a:pt x="6272" y="3593"/>
                </a:lnTo>
                <a:lnTo>
                  <a:pt x="6271" y="3596"/>
                </a:lnTo>
                <a:lnTo>
                  <a:pt x="6271" y="3599"/>
                </a:lnTo>
                <a:lnTo>
                  <a:pt x="6269" y="3601"/>
                </a:lnTo>
                <a:lnTo>
                  <a:pt x="6267" y="3603"/>
                </a:lnTo>
                <a:lnTo>
                  <a:pt x="6263" y="3605"/>
                </a:lnTo>
                <a:lnTo>
                  <a:pt x="6258" y="3606"/>
                </a:lnTo>
                <a:lnTo>
                  <a:pt x="6251" y="3606"/>
                </a:lnTo>
                <a:lnTo>
                  <a:pt x="6237" y="3606"/>
                </a:lnTo>
                <a:lnTo>
                  <a:pt x="6224" y="3608"/>
                </a:lnTo>
                <a:lnTo>
                  <a:pt x="6213" y="3610"/>
                </a:lnTo>
                <a:lnTo>
                  <a:pt x="6202" y="3612"/>
                </a:lnTo>
                <a:lnTo>
                  <a:pt x="6194" y="3613"/>
                </a:lnTo>
                <a:lnTo>
                  <a:pt x="6187" y="3613"/>
                </a:lnTo>
                <a:lnTo>
                  <a:pt x="6185" y="3613"/>
                </a:lnTo>
                <a:lnTo>
                  <a:pt x="6183" y="3612"/>
                </a:lnTo>
                <a:lnTo>
                  <a:pt x="6182" y="3611"/>
                </a:lnTo>
                <a:lnTo>
                  <a:pt x="6181" y="3610"/>
                </a:lnTo>
                <a:lnTo>
                  <a:pt x="6179" y="3605"/>
                </a:lnTo>
                <a:lnTo>
                  <a:pt x="6175" y="3597"/>
                </a:lnTo>
                <a:lnTo>
                  <a:pt x="6169" y="3588"/>
                </a:lnTo>
                <a:lnTo>
                  <a:pt x="6162" y="3580"/>
                </a:lnTo>
                <a:lnTo>
                  <a:pt x="6158" y="3577"/>
                </a:lnTo>
                <a:lnTo>
                  <a:pt x="6155" y="3575"/>
                </a:lnTo>
                <a:lnTo>
                  <a:pt x="6152" y="3574"/>
                </a:lnTo>
                <a:lnTo>
                  <a:pt x="6150" y="3574"/>
                </a:lnTo>
                <a:lnTo>
                  <a:pt x="6147" y="3575"/>
                </a:lnTo>
                <a:lnTo>
                  <a:pt x="6145" y="3577"/>
                </a:lnTo>
                <a:lnTo>
                  <a:pt x="6143" y="3581"/>
                </a:lnTo>
                <a:lnTo>
                  <a:pt x="6143" y="3587"/>
                </a:lnTo>
                <a:lnTo>
                  <a:pt x="6144" y="3601"/>
                </a:lnTo>
                <a:lnTo>
                  <a:pt x="6148" y="3612"/>
                </a:lnTo>
                <a:lnTo>
                  <a:pt x="6152" y="3623"/>
                </a:lnTo>
                <a:lnTo>
                  <a:pt x="6157" y="3631"/>
                </a:lnTo>
                <a:lnTo>
                  <a:pt x="6166" y="3644"/>
                </a:lnTo>
                <a:lnTo>
                  <a:pt x="6174" y="3654"/>
                </a:lnTo>
                <a:lnTo>
                  <a:pt x="6183" y="3666"/>
                </a:lnTo>
                <a:lnTo>
                  <a:pt x="6197" y="3681"/>
                </a:lnTo>
                <a:lnTo>
                  <a:pt x="6210" y="3695"/>
                </a:lnTo>
                <a:lnTo>
                  <a:pt x="6222" y="3705"/>
                </a:lnTo>
                <a:lnTo>
                  <a:pt x="6227" y="3706"/>
                </a:lnTo>
                <a:lnTo>
                  <a:pt x="6232" y="3706"/>
                </a:lnTo>
                <a:lnTo>
                  <a:pt x="6239" y="3705"/>
                </a:lnTo>
                <a:lnTo>
                  <a:pt x="6245" y="3703"/>
                </a:lnTo>
                <a:lnTo>
                  <a:pt x="6252" y="3702"/>
                </a:lnTo>
                <a:lnTo>
                  <a:pt x="6261" y="3703"/>
                </a:lnTo>
                <a:lnTo>
                  <a:pt x="6265" y="3705"/>
                </a:lnTo>
                <a:lnTo>
                  <a:pt x="6269" y="3707"/>
                </a:lnTo>
                <a:lnTo>
                  <a:pt x="6273" y="3709"/>
                </a:lnTo>
                <a:lnTo>
                  <a:pt x="6277" y="3713"/>
                </a:lnTo>
                <a:lnTo>
                  <a:pt x="6283" y="3716"/>
                </a:lnTo>
                <a:lnTo>
                  <a:pt x="6287" y="3718"/>
                </a:lnTo>
                <a:lnTo>
                  <a:pt x="6291" y="3720"/>
                </a:lnTo>
                <a:lnTo>
                  <a:pt x="6296" y="3721"/>
                </a:lnTo>
                <a:lnTo>
                  <a:pt x="6304" y="3721"/>
                </a:lnTo>
                <a:lnTo>
                  <a:pt x="6312" y="3720"/>
                </a:lnTo>
                <a:lnTo>
                  <a:pt x="6323" y="3715"/>
                </a:lnTo>
                <a:lnTo>
                  <a:pt x="6327" y="3712"/>
                </a:lnTo>
                <a:lnTo>
                  <a:pt x="6328" y="3707"/>
                </a:lnTo>
                <a:lnTo>
                  <a:pt x="6329" y="3696"/>
                </a:lnTo>
                <a:lnTo>
                  <a:pt x="6331" y="3685"/>
                </a:lnTo>
                <a:lnTo>
                  <a:pt x="6332" y="3679"/>
                </a:lnTo>
                <a:close/>
                <a:moveTo>
                  <a:pt x="6464" y="3710"/>
                </a:moveTo>
                <a:lnTo>
                  <a:pt x="6453" y="3697"/>
                </a:lnTo>
                <a:lnTo>
                  <a:pt x="6439" y="3683"/>
                </a:lnTo>
                <a:lnTo>
                  <a:pt x="6433" y="3675"/>
                </a:lnTo>
                <a:lnTo>
                  <a:pt x="6427" y="3669"/>
                </a:lnTo>
                <a:lnTo>
                  <a:pt x="6425" y="3666"/>
                </a:lnTo>
                <a:lnTo>
                  <a:pt x="6424" y="3663"/>
                </a:lnTo>
                <a:lnTo>
                  <a:pt x="6424" y="3661"/>
                </a:lnTo>
                <a:lnTo>
                  <a:pt x="6425" y="3658"/>
                </a:lnTo>
                <a:lnTo>
                  <a:pt x="6434" y="3649"/>
                </a:lnTo>
                <a:lnTo>
                  <a:pt x="6446" y="3639"/>
                </a:lnTo>
                <a:lnTo>
                  <a:pt x="6452" y="3634"/>
                </a:lnTo>
                <a:lnTo>
                  <a:pt x="6460" y="3630"/>
                </a:lnTo>
                <a:lnTo>
                  <a:pt x="6466" y="3627"/>
                </a:lnTo>
                <a:lnTo>
                  <a:pt x="6472" y="3626"/>
                </a:lnTo>
                <a:lnTo>
                  <a:pt x="6480" y="3625"/>
                </a:lnTo>
                <a:lnTo>
                  <a:pt x="6488" y="3622"/>
                </a:lnTo>
                <a:lnTo>
                  <a:pt x="6496" y="3617"/>
                </a:lnTo>
                <a:lnTo>
                  <a:pt x="6506" y="3610"/>
                </a:lnTo>
                <a:lnTo>
                  <a:pt x="6513" y="3604"/>
                </a:lnTo>
                <a:lnTo>
                  <a:pt x="6520" y="3599"/>
                </a:lnTo>
                <a:lnTo>
                  <a:pt x="6522" y="3597"/>
                </a:lnTo>
                <a:lnTo>
                  <a:pt x="6523" y="3595"/>
                </a:lnTo>
                <a:lnTo>
                  <a:pt x="6524" y="3592"/>
                </a:lnTo>
                <a:lnTo>
                  <a:pt x="6523" y="3591"/>
                </a:lnTo>
                <a:lnTo>
                  <a:pt x="6521" y="3590"/>
                </a:lnTo>
                <a:lnTo>
                  <a:pt x="6516" y="3591"/>
                </a:lnTo>
                <a:lnTo>
                  <a:pt x="6512" y="3592"/>
                </a:lnTo>
                <a:lnTo>
                  <a:pt x="6507" y="3595"/>
                </a:lnTo>
                <a:lnTo>
                  <a:pt x="6495" y="3600"/>
                </a:lnTo>
                <a:lnTo>
                  <a:pt x="6485" y="3605"/>
                </a:lnTo>
                <a:lnTo>
                  <a:pt x="6479" y="3607"/>
                </a:lnTo>
                <a:lnTo>
                  <a:pt x="6471" y="3608"/>
                </a:lnTo>
                <a:lnTo>
                  <a:pt x="6463" y="3608"/>
                </a:lnTo>
                <a:lnTo>
                  <a:pt x="6453" y="3608"/>
                </a:lnTo>
                <a:lnTo>
                  <a:pt x="6439" y="3607"/>
                </a:lnTo>
                <a:lnTo>
                  <a:pt x="6433" y="3606"/>
                </a:lnTo>
                <a:lnTo>
                  <a:pt x="6428" y="3607"/>
                </a:lnTo>
                <a:lnTo>
                  <a:pt x="6417" y="3610"/>
                </a:lnTo>
                <a:lnTo>
                  <a:pt x="6411" y="3614"/>
                </a:lnTo>
                <a:lnTo>
                  <a:pt x="6402" y="3621"/>
                </a:lnTo>
                <a:lnTo>
                  <a:pt x="6395" y="3629"/>
                </a:lnTo>
                <a:lnTo>
                  <a:pt x="6386" y="3640"/>
                </a:lnTo>
                <a:lnTo>
                  <a:pt x="6380" y="3651"/>
                </a:lnTo>
                <a:lnTo>
                  <a:pt x="6376" y="3663"/>
                </a:lnTo>
                <a:lnTo>
                  <a:pt x="6373" y="3672"/>
                </a:lnTo>
                <a:lnTo>
                  <a:pt x="6372" y="3681"/>
                </a:lnTo>
                <a:lnTo>
                  <a:pt x="6373" y="3691"/>
                </a:lnTo>
                <a:lnTo>
                  <a:pt x="6375" y="3699"/>
                </a:lnTo>
                <a:lnTo>
                  <a:pt x="6379" y="3708"/>
                </a:lnTo>
                <a:lnTo>
                  <a:pt x="6383" y="3716"/>
                </a:lnTo>
                <a:lnTo>
                  <a:pt x="6389" y="3722"/>
                </a:lnTo>
                <a:lnTo>
                  <a:pt x="6393" y="3729"/>
                </a:lnTo>
                <a:lnTo>
                  <a:pt x="6398" y="3733"/>
                </a:lnTo>
                <a:lnTo>
                  <a:pt x="6402" y="3736"/>
                </a:lnTo>
                <a:lnTo>
                  <a:pt x="6408" y="3741"/>
                </a:lnTo>
                <a:lnTo>
                  <a:pt x="6412" y="3744"/>
                </a:lnTo>
                <a:lnTo>
                  <a:pt x="6414" y="3745"/>
                </a:lnTo>
                <a:lnTo>
                  <a:pt x="6416" y="3745"/>
                </a:lnTo>
                <a:lnTo>
                  <a:pt x="6419" y="3744"/>
                </a:lnTo>
                <a:lnTo>
                  <a:pt x="6423" y="3742"/>
                </a:lnTo>
                <a:lnTo>
                  <a:pt x="6431" y="3736"/>
                </a:lnTo>
                <a:lnTo>
                  <a:pt x="6439" y="3728"/>
                </a:lnTo>
                <a:lnTo>
                  <a:pt x="6446" y="3720"/>
                </a:lnTo>
                <a:lnTo>
                  <a:pt x="6455" y="3714"/>
                </a:lnTo>
                <a:lnTo>
                  <a:pt x="6462" y="3711"/>
                </a:lnTo>
                <a:lnTo>
                  <a:pt x="6464" y="3710"/>
                </a:lnTo>
                <a:close/>
                <a:moveTo>
                  <a:pt x="6807" y="3774"/>
                </a:moveTo>
                <a:lnTo>
                  <a:pt x="6812" y="3785"/>
                </a:lnTo>
                <a:lnTo>
                  <a:pt x="6817" y="3795"/>
                </a:lnTo>
                <a:lnTo>
                  <a:pt x="6822" y="3802"/>
                </a:lnTo>
                <a:lnTo>
                  <a:pt x="6828" y="3807"/>
                </a:lnTo>
                <a:lnTo>
                  <a:pt x="6837" y="3815"/>
                </a:lnTo>
                <a:lnTo>
                  <a:pt x="6845" y="3820"/>
                </a:lnTo>
                <a:lnTo>
                  <a:pt x="6855" y="3828"/>
                </a:lnTo>
                <a:lnTo>
                  <a:pt x="6868" y="3837"/>
                </a:lnTo>
                <a:lnTo>
                  <a:pt x="6876" y="3840"/>
                </a:lnTo>
                <a:lnTo>
                  <a:pt x="6884" y="3841"/>
                </a:lnTo>
                <a:lnTo>
                  <a:pt x="6888" y="3841"/>
                </a:lnTo>
                <a:lnTo>
                  <a:pt x="6891" y="3841"/>
                </a:lnTo>
                <a:lnTo>
                  <a:pt x="6896" y="3839"/>
                </a:lnTo>
                <a:lnTo>
                  <a:pt x="6899" y="3837"/>
                </a:lnTo>
                <a:lnTo>
                  <a:pt x="6907" y="3831"/>
                </a:lnTo>
                <a:lnTo>
                  <a:pt x="6917" y="3826"/>
                </a:lnTo>
                <a:lnTo>
                  <a:pt x="6926" y="3822"/>
                </a:lnTo>
                <a:lnTo>
                  <a:pt x="6935" y="3819"/>
                </a:lnTo>
                <a:lnTo>
                  <a:pt x="6945" y="3817"/>
                </a:lnTo>
                <a:lnTo>
                  <a:pt x="6953" y="3816"/>
                </a:lnTo>
                <a:lnTo>
                  <a:pt x="6956" y="3817"/>
                </a:lnTo>
                <a:lnTo>
                  <a:pt x="6960" y="3817"/>
                </a:lnTo>
                <a:lnTo>
                  <a:pt x="6962" y="3819"/>
                </a:lnTo>
                <a:lnTo>
                  <a:pt x="6964" y="3820"/>
                </a:lnTo>
                <a:lnTo>
                  <a:pt x="6969" y="3825"/>
                </a:lnTo>
                <a:lnTo>
                  <a:pt x="6976" y="3830"/>
                </a:lnTo>
                <a:lnTo>
                  <a:pt x="6986" y="3837"/>
                </a:lnTo>
                <a:lnTo>
                  <a:pt x="6996" y="3843"/>
                </a:lnTo>
                <a:lnTo>
                  <a:pt x="7018" y="3855"/>
                </a:lnTo>
                <a:lnTo>
                  <a:pt x="7035" y="3864"/>
                </a:lnTo>
                <a:lnTo>
                  <a:pt x="7040" y="3866"/>
                </a:lnTo>
                <a:lnTo>
                  <a:pt x="7048" y="3867"/>
                </a:lnTo>
                <a:lnTo>
                  <a:pt x="7054" y="3868"/>
                </a:lnTo>
                <a:lnTo>
                  <a:pt x="7060" y="3868"/>
                </a:lnTo>
                <a:lnTo>
                  <a:pt x="7065" y="3867"/>
                </a:lnTo>
                <a:lnTo>
                  <a:pt x="7071" y="3866"/>
                </a:lnTo>
                <a:lnTo>
                  <a:pt x="7075" y="3864"/>
                </a:lnTo>
                <a:lnTo>
                  <a:pt x="7077" y="3861"/>
                </a:lnTo>
                <a:lnTo>
                  <a:pt x="7081" y="3850"/>
                </a:lnTo>
                <a:lnTo>
                  <a:pt x="7086" y="3837"/>
                </a:lnTo>
                <a:lnTo>
                  <a:pt x="7087" y="3830"/>
                </a:lnTo>
                <a:lnTo>
                  <a:pt x="7088" y="3826"/>
                </a:lnTo>
                <a:lnTo>
                  <a:pt x="7088" y="3824"/>
                </a:lnTo>
                <a:lnTo>
                  <a:pt x="7087" y="3823"/>
                </a:lnTo>
                <a:lnTo>
                  <a:pt x="7086" y="3823"/>
                </a:lnTo>
                <a:lnTo>
                  <a:pt x="7085" y="3823"/>
                </a:lnTo>
                <a:lnTo>
                  <a:pt x="7077" y="3827"/>
                </a:lnTo>
                <a:lnTo>
                  <a:pt x="7067" y="3830"/>
                </a:lnTo>
                <a:lnTo>
                  <a:pt x="7063" y="3831"/>
                </a:lnTo>
                <a:lnTo>
                  <a:pt x="7058" y="3831"/>
                </a:lnTo>
                <a:lnTo>
                  <a:pt x="7054" y="3830"/>
                </a:lnTo>
                <a:lnTo>
                  <a:pt x="7050" y="3827"/>
                </a:lnTo>
                <a:lnTo>
                  <a:pt x="7041" y="3822"/>
                </a:lnTo>
                <a:lnTo>
                  <a:pt x="7031" y="3816"/>
                </a:lnTo>
                <a:lnTo>
                  <a:pt x="7017" y="3807"/>
                </a:lnTo>
                <a:lnTo>
                  <a:pt x="6998" y="3794"/>
                </a:lnTo>
                <a:lnTo>
                  <a:pt x="6990" y="3785"/>
                </a:lnTo>
                <a:lnTo>
                  <a:pt x="6984" y="3779"/>
                </a:lnTo>
                <a:lnTo>
                  <a:pt x="6979" y="3773"/>
                </a:lnTo>
                <a:lnTo>
                  <a:pt x="6977" y="3766"/>
                </a:lnTo>
                <a:lnTo>
                  <a:pt x="6975" y="3761"/>
                </a:lnTo>
                <a:lnTo>
                  <a:pt x="6973" y="3756"/>
                </a:lnTo>
                <a:lnTo>
                  <a:pt x="6971" y="3751"/>
                </a:lnTo>
                <a:lnTo>
                  <a:pt x="6967" y="3745"/>
                </a:lnTo>
                <a:lnTo>
                  <a:pt x="6955" y="3732"/>
                </a:lnTo>
                <a:lnTo>
                  <a:pt x="6940" y="3718"/>
                </a:lnTo>
                <a:lnTo>
                  <a:pt x="6931" y="3711"/>
                </a:lnTo>
                <a:lnTo>
                  <a:pt x="6923" y="3706"/>
                </a:lnTo>
                <a:lnTo>
                  <a:pt x="6915" y="3701"/>
                </a:lnTo>
                <a:lnTo>
                  <a:pt x="6905" y="3699"/>
                </a:lnTo>
                <a:lnTo>
                  <a:pt x="6887" y="3697"/>
                </a:lnTo>
                <a:lnTo>
                  <a:pt x="6869" y="3695"/>
                </a:lnTo>
                <a:lnTo>
                  <a:pt x="6861" y="3694"/>
                </a:lnTo>
                <a:lnTo>
                  <a:pt x="6853" y="3692"/>
                </a:lnTo>
                <a:lnTo>
                  <a:pt x="6844" y="3689"/>
                </a:lnTo>
                <a:lnTo>
                  <a:pt x="6836" y="3685"/>
                </a:lnTo>
                <a:lnTo>
                  <a:pt x="6818" y="3676"/>
                </a:lnTo>
                <a:lnTo>
                  <a:pt x="6800" y="3669"/>
                </a:lnTo>
                <a:lnTo>
                  <a:pt x="6792" y="3666"/>
                </a:lnTo>
                <a:lnTo>
                  <a:pt x="6785" y="3664"/>
                </a:lnTo>
                <a:lnTo>
                  <a:pt x="6778" y="3663"/>
                </a:lnTo>
                <a:lnTo>
                  <a:pt x="6773" y="3663"/>
                </a:lnTo>
                <a:lnTo>
                  <a:pt x="6769" y="3662"/>
                </a:lnTo>
                <a:lnTo>
                  <a:pt x="6764" y="3658"/>
                </a:lnTo>
                <a:lnTo>
                  <a:pt x="6759" y="3655"/>
                </a:lnTo>
                <a:lnTo>
                  <a:pt x="6755" y="3651"/>
                </a:lnTo>
                <a:lnTo>
                  <a:pt x="6751" y="3648"/>
                </a:lnTo>
                <a:lnTo>
                  <a:pt x="6747" y="3645"/>
                </a:lnTo>
                <a:lnTo>
                  <a:pt x="6746" y="3645"/>
                </a:lnTo>
                <a:lnTo>
                  <a:pt x="6745" y="3645"/>
                </a:lnTo>
                <a:lnTo>
                  <a:pt x="6744" y="3646"/>
                </a:lnTo>
                <a:lnTo>
                  <a:pt x="6744" y="3647"/>
                </a:lnTo>
                <a:lnTo>
                  <a:pt x="6743" y="3651"/>
                </a:lnTo>
                <a:lnTo>
                  <a:pt x="6744" y="3655"/>
                </a:lnTo>
                <a:lnTo>
                  <a:pt x="6745" y="3659"/>
                </a:lnTo>
                <a:lnTo>
                  <a:pt x="6747" y="3664"/>
                </a:lnTo>
                <a:lnTo>
                  <a:pt x="6749" y="3673"/>
                </a:lnTo>
                <a:lnTo>
                  <a:pt x="6750" y="3679"/>
                </a:lnTo>
                <a:lnTo>
                  <a:pt x="6749" y="3681"/>
                </a:lnTo>
                <a:lnTo>
                  <a:pt x="6748" y="3681"/>
                </a:lnTo>
                <a:lnTo>
                  <a:pt x="6747" y="3683"/>
                </a:lnTo>
                <a:lnTo>
                  <a:pt x="6746" y="3683"/>
                </a:lnTo>
                <a:lnTo>
                  <a:pt x="6742" y="3681"/>
                </a:lnTo>
                <a:lnTo>
                  <a:pt x="6737" y="3678"/>
                </a:lnTo>
                <a:lnTo>
                  <a:pt x="6729" y="3673"/>
                </a:lnTo>
                <a:lnTo>
                  <a:pt x="6722" y="3667"/>
                </a:lnTo>
                <a:lnTo>
                  <a:pt x="6714" y="3658"/>
                </a:lnTo>
                <a:lnTo>
                  <a:pt x="6705" y="3648"/>
                </a:lnTo>
                <a:lnTo>
                  <a:pt x="6701" y="3644"/>
                </a:lnTo>
                <a:lnTo>
                  <a:pt x="6696" y="3642"/>
                </a:lnTo>
                <a:lnTo>
                  <a:pt x="6692" y="3641"/>
                </a:lnTo>
                <a:lnTo>
                  <a:pt x="6690" y="3641"/>
                </a:lnTo>
                <a:lnTo>
                  <a:pt x="6688" y="3642"/>
                </a:lnTo>
                <a:lnTo>
                  <a:pt x="6686" y="3643"/>
                </a:lnTo>
                <a:lnTo>
                  <a:pt x="6684" y="3645"/>
                </a:lnTo>
                <a:lnTo>
                  <a:pt x="6681" y="3645"/>
                </a:lnTo>
                <a:lnTo>
                  <a:pt x="6679" y="3646"/>
                </a:lnTo>
                <a:lnTo>
                  <a:pt x="6677" y="3646"/>
                </a:lnTo>
                <a:lnTo>
                  <a:pt x="6671" y="3645"/>
                </a:lnTo>
                <a:lnTo>
                  <a:pt x="6667" y="3644"/>
                </a:lnTo>
                <a:lnTo>
                  <a:pt x="6663" y="3643"/>
                </a:lnTo>
                <a:lnTo>
                  <a:pt x="6661" y="3645"/>
                </a:lnTo>
                <a:lnTo>
                  <a:pt x="6660" y="3649"/>
                </a:lnTo>
                <a:lnTo>
                  <a:pt x="6661" y="3657"/>
                </a:lnTo>
                <a:lnTo>
                  <a:pt x="6664" y="3667"/>
                </a:lnTo>
                <a:lnTo>
                  <a:pt x="6667" y="3676"/>
                </a:lnTo>
                <a:lnTo>
                  <a:pt x="6670" y="3686"/>
                </a:lnTo>
                <a:lnTo>
                  <a:pt x="6674" y="3693"/>
                </a:lnTo>
                <a:lnTo>
                  <a:pt x="6681" y="3707"/>
                </a:lnTo>
                <a:lnTo>
                  <a:pt x="6688" y="3717"/>
                </a:lnTo>
                <a:lnTo>
                  <a:pt x="6692" y="3720"/>
                </a:lnTo>
                <a:lnTo>
                  <a:pt x="6700" y="3722"/>
                </a:lnTo>
                <a:lnTo>
                  <a:pt x="6708" y="3723"/>
                </a:lnTo>
                <a:lnTo>
                  <a:pt x="6718" y="3724"/>
                </a:lnTo>
                <a:lnTo>
                  <a:pt x="6727" y="3725"/>
                </a:lnTo>
                <a:lnTo>
                  <a:pt x="6736" y="3727"/>
                </a:lnTo>
                <a:lnTo>
                  <a:pt x="6744" y="3729"/>
                </a:lnTo>
                <a:lnTo>
                  <a:pt x="6750" y="3731"/>
                </a:lnTo>
                <a:lnTo>
                  <a:pt x="6760" y="3740"/>
                </a:lnTo>
                <a:lnTo>
                  <a:pt x="6774" y="3753"/>
                </a:lnTo>
                <a:lnTo>
                  <a:pt x="6785" y="3762"/>
                </a:lnTo>
                <a:lnTo>
                  <a:pt x="6790" y="3767"/>
                </a:lnTo>
                <a:lnTo>
                  <a:pt x="6807" y="3774"/>
                </a:lnTo>
                <a:close/>
                <a:moveTo>
                  <a:pt x="2785" y="1985"/>
                </a:moveTo>
                <a:lnTo>
                  <a:pt x="2790" y="1966"/>
                </a:lnTo>
                <a:lnTo>
                  <a:pt x="2799" y="1923"/>
                </a:lnTo>
                <a:lnTo>
                  <a:pt x="2805" y="1899"/>
                </a:lnTo>
                <a:lnTo>
                  <a:pt x="2812" y="1876"/>
                </a:lnTo>
                <a:lnTo>
                  <a:pt x="2815" y="1866"/>
                </a:lnTo>
                <a:lnTo>
                  <a:pt x="2818" y="1857"/>
                </a:lnTo>
                <a:lnTo>
                  <a:pt x="2821" y="1850"/>
                </a:lnTo>
                <a:lnTo>
                  <a:pt x="2824" y="1846"/>
                </a:lnTo>
                <a:lnTo>
                  <a:pt x="2839" y="1829"/>
                </a:lnTo>
                <a:lnTo>
                  <a:pt x="2853" y="1812"/>
                </a:lnTo>
                <a:lnTo>
                  <a:pt x="2860" y="1804"/>
                </a:lnTo>
                <a:lnTo>
                  <a:pt x="2865" y="1796"/>
                </a:lnTo>
                <a:lnTo>
                  <a:pt x="2866" y="1791"/>
                </a:lnTo>
                <a:lnTo>
                  <a:pt x="2867" y="1788"/>
                </a:lnTo>
                <a:lnTo>
                  <a:pt x="2868" y="1784"/>
                </a:lnTo>
                <a:lnTo>
                  <a:pt x="2867" y="1780"/>
                </a:lnTo>
                <a:lnTo>
                  <a:pt x="2867" y="1771"/>
                </a:lnTo>
                <a:lnTo>
                  <a:pt x="2867" y="1761"/>
                </a:lnTo>
                <a:lnTo>
                  <a:pt x="2869" y="1750"/>
                </a:lnTo>
                <a:lnTo>
                  <a:pt x="2872" y="1740"/>
                </a:lnTo>
                <a:lnTo>
                  <a:pt x="2876" y="1731"/>
                </a:lnTo>
                <a:lnTo>
                  <a:pt x="2881" y="1722"/>
                </a:lnTo>
                <a:lnTo>
                  <a:pt x="2883" y="1719"/>
                </a:lnTo>
                <a:lnTo>
                  <a:pt x="2885" y="1717"/>
                </a:lnTo>
                <a:lnTo>
                  <a:pt x="2888" y="1715"/>
                </a:lnTo>
                <a:lnTo>
                  <a:pt x="2890" y="1714"/>
                </a:lnTo>
                <a:lnTo>
                  <a:pt x="2895" y="1711"/>
                </a:lnTo>
                <a:lnTo>
                  <a:pt x="2903" y="1704"/>
                </a:lnTo>
                <a:lnTo>
                  <a:pt x="2911" y="1696"/>
                </a:lnTo>
                <a:lnTo>
                  <a:pt x="2919" y="1687"/>
                </a:lnTo>
                <a:lnTo>
                  <a:pt x="2929" y="1679"/>
                </a:lnTo>
                <a:lnTo>
                  <a:pt x="2937" y="1673"/>
                </a:lnTo>
                <a:lnTo>
                  <a:pt x="2940" y="1672"/>
                </a:lnTo>
                <a:lnTo>
                  <a:pt x="2944" y="1672"/>
                </a:lnTo>
                <a:lnTo>
                  <a:pt x="2947" y="1673"/>
                </a:lnTo>
                <a:lnTo>
                  <a:pt x="2950" y="1675"/>
                </a:lnTo>
                <a:lnTo>
                  <a:pt x="2954" y="1680"/>
                </a:lnTo>
                <a:lnTo>
                  <a:pt x="2956" y="1681"/>
                </a:lnTo>
                <a:lnTo>
                  <a:pt x="2959" y="1681"/>
                </a:lnTo>
                <a:lnTo>
                  <a:pt x="2961" y="1678"/>
                </a:lnTo>
                <a:lnTo>
                  <a:pt x="2962" y="1674"/>
                </a:lnTo>
                <a:lnTo>
                  <a:pt x="2966" y="1669"/>
                </a:lnTo>
                <a:lnTo>
                  <a:pt x="2969" y="1665"/>
                </a:lnTo>
                <a:lnTo>
                  <a:pt x="2972" y="1660"/>
                </a:lnTo>
                <a:lnTo>
                  <a:pt x="2979" y="1655"/>
                </a:lnTo>
                <a:lnTo>
                  <a:pt x="2990" y="1645"/>
                </a:lnTo>
                <a:lnTo>
                  <a:pt x="3003" y="1631"/>
                </a:lnTo>
                <a:lnTo>
                  <a:pt x="3017" y="1615"/>
                </a:lnTo>
                <a:lnTo>
                  <a:pt x="3029" y="1600"/>
                </a:lnTo>
                <a:lnTo>
                  <a:pt x="3039" y="1585"/>
                </a:lnTo>
                <a:lnTo>
                  <a:pt x="3042" y="1579"/>
                </a:lnTo>
                <a:lnTo>
                  <a:pt x="3044" y="1572"/>
                </a:lnTo>
                <a:lnTo>
                  <a:pt x="3045" y="1568"/>
                </a:lnTo>
                <a:lnTo>
                  <a:pt x="3044" y="1564"/>
                </a:lnTo>
                <a:lnTo>
                  <a:pt x="3041" y="1558"/>
                </a:lnTo>
                <a:lnTo>
                  <a:pt x="3038" y="1551"/>
                </a:lnTo>
                <a:lnTo>
                  <a:pt x="3037" y="1546"/>
                </a:lnTo>
                <a:lnTo>
                  <a:pt x="3035" y="1541"/>
                </a:lnTo>
                <a:lnTo>
                  <a:pt x="3034" y="1533"/>
                </a:lnTo>
                <a:lnTo>
                  <a:pt x="3034" y="1529"/>
                </a:lnTo>
                <a:lnTo>
                  <a:pt x="3038" y="1535"/>
                </a:lnTo>
                <a:lnTo>
                  <a:pt x="3047" y="1547"/>
                </a:lnTo>
                <a:lnTo>
                  <a:pt x="3054" y="1553"/>
                </a:lnTo>
                <a:lnTo>
                  <a:pt x="3061" y="1558"/>
                </a:lnTo>
                <a:lnTo>
                  <a:pt x="3065" y="1560"/>
                </a:lnTo>
                <a:lnTo>
                  <a:pt x="3068" y="1561"/>
                </a:lnTo>
                <a:lnTo>
                  <a:pt x="3072" y="1561"/>
                </a:lnTo>
                <a:lnTo>
                  <a:pt x="3077" y="1560"/>
                </a:lnTo>
                <a:lnTo>
                  <a:pt x="3091" y="1553"/>
                </a:lnTo>
                <a:lnTo>
                  <a:pt x="3114" y="1540"/>
                </a:lnTo>
                <a:lnTo>
                  <a:pt x="3143" y="1521"/>
                </a:lnTo>
                <a:lnTo>
                  <a:pt x="3174" y="1500"/>
                </a:lnTo>
                <a:lnTo>
                  <a:pt x="3203" y="1480"/>
                </a:lnTo>
                <a:lnTo>
                  <a:pt x="3230" y="1462"/>
                </a:lnTo>
                <a:lnTo>
                  <a:pt x="3247" y="1450"/>
                </a:lnTo>
                <a:lnTo>
                  <a:pt x="3254" y="1446"/>
                </a:lnTo>
                <a:lnTo>
                  <a:pt x="3245" y="1440"/>
                </a:lnTo>
                <a:lnTo>
                  <a:pt x="3225" y="1432"/>
                </a:lnTo>
                <a:lnTo>
                  <a:pt x="3214" y="1428"/>
                </a:lnTo>
                <a:lnTo>
                  <a:pt x="3201" y="1425"/>
                </a:lnTo>
                <a:lnTo>
                  <a:pt x="3196" y="1425"/>
                </a:lnTo>
                <a:lnTo>
                  <a:pt x="3190" y="1425"/>
                </a:lnTo>
                <a:lnTo>
                  <a:pt x="3185" y="1425"/>
                </a:lnTo>
                <a:lnTo>
                  <a:pt x="3179" y="1427"/>
                </a:lnTo>
                <a:lnTo>
                  <a:pt x="3175" y="1428"/>
                </a:lnTo>
                <a:lnTo>
                  <a:pt x="3171" y="1429"/>
                </a:lnTo>
                <a:lnTo>
                  <a:pt x="3168" y="1429"/>
                </a:lnTo>
                <a:lnTo>
                  <a:pt x="3165" y="1429"/>
                </a:lnTo>
                <a:lnTo>
                  <a:pt x="3161" y="1428"/>
                </a:lnTo>
                <a:lnTo>
                  <a:pt x="3159" y="1426"/>
                </a:lnTo>
                <a:lnTo>
                  <a:pt x="3157" y="1425"/>
                </a:lnTo>
                <a:lnTo>
                  <a:pt x="3155" y="1423"/>
                </a:lnTo>
                <a:lnTo>
                  <a:pt x="3153" y="1417"/>
                </a:lnTo>
                <a:lnTo>
                  <a:pt x="3153" y="1412"/>
                </a:lnTo>
                <a:lnTo>
                  <a:pt x="3154" y="1408"/>
                </a:lnTo>
                <a:lnTo>
                  <a:pt x="3157" y="1404"/>
                </a:lnTo>
                <a:lnTo>
                  <a:pt x="3168" y="1397"/>
                </a:lnTo>
                <a:lnTo>
                  <a:pt x="3181" y="1392"/>
                </a:lnTo>
                <a:lnTo>
                  <a:pt x="3187" y="1389"/>
                </a:lnTo>
                <a:lnTo>
                  <a:pt x="3191" y="1386"/>
                </a:lnTo>
                <a:lnTo>
                  <a:pt x="3192" y="1384"/>
                </a:lnTo>
                <a:lnTo>
                  <a:pt x="3192" y="1383"/>
                </a:lnTo>
                <a:lnTo>
                  <a:pt x="3192" y="1381"/>
                </a:lnTo>
                <a:lnTo>
                  <a:pt x="3190" y="1380"/>
                </a:lnTo>
                <a:lnTo>
                  <a:pt x="3187" y="1375"/>
                </a:lnTo>
                <a:lnTo>
                  <a:pt x="3183" y="1371"/>
                </a:lnTo>
                <a:lnTo>
                  <a:pt x="3182" y="1366"/>
                </a:lnTo>
                <a:lnTo>
                  <a:pt x="3181" y="1361"/>
                </a:lnTo>
                <a:lnTo>
                  <a:pt x="3182" y="1357"/>
                </a:lnTo>
                <a:lnTo>
                  <a:pt x="3185" y="1353"/>
                </a:lnTo>
                <a:lnTo>
                  <a:pt x="3186" y="1352"/>
                </a:lnTo>
                <a:lnTo>
                  <a:pt x="3188" y="1351"/>
                </a:lnTo>
                <a:lnTo>
                  <a:pt x="3190" y="1352"/>
                </a:lnTo>
                <a:lnTo>
                  <a:pt x="3192" y="1352"/>
                </a:lnTo>
                <a:lnTo>
                  <a:pt x="3197" y="1357"/>
                </a:lnTo>
                <a:lnTo>
                  <a:pt x="3202" y="1363"/>
                </a:lnTo>
                <a:lnTo>
                  <a:pt x="3208" y="1371"/>
                </a:lnTo>
                <a:lnTo>
                  <a:pt x="3212" y="1380"/>
                </a:lnTo>
                <a:lnTo>
                  <a:pt x="3218" y="1395"/>
                </a:lnTo>
                <a:lnTo>
                  <a:pt x="3221" y="1402"/>
                </a:lnTo>
                <a:lnTo>
                  <a:pt x="3223" y="1407"/>
                </a:lnTo>
                <a:lnTo>
                  <a:pt x="3230" y="1416"/>
                </a:lnTo>
                <a:lnTo>
                  <a:pt x="3234" y="1421"/>
                </a:lnTo>
                <a:lnTo>
                  <a:pt x="3239" y="1425"/>
                </a:lnTo>
                <a:lnTo>
                  <a:pt x="3241" y="1426"/>
                </a:lnTo>
                <a:lnTo>
                  <a:pt x="3244" y="1426"/>
                </a:lnTo>
                <a:lnTo>
                  <a:pt x="3246" y="1426"/>
                </a:lnTo>
                <a:lnTo>
                  <a:pt x="3249" y="1425"/>
                </a:lnTo>
                <a:lnTo>
                  <a:pt x="3256" y="1420"/>
                </a:lnTo>
                <a:lnTo>
                  <a:pt x="3262" y="1414"/>
                </a:lnTo>
                <a:lnTo>
                  <a:pt x="3269" y="1408"/>
                </a:lnTo>
                <a:lnTo>
                  <a:pt x="3277" y="1399"/>
                </a:lnTo>
                <a:lnTo>
                  <a:pt x="3282" y="1391"/>
                </a:lnTo>
                <a:lnTo>
                  <a:pt x="3285" y="1383"/>
                </a:lnTo>
                <a:lnTo>
                  <a:pt x="3286" y="1379"/>
                </a:lnTo>
                <a:lnTo>
                  <a:pt x="3286" y="1374"/>
                </a:lnTo>
                <a:lnTo>
                  <a:pt x="3286" y="1370"/>
                </a:lnTo>
                <a:lnTo>
                  <a:pt x="3284" y="1367"/>
                </a:lnTo>
                <a:lnTo>
                  <a:pt x="3275" y="1350"/>
                </a:lnTo>
                <a:lnTo>
                  <a:pt x="3261" y="1329"/>
                </a:lnTo>
                <a:lnTo>
                  <a:pt x="3246" y="1309"/>
                </a:lnTo>
                <a:lnTo>
                  <a:pt x="3235" y="1295"/>
                </a:lnTo>
                <a:lnTo>
                  <a:pt x="3222" y="1282"/>
                </a:lnTo>
                <a:lnTo>
                  <a:pt x="3204" y="1266"/>
                </a:lnTo>
                <a:lnTo>
                  <a:pt x="3190" y="1253"/>
                </a:lnTo>
                <a:lnTo>
                  <a:pt x="3183" y="1248"/>
                </a:lnTo>
                <a:lnTo>
                  <a:pt x="3191" y="1247"/>
                </a:lnTo>
                <a:lnTo>
                  <a:pt x="3207" y="1243"/>
                </a:lnTo>
                <a:lnTo>
                  <a:pt x="3215" y="1242"/>
                </a:lnTo>
                <a:lnTo>
                  <a:pt x="3223" y="1242"/>
                </a:lnTo>
                <a:lnTo>
                  <a:pt x="3226" y="1242"/>
                </a:lnTo>
                <a:lnTo>
                  <a:pt x="3230" y="1243"/>
                </a:lnTo>
                <a:lnTo>
                  <a:pt x="3232" y="1244"/>
                </a:lnTo>
                <a:lnTo>
                  <a:pt x="3233" y="1245"/>
                </a:lnTo>
                <a:lnTo>
                  <a:pt x="3234" y="1248"/>
                </a:lnTo>
                <a:lnTo>
                  <a:pt x="3236" y="1248"/>
                </a:lnTo>
                <a:lnTo>
                  <a:pt x="3237" y="1248"/>
                </a:lnTo>
                <a:lnTo>
                  <a:pt x="3238" y="1248"/>
                </a:lnTo>
                <a:lnTo>
                  <a:pt x="3240" y="1244"/>
                </a:lnTo>
                <a:lnTo>
                  <a:pt x="3241" y="1240"/>
                </a:lnTo>
                <a:lnTo>
                  <a:pt x="3244" y="1232"/>
                </a:lnTo>
                <a:lnTo>
                  <a:pt x="3245" y="1228"/>
                </a:lnTo>
                <a:lnTo>
                  <a:pt x="3246" y="1221"/>
                </a:lnTo>
                <a:lnTo>
                  <a:pt x="3247" y="1211"/>
                </a:lnTo>
                <a:lnTo>
                  <a:pt x="3249" y="1206"/>
                </a:lnTo>
                <a:lnTo>
                  <a:pt x="3252" y="1203"/>
                </a:lnTo>
                <a:lnTo>
                  <a:pt x="3253" y="1201"/>
                </a:lnTo>
                <a:lnTo>
                  <a:pt x="3255" y="1201"/>
                </a:lnTo>
                <a:lnTo>
                  <a:pt x="3256" y="1203"/>
                </a:lnTo>
                <a:lnTo>
                  <a:pt x="3258" y="1205"/>
                </a:lnTo>
                <a:lnTo>
                  <a:pt x="3260" y="1207"/>
                </a:lnTo>
                <a:lnTo>
                  <a:pt x="3262" y="1209"/>
                </a:lnTo>
                <a:lnTo>
                  <a:pt x="3265" y="1210"/>
                </a:lnTo>
                <a:lnTo>
                  <a:pt x="3268" y="1211"/>
                </a:lnTo>
                <a:lnTo>
                  <a:pt x="3276" y="1212"/>
                </a:lnTo>
                <a:lnTo>
                  <a:pt x="3283" y="1211"/>
                </a:lnTo>
                <a:lnTo>
                  <a:pt x="3296" y="1209"/>
                </a:lnTo>
                <a:lnTo>
                  <a:pt x="3301" y="1207"/>
                </a:lnTo>
                <a:lnTo>
                  <a:pt x="3300" y="1201"/>
                </a:lnTo>
                <a:lnTo>
                  <a:pt x="3298" y="1191"/>
                </a:lnTo>
                <a:lnTo>
                  <a:pt x="3295" y="1180"/>
                </a:lnTo>
                <a:lnTo>
                  <a:pt x="3292" y="1174"/>
                </a:lnTo>
                <a:lnTo>
                  <a:pt x="3284" y="1170"/>
                </a:lnTo>
                <a:lnTo>
                  <a:pt x="3270" y="1161"/>
                </a:lnTo>
                <a:lnTo>
                  <a:pt x="3265" y="1155"/>
                </a:lnTo>
                <a:lnTo>
                  <a:pt x="3261" y="1150"/>
                </a:lnTo>
                <a:lnTo>
                  <a:pt x="3260" y="1147"/>
                </a:lnTo>
                <a:lnTo>
                  <a:pt x="3260" y="1145"/>
                </a:lnTo>
                <a:lnTo>
                  <a:pt x="3261" y="1143"/>
                </a:lnTo>
                <a:lnTo>
                  <a:pt x="3263" y="1141"/>
                </a:lnTo>
                <a:lnTo>
                  <a:pt x="3277" y="1133"/>
                </a:lnTo>
                <a:lnTo>
                  <a:pt x="3295" y="1126"/>
                </a:lnTo>
                <a:lnTo>
                  <a:pt x="3311" y="1120"/>
                </a:lnTo>
                <a:lnTo>
                  <a:pt x="3320" y="1119"/>
                </a:lnTo>
                <a:lnTo>
                  <a:pt x="3321" y="1118"/>
                </a:lnTo>
                <a:lnTo>
                  <a:pt x="3320" y="1114"/>
                </a:lnTo>
                <a:lnTo>
                  <a:pt x="3318" y="1110"/>
                </a:lnTo>
                <a:lnTo>
                  <a:pt x="3314" y="1104"/>
                </a:lnTo>
                <a:lnTo>
                  <a:pt x="3306" y="1091"/>
                </a:lnTo>
                <a:lnTo>
                  <a:pt x="3296" y="1080"/>
                </a:lnTo>
                <a:lnTo>
                  <a:pt x="3290" y="1075"/>
                </a:lnTo>
                <a:lnTo>
                  <a:pt x="3284" y="1066"/>
                </a:lnTo>
                <a:lnTo>
                  <a:pt x="3279" y="1058"/>
                </a:lnTo>
                <a:lnTo>
                  <a:pt x="3274" y="1048"/>
                </a:lnTo>
                <a:lnTo>
                  <a:pt x="3270" y="1040"/>
                </a:lnTo>
                <a:lnTo>
                  <a:pt x="3268" y="1034"/>
                </a:lnTo>
                <a:lnTo>
                  <a:pt x="3267" y="1032"/>
                </a:lnTo>
                <a:lnTo>
                  <a:pt x="3267" y="1031"/>
                </a:lnTo>
                <a:lnTo>
                  <a:pt x="3268" y="1030"/>
                </a:lnTo>
                <a:lnTo>
                  <a:pt x="3269" y="1031"/>
                </a:lnTo>
                <a:lnTo>
                  <a:pt x="3281" y="1038"/>
                </a:lnTo>
                <a:lnTo>
                  <a:pt x="3299" y="1048"/>
                </a:lnTo>
                <a:lnTo>
                  <a:pt x="3307" y="1053"/>
                </a:lnTo>
                <a:lnTo>
                  <a:pt x="3315" y="1056"/>
                </a:lnTo>
                <a:lnTo>
                  <a:pt x="3318" y="1056"/>
                </a:lnTo>
                <a:lnTo>
                  <a:pt x="3321" y="1056"/>
                </a:lnTo>
                <a:lnTo>
                  <a:pt x="3322" y="1055"/>
                </a:lnTo>
                <a:lnTo>
                  <a:pt x="3323" y="1054"/>
                </a:lnTo>
                <a:lnTo>
                  <a:pt x="3321" y="1046"/>
                </a:lnTo>
                <a:lnTo>
                  <a:pt x="3317" y="1035"/>
                </a:lnTo>
                <a:lnTo>
                  <a:pt x="3310" y="1022"/>
                </a:lnTo>
                <a:lnTo>
                  <a:pt x="3303" y="1008"/>
                </a:lnTo>
                <a:lnTo>
                  <a:pt x="3295" y="994"/>
                </a:lnTo>
                <a:lnTo>
                  <a:pt x="3288" y="982"/>
                </a:lnTo>
                <a:lnTo>
                  <a:pt x="3282" y="974"/>
                </a:lnTo>
                <a:lnTo>
                  <a:pt x="3279" y="970"/>
                </a:lnTo>
                <a:lnTo>
                  <a:pt x="3271" y="968"/>
                </a:lnTo>
                <a:lnTo>
                  <a:pt x="3262" y="964"/>
                </a:lnTo>
                <a:lnTo>
                  <a:pt x="3258" y="959"/>
                </a:lnTo>
                <a:lnTo>
                  <a:pt x="3256" y="955"/>
                </a:lnTo>
                <a:lnTo>
                  <a:pt x="3256" y="952"/>
                </a:lnTo>
                <a:lnTo>
                  <a:pt x="3256" y="949"/>
                </a:lnTo>
                <a:lnTo>
                  <a:pt x="3257" y="946"/>
                </a:lnTo>
                <a:lnTo>
                  <a:pt x="3258" y="942"/>
                </a:lnTo>
                <a:lnTo>
                  <a:pt x="3263" y="933"/>
                </a:lnTo>
                <a:lnTo>
                  <a:pt x="3269" y="925"/>
                </a:lnTo>
                <a:lnTo>
                  <a:pt x="3276" y="918"/>
                </a:lnTo>
                <a:lnTo>
                  <a:pt x="3282" y="910"/>
                </a:lnTo>
                <a:lnTo>
                  <a:pt x="3289" y="905"/>
                </a:lnTo>
                <a:lnTo>
                  <a:pt x="3296" y="902"/>
                </a:lnTo>
                <a:lnTo>
                  <a:pt x="3299" y="902"/>
                </a:lnTo>
                <a:lnTo>
                  <a:pt x="3302" y="902"/>
                </a:lnTo>
                <a:lnTo>
                  <a:pt x="3304" y="903"/>
                </a:lnTo>
                <a:lnTo>
                  <a:pt x="3306" y="905"/>
                </a:lnTo>
                <a:lnTo>
                  <a:pt x="3317" y="915"/>
                </a:lnTo>
                <a:lnTo>
                  <a:pt x="3328" y="927"/>
                </a:lnTo>
                <a:lnTo>
                  <a:pt x="3332" y="932"/>
                </a:lnTo>
                <a:lnTo>
                  <a:pt x="3336" y="935"/>
                </a:lnTo>
                <a:lnTo>
                  <a:pt x="3339" y="936"/>
                </a:lnTo>
                <a:lnTo>
                  <a:pt x="3340" y="937"/>
                </a:lnTo>
                <a:lnTo>
                  <a:pt x="3341" y="937"/>
                </a:lnTo>
                <a:lnTo>
                  <a:pt x="3342" y="936"/>
                </a:lnTo>
                <a:lnTo>
                  <a:pt x="3343" y="922"/>
                </a:lnTo>
                <a:lnTo>
                  <a:pt x="3343" y="896"/>
                </a:lnTo>
                <a:lnTo>
                  <a:pt x="3344" y="870"/>
                </a:lnTo>
                <a:lnTo>
                  <a:pt x="3344" y="860"/>
                </a:lnTo>
                <a:lnTo>
                  <a:pt x="3335" y="861"/>
                </a:lnTo>
                <a:lnTo>
                  <a:pt x="3325" y="864"/>
                </a:lnTo>
                <a:lnTo>
                  <a:pt x="3318" y="865"/>
                </a:lnTo>
                <a:lnTo>
                  <a:pt x="3306" y="864"/>
                </a:lnTo>
                <a:lnTo>
                  <a:pt x="3301" y="863"/>
                </a:lnTo>
                <a:lnTo>
                  <a:pt x="3297" y="861"/>
                </a:lnTo>
                <a:lnTo>
                  <a:pt x="3296" y="860"/>
                </a:lnTo>
                <a:lnTo>
                  <a:pt x="3295" y="859"/>
                </a:lnTo>
                <a:lnTo>
                  <a:pt x="3295" y="857"/>
                </a:lnTo>
                <a:lnTo>
                  <a:pt x="3295" y="856"/>
                </a:lnTo>
                <a:lnTo>
                  <a:pt x="3301" y="845"/>
                </a:lnTo>
                <a:lnTo>
                  <a:pt x="3308" y="834"/>
                </a:lnTo>
                <a:lnTo>
                  <a:pt x="3314" y="823"/>
                </a:lnTo>
                <a:lnTo>
                  <a:pt x="3317" y="818"/>
                </a:lnTo>
                <a:lnTo>
                  <a:pt x="3312" y="818"/>
                </a:lnTo>
                <a:lnTo>
                  <a:pt x="3304" y="820"/>
                </a:lnTo>
                <a:lnTo>
                  <a:pt x="3295" y="824"/>
                </a:lnTo>
                <a:lnTo>
                  <a:pt x="3287" y="827"/>
                </a:lnTo>
                <a:lnTo>
                  <a:pt x="3281" y="830"/>
                </a:lnTo>
                <a:lnTo>
                  <a:pt x="3274" y="830"/>
                </a:lnTo>
                <a:lnTo>
                  <a:pt x="3270" y="828"/>
                </a:lnTo>
                <a:lnTo>
                  <a:pt x="3268" y="825"/>
                </a:lnTo>
                <a:lnTo>
                  <a:pt x="3266" y="822"/>
                </a:lnTo>
                <a:lnTo>
                  <a:pt x="3266" y="817"/>
                </a:lnTo>
                <a:lnTo>
                  <a:pt x="3267" y="806"/>
                </a:lnTo>
                <a:lnTo>
                  <a:pt x="3267" y="797"/>
                </a:lnTo>
                <a:lnTo>
                  <a:pt x="3268" y="793"/>
                </a:lnTo>
                <a:lnTo>
                  <a:pt x="3270" y="790"/>
                </a:lnTo>
                <a:lnTo>
                  <a:pt x="3273" y="787"/>
                </a:lnTo>
                <a:lnTo>
                  <a:pt x="3276" y="783"/>
                </a:lnTo>
                <a:lnTo>
                  <a:pt x="3283" y="779"/>
                </a:lnTo>
                <a:lnTo>
                  <a:pt x="3290" y="775"/>
                </a:lnTo>
                <a:lnTo>
                  <a:pt x="3292" y="772"/>
                </a:lnTo>
                <a:lnTo>
                  <a:pt x="3293" y="768"/>
                </a:lnTo>
                <a:lnTo>
                  <a:pt x="3293" y="761"/>
                </a:lnTo>
                <a:lnTo>
                  <a:pt x="3290" y="754"/>
                </a:lnTo>
                <a:lnTo>
                  <a:pt x="3284" y="737"/>
                </a:lnTo>
                <a:lnTo>
                  <a:pt x="3280" y="726"/>
                </a:lnTo>
                <a:lnTo>
                  <a:pt x="3279" y="721"/>
                </a:lnTo>
                <a:lnTo>
                  <a:pt x="3278" y="715"/>
                </a:lnTo>
                <a:lnTo>
                  <a:pt x="3279" y="712"/>
                </a:lnTo>
                <a:lnTo>
                  <a:pt x="3281" y="708"/>
                </a:lnTo>
                <a:lnTo>
                  <a:pt x="3291" y="700"/>
                </a:lnTo>
                <a:lnTo>
                  <a:pt x="3306" y="688"/>
                </a:lnTo>
                <a:lnTo>
                  <a:pt x="3314" y="683"/>
                </a:lnTo>
                <a:lnTo>
                  <a:pt x="3321" y="678"/>
                </a:lnTo>
                <a:lnTo>
                  <a:pt x="3325" y="673"/>
                </a:lnTo>
                <a:lnTo>
                  <a:pt x="3327" y="670"/>
                </a:lnTo>
                <a:lnTo>
                  <a:pt x="3325" y="659"/>
                </a:lnTo>
                <a:lnTo>
                  <a:pt x="3323" y="640"/>
                </a:lnTo>
                <a:lnTo>
                  <a:pt x="3320" y="621"/>
                </a:lnTo>
                <a:lnTo>
                  <a:pt x="3319" y="614"/>
                </a:lnTo>
                <a:lnTo>
                  <a:pt x="3324" y="607"/>
                </a:lnTo>
                <a:lnTo>
                  <a:pt x="3336" y="595"/>
                </a:lnTo>
                <a:lnTo>
                  <a:pt x="3348" y="581"/>
                </a:lnTo>
                <a:lnTo>
                  <a:pt x="3354" y="572"/>
                </a:lnTo>
                <a:lnTo>
                  <a:pt x="3353" y="571"/>
                </a:lnTo>
                <a:lnTo>
                  <a:pt x="3351" y="569"/>
                </a:lnTo>
                <a:lnTo>
                  <a:pt x="3348" y="568"/>
                </a:lnTo>
                <a:lnTo>
                  <a:pt x="3344" y="567"/>
                </a:lnTo>
                <a:lnTo>
                  <a:pt x="3337" y="564"/>
                </a:lnTo>
                <a:lnTo>
                  <a:pt x="3334" y="564"/>
                </a:lnTo>
                <a:lnTo>
                  <a:pt x="3334" y="568"/>
                </a:lnTo>
                <a:lnTo>
                  <a:pt x="3334" y="574"/>
                </a:lnTo>
                <a:lnTo>
                  <a:pt x="3333" y="578"/>
                </a:lnTo>
                <a:lnTo>
                  <a:pt x="3331" y="581"/>
                </a:lnTo>
                <a:lnTo>
                  <a:pt x="3327" y="583"/>
                </a:lnTo>
                <a:lnTo>
                  <a:pt x="3321" y="583"/>
                </a:lnTo>
                <a:lnTo>
                  <a:pt x="3309" y="583"/>
                </a:lnTo>
                <a:lnTo>
                  <a:pt x="3303" y="583"/>
                </a:lnTo>
                <a:lnTo>
                  <a:pt x="3302" y="582"/>
                </a:lnTo>
                <a:lnTo>
                  <a:pt x="3302" y="579"/>
                </a:lnTo>
                <a:lnTo>
                  <a:pt x="3302" y="575"/>
                </a:lnTo>
                <a:lnTo>
                  <a:pt x="3304" y="569"/>
                </a:lnTo>
                <a:lnTo>
                  <a:pt x="3307" y="556"/>
                </a:lnTo>
                <a:lnTo>
                  <a:pt x="3311" y="547"/>
                </a:lnTo>
                <a:lnTo>
                  <a:pt x="3315" y="539"/>
                </a:lnTo>
                <a:lnTo>
                  <a:pt x="3323" y="530"/>
                </a:lnTo>
                <a:lnTo>
                  <a:pt x="3325" y="529"/>
                </a:lnTo>
                <a:lnTo>
                  <a:pt x="3328" y="528"/>
                </a:lnTo>
                <a:lnTo>
                  <a:pt x="3330" y="529"/>
                </a:lnTo>
                <a:lnTo>
                  <a:pt x="3332" y="530"/>
                </a:lnTo>
                <a:lnTo>
                  <a:pt x="3339" y="535"/>
                </a:lnTo>
                <a:lnTo>
                  <a:pt x="3345" y="542"/>
                </a:lnTo>
                <a:lnTo>
                  <a:pt x="3348" y="546"/>
                </a:lnTo>
                <a:lnTo>
                  <a:pt x="3351" y="548"/>
                </a:lnTo>
                <a:lnTo>
                  <a:pt x="3354" y="550"/>
                </a:lnTo>
                <a:lnTo>
                  <a:pt x="3357" y="551"/>
                </a:lnTo>
                <a:lnTo>
                  <a:pt x="3362" y="551"/>
                </a:lnTo>
                <a:lnTo>
                  <a:pt x="3365" y="550"/>
                </a:lnTo>
                <a:lnTo>
                  <a:pt x="3369" y="547"/>
                </a:lnTo>
                <a:lnTo>
                  <a:pt x="3372" y="542"/>
                </a:lnTo>
                <a:lnTo>
                  <a:pt x="3385" y="525"/>
                </a:lnTo>
                <a:lnTo>
                  <a:pt x="3393" y="514"/>
                </a:lnTo>
                <a:lnTo>
                  <a:pt x="3395" y="511"/>
                </a:lnTo>
                <a:lnTo>
                  <a:pt x="3396" y="508"/>
                </a:lnTo>
                <a:lnTo>
                  <a:pt x="3395" y="505"/>
                </a:lnTo>
                <a:lnTo>
                  <a:pt x="3393" y="502"/>
                </a:lnTo>
                <a:lnTo>
                  <a:pt x="3388" y="494"/>
                </a:lnTo>
                <a:lnTo>
                  <a:pt x="3383" y="489"/>
                </a:lnTo>
                <a:lnTo>
                  <a:pt x="3378" y="487"/>
                </a:lnTo>
                <a:lnTo>
                  <a:pt x="3373" y="486"/>
                </a:lnTo>
                <a:lnTo>
                  <a:pt x="3366" y="486"/>
                </a:lnTo>
                <a:lnTo>
                  <a:pt x="3355" y="487"/>
                </a:lnTo>
                <a:lnTo>
                  <a:pt x="3346" y="488"/>
                </a:lnTo>
                <a:lnTo>
                  <a:pt x="3337" y="487"/>
                </a:lnTo>
                <a:lnTo>
                  <a:pt x="3331" y="485"/>
                </a:lnTo>
                <a:lnTo>
                  <a:pt x="3326" y="482"/>
                </a:lnTo>
                <a:lnTo>
                  <a:pt x="3322" y="481"/>
                </a:lnTo>
                <a:lnTo>
                  <a:pt x="3318" y="480"/>
                </a:lnTo>
                <a:lnTo>
                  <a:pt x="3315" y="481"/>
                </a:lnTo>
                <a:lnTo>
                  <a:pt x="3312" y="482"/>
                </a:lnTo>
                <a:lnTo>
                  <a:pt x="3310" y="484"/>
                </a:lnTo>
                <a:lnTo>
                  <a:pt x="3307" y="487"/>
                </a:lnTo>
                <a:lnTo>
                  <a:pt x="3302" y="493"/>
                </a:lnTo>
                <a:lnTo>
                  <a:pt x="3297" y="497"/>
                </a:lnTo>
                <a:lnTo>
                  <a:pt x="3291" y="499"/>
                </a:lnTo>
                <a:lnTo>
                  <a:pt x="3288" y="502"/>
                </a:lnTo>
                <a:lnTo>
                  <a:pt x="3285" y="501"/>
                </a:lnTo>
                <a:lnTo>
                  <a:pt x="3283" y="499"/>
                </a:lnTo>
                <a:lnTo>
                  <a:pt x="3283" y="497"/>
                </a:lnTo>
                <a:lnTo>
                  <a:pt x="3284" y="494"/>
                </a:lnTo>
                <a:lnTo>
                  <a:pt x="3289" y="486"/>
                </a:lnTo>
                <a:lnTo>
                  <a:pt x="3297" y="477"/>
                </a:lnTo>
                <a:lnTo>
                  <a:pt x="3301" y="474"/>
                </a:lnTo>
                <a:lnTo>
                  <a:pt x="3305" y="471"/>
                </a:lnTo>
                <a:lnTo>
                  <a:pt x="3308" y="470"/>
                </a:lnTo>
                <a:lnTo>
                  <a:pt x="3311" y="470"/>
                </a:lnTo>
                <a:lnTo>
                  <a:pt x="3320" y="473"/>
                </a:lnTo>
                <a:lnTo>
                  <a:pt x="3330" y="477"/>
                </a:lnTo>
                <a:lnTo>
                  <a:pt x="3335" y="479"/>
                </a:lnTo>
                <a:lnTo>
                  <a:pt x="3342" y="479"/>
                </a:lnTo>
                <a:lnTo>
                  <a:pt x="3345" y="477"/>
                </a:lnTo>
                <a:lnTo>
                  <a:pt x="3348" y="475"/>
                </a:lnTo>
                <a:lnTo>
                  <a:pt x="3351" y="473"/>
                </a:lnTo>
                <a:lnTo>
                  <a:pt x="3354" y="471"/>
                </a:lnTo>
                <a:lnTo>
                  <a:pt x="3357" y="468"/>
                </a:lnTo>
                <a:lnTo>
                  <a:pt x="3361" y="466"/>
                </a:lnTo>
                <a:lnTo>
                  <a:pt x="3364" y="464"/>
                </a:lnTo>
                <a:lnTo>
                  <a:pt x="3367" y="463"/>
                </a:lnTo>
                <a:lnTo>
                  <a:pt x="3374" y="461"/>
                </a:lnTo>
                <a:lnTo>
                  <a:pt x="3380" y="461"/>
                </a:lnTo>
                <a:lnTo>
                  <a:pt x="3392" y="463"/>
                </a:lnTo>
                <a:lnTo>
                  <a:pt x="3396" y="465"/>
                </a:lnTo>
                <a:lnTo>
                  <a:pt x="3397" y="465"/>
                </a:lnTo>
                <a:lnTo>
                  <a:pt x="3402" y="462"/>
                </a:lnTo>
                <a:lnTo>
                  <a:pt x="3407" y="460"/>
                </a:lnTo>
                <a:lnTo>
                  <a:pt x="3412" y="454"/>
                </a:lnTo>
                <a:lnTo>
                  <a:pt x="3417" y="447"/>
                </a:lnTo>
                <a:lnTo>
                  <a:pt x="3423" y="437"/>
                </a:lnTo>
                <a:lnTo>
                  <a:pt x="3432" y="425"/>
                </a:lnTo>
                <a:lnTo>
                  <a:pt x="3441" y="414"/>
                </a:lnTo>
                <a:lnTo>
                  <a:pt x="3452" y="402"/>
                </a:lnTo>
                <a:lnTo>
                  <a:pt x="3462" y="392"/>
                </a:lnTo>
                <a:lnTo>
                  <a:pt x="3472" y="382"/>
                </a:lnTo>
                <a:lnTo>
                  <a:pt x="3479" y="373"/>
                </a:lnTo>
                <a:lnTo>
                  <a:pt x="3481" y="368"/>
                </a:lnTo>
                <a:lnTo>
                  <a:pt x="3482" y="365"/>
                </a:lnTo>
                <a:lnTo>
                  <a:pt x="3483" y="362"/>
                </a:lnTo>
                <a:lnTo>
                  <a:pt x="3482" y="359"/>
                </a:lnTo>
                <a:lnTo>
                  <a:pt x="3477" y="351"/>
                </a:lnTo>
                <a:lnTo>
                  <a:pt x="3470" y="338"/>
                </a:lnTo>
                <a:lnTo>
                  <a:pt x="3459" y="323"/>
                </a:lnTo>
                <a:lnTo>
                  <a:pt x="3446" y="309"/>
                </a:lnTo>
                <a:lnTo>
                  <a:pt x="3439" y="301"/>
                </a:lnTo>
                <a:lnTo>
                  <a:pt x="3432" y="296"/>
                </a:lnTo>
                <a:lnTo>
                  <a:pt x="3424" y="290"/>
                </a:lnTo>
                <a:lnTo>
                  <a:pt x="3417" y="287"/>
                </a:lnTo>
                <a:lnTo>
                  <a:pt x="3410" y="284"/>
                </a:lnTo>
                <a:lnTo>
                  <a:pt x="3402" y="283"/>
                </a:lnTo>
                <a:lnTo>
                  <a:pt x="3399" y="284"/>
                </a:lnTo>
                <a:lnTo>
                  <a:pt x="3395" y="284"/>
                </a:lnTo>
                <a:lnTo>
                  <a:pt x="3392" y="286"/>
                </a:lnTo>
                <a:lnTo>
                  <a:pt x="3389" y="287"/>
                </a:lnTo>
                <a:lnTo>
                  <a:pt x="3383" y="292"/>
                </a:lnTo>
                <a:lnTo>
                  <a:pt x="3377" y="297"/>
                </a:lnTo>
                <a:lnTo>
                  <a:pt x="3373" y="302"/>
                </a:lnTo>
                <a:lnTo>
                  <a:pt x="3370" y="309"/>
                </a:lnTo>
                <a:lnTo>
                  <a:pt x="3365" y="320"/>
                </a:lnTo>
                <a:lnTo>
                  <a:pt x="3362" y="331"/>
                </a:lnTo>
                <a:lnTo>
                  <a:pt x="3359" y="339"/>
                </a:lnTo>
                <a:lnTo>
                  <a:pt x="3357" y="344"/>
                </a:lnTo>
                <a:lnTo>
                  <a:pt x="3355" y="345"/>
                </a:lnTo>
                <a:lnTo>
                  <a:pt x="3354" y="345"/>
                </a:lnTo>
                <a:lnTo>
                  <a:pt x="3351" y="344"/>
                </a:lnTo>
                <a:lnTo>
                  <a:pt x="3349" y="341"/>
                </a:lnTo>
                <a:lnTo>
                  <a:pt x="3339" y="331"/>
                </a:lnTo>
                <a:lnTo>
                  <a:pt x="3331" y="327"/>
                </a:lnTo>
                <a:lnTo>
                  <a:pt x="3330" y="326"/>
                </a:lnTo>
                <a:lnTo>
                  <a:pt x="3328" y="327"/>
                </a:lnTo>
                <a:lnTo>
                  <a:pt x="3328" y="328"/>
                </a:lnTo>
                <a:lnTo>
                  <a:pt x="3327" y="330"/>
                </a:lnTo>
                <a:lnTo>
                  <a:pt x="3328" y="333"/>
                </a:lnTo>
                <a:lnTo>
                  <a:pt x="3332" y="336"/>
                </a:lnTo>
                <a:lnTo>
                  <a:pt x="3337" y="339"/>
                </a:lnTo>
                <a:lnTo>
                  <a:pt x="3344" y="342"/>
                </a:lnTo>
                <a:lnTo>
                  <a:pt x="3349" y="345"/>
                </a:lnTo>
                <a:lnTo>
                  <a:pt x="3351" y="349"/>
                </a:lnTo>
                <a:lnTo>
                  <a:pt x="3352" y="351"/>
                </a:lnTo>
                <a:lnTo>
                  <a:pt x="3352" y="352"/>
                </a:lnTo>
                <a:lnTo>
                  <a:pt x="3350" y="354"/>
                </a:lnTo>
                <a:lnTo>
                  <a:pt x="3348" y="355"/>
                </a:lnTo>
                <a:lnTo>
                  <a:pt x="3337" y="360"/>
                </a:lnTo>
                <a:lnTo>
                  <a:pt x="3331" y="363"/>
                </a:lnTo>
                <a:lnTo>
                  <a:pt x="3328" y="363"/>
                </a:lnTo>
                <a:lnTo>
                  <a:pt x="3325" y="363"/>
                </a:lnTo>
                <a:lnTo>
                  <a:pt x="3321" y="361"/>
                </a:lnTo>
                <a:lnTo>
                  <a:pt x="3315" y="358"/>
                </a:lnTo>
                <a:lnTo>
                  <a:pt x="3313" y="356"/>
                </a:lnTo>
                <a:lnTo>
                  <a:pt x="3311" y="353"/>
                </a:lnTo>
                <a:lnTo>
                  <a:pt x="3309" y="350"/>
                </a:lnTo>
                <a:lnTo>
                  <a:pt x="3308" y="345"/>
                </a:lnTo>
                <a:lnTo>
                  <a:pt x="3306" y="338"/>
                </a:lnTo>
                <a:lnTo>
                  <a:pt x="3305" y="332"/>
                </a:lnTo>
                <a:lnTo>
                  <a:pt x="3303" y="327"/>
                </a:lnTo>
                <a:lnTo>
                  <a:pt x="3302" y="326"/>
                </a:lnTo>
                <a:lnTo>
                  <a:pt x="3299" y="329"/>
                </a:lnTo>
                <a:lnTo>
                  <a:pt x="3295" y="338"/>
                </a:lnTo>
                <a:lnTo>
                  <a:pt x="3288" y="350"/>
                </a:lnTo>
                <a:lnTo>
                  <a:pt x="3283" y="359"/>
                </a:lnTo>
                <a:lnTo>
                  <a:pt x="3277" y="366"/>
                </a:lnTo>
                <a:lnTo>
                  <a:pt x="3270" y="373"/>
                </a:lnTo>
                <a:lnTo>
                  <a:pt x="3265" y="379"/>
                </a:lnTo>
                <a:lnTo>
                  <a:pt x="3260" y="384"/>
                </a:lnTo>
                <a:lnTo>
                  <a:pt x="3256" y="390"/>
                </a:lnTo>
                <a:lnTo>
                  <a:pt x="3254" y="398"/>
                </a:lnTo>
                <a:lnTo>
                  <a:pt x="3249" y="416"/>
                </a:lnTo>
                <a:lnTo>
                  <a:pt x="3245" y="435"/>
                </a:lnTo>
                <a:lnTo>
                  <a:pt x="3243" y="444"/>
                </a:lnTo>
                <a:lnTo>
                  <a:pt x="3241" y="452"/>
                </a:lnTo>
                <a:lnTo>
                  <a:pt x="3238" y="459"/>
                </a:lnTo>
                <a:lnTo>
                  <a:pt x="3235" y="465"/>
                </a:lnTo>
                <a:lnTo>
                  <a:pt x="3230" y="469"/>
                </a:lnTo>
                <a:lnTo>
                  <a:pt x="3223" y="472"/>
                </a:lnTo>
                <a:lnTo>
                  <a:pt x="3216" y="475"/>
                </a:lnTo>
                <a:lnTo>
                  <a:pt x="3210" y="476"/>
                </a:lnTo>
                <a:lnTo>
                  <a:pt x="3207" y="476"/>
                </a:lnTo>
                <a:lnTo>
                  <a:pt x="3203" y="476"/>
                </a:lnTo>
                <a:lnTo>
                  <a:pt x="3201" y="475"/>
                </a:lnTo>
                <a:lnTo>
                  <a:pt x="3200" y="474"/>
                </a:lnTo>
                <a:lnTo>
                  <a:pt x="3199" y="472"/>
                </a:lnTo>
                <a:lnTo>
                  <a:pt x="3200" y="469"/>
                </a:lnTo>
                <a:lnTo>
                  <a:pt x="3201" y="466"/>
                </a:lnTo>
                <a:lnTo>
                  <a:pt x="3204" y="463"/>
                </a:lnTo>
                <a:lnTo>
                  <a:pt x="3215" y="447"/>
                </a:lnTo>
                <a:lnTo>
                  <a:pt x="3223" y="436"/>
                </a:lnTo>
                <a:lnTo>
                  <a:pt x="3230" y="423"/>
                </a:lnTo>
                <a:lnTo>
                  <a:pt x="3235" y="409"/>
                </a:lnTo>
                <a:lnTo>
                  <a:pt x="3241" y="393"/>
                </a:lnTo>
                <a:lnTo>
                  <a:pt x="3248" y="375"/>
                </a:lnTo>
                <a:lnTo>
                  <a:pt x="3253" y="365"/>
                </a:lnTo>
                <a:lnTo>
                  <a:pt x="3255" y="357"/>
                </a:lnTo>
                <a:lnTo>
                  <a:pt x="3257" y="349"/>
                </a:lnTo>
                <a:lnTo>
                  <a:pt x="3258" y="340"/>
                </a:lnTo>
                <a:lnTo>
                  <a:pt x="3257" y="318"/>
                </a:lnTo>
                <a:lnTo>
                  <a:pt x="3257" y="289"/>
                </a:lnTo>
                <a:lnTo>
                  <a:pt x="3256" y="276"/>
                </a:lnTo>
                <a:lnTo>
                  <a:pt x="3253" y="266"/>
                </a:lnTo>
                <a:lnTo>
                  <a:pt x="3252" y="264"/>
                </a:lnTo>
                <a:lnTo>
                  <a:pt x="3248" y="262"/>
                </a:lnTo>
                <a:lnTo>
                  <a:pt x="3246" y="262"/>
                </a:lnTo>
                <a:lnTo>
                  <a:pt x="3243" y="264"/>
                </a:lnTo>
                <a:lnTo>
                  <a:pt x="3229" y="274"/>
                </a:lnTo>
                <a:lnTo>
                  <a:pt x="3215" y="284"/>
                </a:lnTo>
                <a:lnTo>
                  <a:pt x="3209" y="289"/>
                </a:lnTo>
                <a:lnTo>
                  <a:pt x="3203" y="293"/>
                </a:lnTo>
                <a:lnTo>
                  <a:pt x="3200" y="298"/>
                </a:lnTo>
                <a:lnTo>
                  <a:pt x="3199" y="305"/>
                </a:lnTo>
                <a:lnTo>
                  <a:pt x="3197" y="311"/>
                </a:lnTo>
                <a:lnTo>
                  <a:pt x="3195" y="318"/>
                </a:lnTo>
                <a:lnTo>
                  <a:pt x="3191" y="327"/>
                </a:lnTo>
                <a:lnTo>
                  <a:pt x="3186" y="334"/>
                </a:lnTo>
                <a:lnTo>
                  <a:pt x="3180" y="341"/>
                </a:lnTo>
                <a:lnTo>
                  <a:pt x="3174" y="348"/>
                </a:lnTo>
                <a:lnTo>
                  <a:pt x="3169" y="352"/>
                </a:lnTo>
                <a:lnTo>
                  <a:pt x="3164" y="355"/>
                </a:lnTo>
                <a:lnTo>
                  <a:pt x="3152" y="359"/>
                </a:lnTo>
                <a:lnTo>
                  <a:pt x="3138" y="364"/>
                </a:lnTo>
                <a:lnTo>
                  <a:pt x="3127" y="368"/>
                </a:lnTo>
                <a:lnTo>
                  <a:pt x="3122" y="371"/>
                </a:lnTo>
                <a:lnTo>
                  <a:pt x="3128" y="365"/>
                </a:lnTo>
                <a:lnTo>
                  <a:pt x="3142" y="355"/>
                </a:lnTo>
                <a:lnTo>
                  <a:pt x="3156" y="343"/>
                </a:lnTo>
                <a:lnTo>
                  <a:pt x="3165" y="334"/>
                </a:lnTo>
                <a:lnTo>
                  <a:pt x="3169" y="329"/>
                </a:lnTo>
                <a:lnTo>
                  <a:pt x="3174" y="322"/>
                </a:lnTo>
                <a:lnTo>
                  <a:pt x="3176" y="318"/>
                </a:lnTo>
                <a:lnTo>
                  <a:pt x="3178" y="314"/>
                </a:lnTo>
                <a:lnTo>
                  <a:pt x="3179" y="310"/>
                </a:lnTo>
                <a:lnTo>
                  <a:pt x="3178" y="306"/>
                </a:lnTo>
                <a:lnTo>
                  <a:pt x="3177" y="301"/>
                </a:lnTo>
                <a:lnTo>
                  <a:pt x="3175" y="296"/>
                </a:lnTo>
                <a:lnTo>
                  <a:pt x="3172" y="293"/>
                </a:lnTo>
                <a:lnTo>
                  <a:pt x="3169" y="289"/>
                </a:lnTo>
                <a:lnTo>
                  <a:pt x="3166" y="287"/>
                </a:lnTo>
                <a:lnTo>
                  <a:pt x="3163" y="285"/>
                </a:lnTo>
                <a:lnTo>
                  <a:pt x="3158" y="284"/>
                </a:lnTo>
                <a:lnTo>
                  <a:pt x="3155" y="284"/>
                </a:lnTo>
                <a:lnTo>
                  <a:pt x="3144" y="285"/>
                </a:lnTo>
                <a:lnTo>
                  <a:pt x="3127" y="284"/>
                </a:lnTo>
                <a:lnTo>
                  <a:pt x="3117" y="284"/>
                </a:lnTo>
                <a:lnTo>
                  <a:pt x="3107" y="286"/>
                </a:lnTo>
                <a:lnTo>
                  <a:pt x="3102" y="287"/>
                </a:lnTo>
                <a:lnTo>
                  <a:pt x="3097" y="289"/>
                </a:lnTo>
                <a:lnTo>
                  <a:pt x="3091" y="292"/>
                </a:lnTo>
                <a:lnTo>
                  <a:pt x="3086" y="295"/>
                </a:lnTo>
                <a:lnTo>
                  <a:pt x="3069" y="307"/>
                </a:lnTo>
                <a:lnTo>
                  <a:pt x="3057" y="313"/>
                </a:lnTo>
                <a:lnTo>
                  <a:pt x="3045" y="318"/>
                </a:lnTo>
                <a:lnTo>
                  <a:pt x="3030" y="327"/>
                </a:lnTo>
                <a:lnTo>
                  <a:pt x="3021" y="331"/>
                </a:lnTo>
                <a:lnTo>
                  <a:pt x="3013" y="335"/>
                </a:lnTo>
                <a:lnTo>
                  <a:pt x="3005" y="337"/>
                </a:lnTo>
                <a:lnTo>
                  <a:pt x="2999" y="338"/>
                </a:lnTo>
                <a:lnTo>
                  <a:pt x="2996" y="338"/>
                </a:lnTo>
                <a:lnTo>
                  <a:pt x="2994" y="338"/>
                </a:lnTo>
                <a:lnTo>
                  <a:pt x="2993" y="337"/>
                </a:lnTo>
                <a:lnTo>
                  <a:pt x="2992" y="336"/>
                </a:lnTo>
                <a:lnTo>
                  <a:pt x="2991" y="335"/>
                </a:lnTo>
                <a:lnTo>
                  <a:pt x="2991" y="333"/>
                </a:lnTo>
                <a:lnTo>
                  <a:pt x="2992" y="330"/>
                </a:lnTo>
                <a:lnTo>
                  <a:pt x="2994" y="328"/>
                </a:lnTo>
                <a:lnTo>
                  <a:pt x="2998" y="320"/>
                </a:lnTo>
                <a:lnTo>
                  <a:pt x="3004" y="314"/>
                </a:lnTo>
                <a:lnTo>
                  <a:pt x="3011" y="309"/>
                </a:lnTo>
                <a:lnTo>
                  <a:pt x="3017" y="302"/>
                </a:lnTo>
                <a:lnTo>
                  <a:pt x="3029" y="293"/>
                </a:lnTo>
                <a:lnTo>
                  <a:pt x="3042" y="285"/>
                </a:lnTo>
                <a:lnTo>
                  <a:pt x="3057" y="277"/>
                </a:lnTo>
                <a:lnTo>
                  <a:pt x="3076" y="270"/>
                </a:lnTo>
                <a:lnTo>
                  <a:pt x="3086" y="267"/>
                </a:lnTo>
                <a:lnTo>
                  <a:pt x="3097" y="264"/>
                </a:lnTo>
                <a:lnTo>
                  <a:pt x="3106" y="263"/>
                </a:lnTo>
                <a:lnTo>
                  <a:pt x="3113" y="264"/>
                </a:lnTo>
                <a:lnTo>
                  <a:pt x="3129" y="267"/>
                </a:lnTo>
                <a:lnTo>
                  <a:pt x="3144" y="270"/>
                </a:lnTo>
                <a:lnTo>
                  <a:pt x="3151" y="271"/>
                </a:lnTo>
                <a:lnTo>
                  <a:pt x="3157" y="271"/>
                </a:lnTo>
                <a:lnTo>
                  <a:pt x="3163" y="270"/>
                </a:lnTo>
                <a:lnTo>
                  <a:pt x="3166" y="268"/>
                </a:lnTo>
                <a:lnTo>
                  <a:pt x="3175" y="263"/>
                </a:lnTo>
                <a:lnTo>
                  <a:pt x="3189" y="256"/>
                </a:lnTo>
                <a:lnTo>
                  <a:pt x="3205" y="248"/>
                </a:lnTo>
                <a:lnTo>
                  <a:pt x="3223" y="238"/>
                </a:lnTo>
                <a:lnTo>
                  <a:pt x="3239" y="228"/>
                </a:lnTo>
                <a:lnTo>
                  <a:pt x="3251" y="221"/>
                </a:lnTo>
                <a:lnTo>
                  <a:pt x="3254" y="219"/>
                </a:lnTo>
                <a:lnTo>
                  <a:pt x="3257" y="217"/>
                </a:lnTo>
                <a:lnTo>
                  <a:pt x="3258" y="214"/>
                </a:lnTo>
                <a:lnTo>
                  <a:pt x="3258" y="212"/>
                </a:lnTo>
                <a:lnTo>
                  <a:pt x="3260" y="207"/>
                </a:lnTo>
                <a:lnTo>
                  <a:pt x="3262" y="202"/>
                </a:lnTo>
                <a:lnTo>
                  <a:pt x="3263" y="198"/>
                </a:lnTo>
                <a:lnTo>
                  <a:pt x="3263" y="192"/>
                </a:lnTo>
                <a:lnTo>
                  <a:pt x="3261" y="187"/>
                </a:lnTo>
                <a:lnTo>
                  <a:pt x="3258" y="180"/>
                </a:lnTo>
                <a:lnTo>
                  <a:pt x="3251" y="172"/>
                </a:lnTo>
                <a:lnTo>
                  <a:pt x="3242" y="164"/>
                </a:lnTo>
                <a:lnTo>
                  <a:pt x="3233" y="157"/>
                </a:lnTo>
                <a:lnTo>
                  <a:pt x="3223" y="151"/>
                </a:lnTo>
                <a:lnTo>
                  <a:pt x="3213" y="145"/>
                </a:lnTo>
                <a:lnTo>
                  <a:pt x="3204" y="142"/>
                </a:lnTo>
                <a:lnTo>
                  <a:pt x="3198" y="140"/>
                </a:lnTo>
                <a:lnTo>
                  <a:pt x="3195" y="140"/>
                </a:lnTo>
                <a:lnTo>
                  <a:pt x="3190" y="145"/>
                </a:lnTo>
                <a:lnTo>
                  <a:pt x="3182" y="153"/>
                </a:lnTo>
                <a:lnTo>
                  <a:pt x="3179" y="156"/>
                </a:lnTo>
                <a:lnTo>
                  <a:pt x="3176" y="157"/>
                </a:lnTo>
                <a:lnTo>
                  <a:pt x="3175" y="158"/>
                </a:lnTo>
                <a:lnTo>
                  <a:pt x="3174" y="157"/>
                </a:lnTo>
                <a:lnTo>
                  <a:pt x="3173" y="157"/>
                </a:lnTo>
                <a:lnTo>
                  <a:pt x="3172" y="155"/>
                </a:lnTo>
                <a:lnTo>
                  <a:pt x="3172" y="152"/>
                </a:lnTo>
                <a:lnTo>
                  <a:pt x="3173" y="148"/>
                </a:lnTo>
                <a:lnTo>
                  <a:pt x="3174" y="145"/>
                </a:lnTo>
                <a:lnTo>
                  <a:pt x="3176" y="143"/>
                </a:lnTo>
                <a:lnTo>
                  <a:pt x="3178" y="139"/>
                </a:lnTo>
                <a:lnTo>
                  <a:pt x="3180" y="135"/>
                </a:lnTo>
                <a:lnTo>
                  <a:pt x="3181" y="130"/>
                </a:lnTo>
                <a:lnTo>
                  <a:pt x="3181" y="123"/>
                </a:lnTo>
                <a:lnTo>
                  <a:pt x="3181" y="108"/>
                </a:lnTo>
                <a:lnTo>
                  <a:pt x="3180" y="95"/>
                </a:lnTo>
                <a:lnTo>
                  <a:pt x="3178" y="90"/>
                </a:lnTo>
                <a:lnTo>
                  <a:pt x="3176" y="88"/>
                </a:lnTo>
                <a:lnTo>
                  <a:pt x="3174" y="87"/>
                </a:lnTo>
                <a:lnTo>
                  <a:pt x="3172" y="87"/>
                </a:lnTo>
                <a:lnTo>
                  <a:pt x="3169" y="88"/>
                </a:lnTo>
                <a:lnTo>
                  <a:pt x="3166" y="89"/>
                </a:lnTo>
                <a:lnTo>
                  <a:pt x="3154" y="98"/>
                </a:lnTo>
                <a:lnTo>
                  <a:pt x="3143" y="109"/>
                </a:lnTo>
                <a:lnTo>
                  <a:pt x="3136" y="113"/>
                </a:lnTo>
                <a:lnTo>
                  <a:pt x="3130" y="116"/>
                </a:lnTo>
                <a:lnTo>
                  <a:pt x="3127" y="117"/>
                </a:lnTo>
                <a:lnTo>
                  <a:pt x="3124" y="117"/>
                </a:lnTo>
                <a:lnTo>
                  <a:pt x="3120" y="117"/>
                </a:lnTo>
                <a:lnTo>
                  <a:pt x="3115" y="116"/>
                </a:lnTo>
                <a:lnTo>
                  <a:pt x="3099" y="111"/>
                </a:lnTo>
                <a:lnTo>
                  <a:pt x="3082" y="107"/>
                </a:lnTo>
                <a:lnTo>
                  <a:pt x="3073" y="104"/>
                </a:lnTo>
                <a:lnTo>
                  <a:pt x="3065" y="104"/>
                </a:lnTo>
                <a:lnTo>
                  <a:pt x="3058" y="104"/>
                </a:lnTo>
                <a:lnTo>
                  <a:pt x="3052" y="106"/>
                </a:lnTo>
                <a:lnTo>
                  <a:pt x="3040" y="111"/>
                </a:lnTo>
                <a:lnTo>
                  <a:pt x="3026" y="118"/>
                </a:lnTo>
                <a:lnTo>
                  <a:pt x="3020" y="121"/>
                </a:lnTo>
                <a:lnTo>
                  <a:pt x="3013" y="125"/>
                </a:lnTo>
                <a:lnTo>
                  <a:pt x="3005" y="128"/>
                </a:lnTo>
                <a:lnTo>
                  <a:pt x="2999" y="130"/>
                </a:lnTo>
                <a:lnTo>
                  <a:pt x="2981" y="134"/>
                </a:lnTo>
                <a:lnTo>
                  <a:pt x="2961" y="140"/>
                </a:lnTo>
                <a:lnTo>
                  <a:pt x="2953" y="142"/>
                </a:lnTo>
                <a:lnTo>
                  <a:pt x="2946" y="143"/>
                </a:lnTo>
                <a:lnTo>
                  <a:pt x="2944" y="143"/>
                </a:lnTo>
                <a:lnTo>
                  <a:pt x="2942" y="142"/>
                </a:lnTo>
                <a:lnTo>
                  <a:pt x="2941" y="141"/>
                </a:lnTo>
                <a:lnTo>
                  <a:pt x="2942" y="139"/>
                </a:lnTo>
                <a:lnTo>
                  <a:pt x="2946" y="135"/>
                </a:lnTo>
                <a:lnTo>
                  <a:pt x="2951" y="132"/>
                </a:lnTo>
                <a:lnTo>
                  <a:pt x="2957" y="129"/>
                </a:lnTo>
                <a:lnTo>
                  <a:pt x="2964" y="126"/>
                </a:lnTo>
                <a:lnTo>
                  <a:pt x="2973" y="123"/>
                </a:lnTo>
                <a:lnTo>
                  <a:pt x="2981" y="120"/>
                </a:lnTo>
                <a:lnTo>
                  <a:pt x="2991" y="116"/>
                </a:lnTo>
                <a:lnTo>
                  <a:pt x="3000" y="111"/>
                </a:lnTo>
                <a:lnTo>
                  <a:pt x="3019" y="99"/>
                </a:lnTo>
                <a:lnTo>
                  <a:pt x="3037" y="90"/>
                </a:lnTo>
                <a:lnTo>
                  <a:pt x="3045" y="86"/>
                </a:lnTo>
                <a:lnTo>
                  <a:pt x="3051" y="84"/>
                </a:lnTo>
                <a:lnTo>
                  <a:pt x="3058" y="82"/>
                </a:lnTo>
                <a:lnTo>
                  <a:pt x="3063" y="84"/>
                </a:lnTo>
                <a:lnTo>
                  <a:pt x="3068" y="85"/>
                </a:lnTo>
                <a:lnTo>
                  <a:pt x="3079" y="86"/>
                </a:lnTo>
                <a:lnTo>
                  <a:pt x="3091" y="87"/>
                </a:lnTo>
                <a:lnTo>
                  <a:pt x="3105" y="87"/>
                </a:lnTo>
                <a:lnTo>
                  <a:pt x="3119" y="87"/>
                </a:lnTo>
                <a:lnTo>
                  <a:pt x="3130" y="87"/>
                </a:lnTo>
                <a:lnTo>
                  <a:pt x="3137" y="86"/>
                </a:lnTo>
                <a:lnTo>
                  <a:pt x="3142" y="85"/>
                </a:lnTo>
                <a:lnTo>
                  <a:pt x="3156" y="70"/>
                </a:lnTo>
                <a:lnTo>
                  <a:pt x="3168" y="56"/>
                </a:lnTo>
                <a:lnTo>
                  <a:pt x="3166" y="53"/>
                </a:lnTo>
                <a:lnTo>
                  <a:pt x="3159" y="49"/>
                </a:lnTo>
                <a:lnTo>
                  <a:pt x="3151" y="44"/>
                </a:lnTo>
                <a:lnTo>
                  <a:pt x="3141" y="37"/>
                </a:lnTo>
                <a:lnTo>
                  <a:pt x="3129" y="32"/>
                </a:lnTo>
                <a:lnTo>
                  <a:pt x="3116" y="27"/>
                </a:lnTo>
                <a:lnTo>
                  <a:pt x="3106" y="24"/>
                </a:lnTo>
                <a:lnTo>
                  <a:pt x="3098" y="22"/>
                </a:lnTo>
                <a:lnTo>
                  <a:pt x="3080" y="20"/>
                </a:lnTo>
                <a:lnTo>
                  <a:pt x="3060" y="17"/>
                </a:lnTo>
                <a:lnTo>
                  <a:pt x="3049" y="15"/>
                </a:lnTo>
                <a:lnTo>
                  <a:pt x="3040" y="13"/>
                </a:lnTo>
                <a:lnTo>
                  <a:pt x="3032" y="10"/>
                </a:lnTo>
                <a:lnTo>
                  <a:pt x="3024" y="7"/>
                </a:lnTo>
                <a:lnTo>
                  <a:pt x="3017" y="4"/>
                </a:lnTo>
                <a:lnTo>
                  <a:pt x="3007" y="2"/>
                </a:lnTo>
                <a:lnTo>
                  <a:pt x="2996" y="0"/>
                </a:lnTo>
                <a:lnTo>
                  <a:pt x="2983" y="0"/>
                </a:lnTo>
                <a:lnTo>
                  <a:pt x="2970" y="0"/>
                </a:lnTo>
                <a:lnTo>
                  <a:pt x="2957" y="1"/>
                </a:lnTo>
                <a:lnTo>
                  <a:pt x="2946" y="3"/>
                </a:lnTo>
                <a:lnTo>
                  <a:pt x="2935" y="6"/>
                </a:lnTo>
                <a:lnTo>
                  <a:pt x="2931" y="8"/>
                </a:lnTo>
                <a:lnTo>
                  <a:pt x="2928" y="11"/>
                </a:lnTo>
                <a:lnTo>
                  <a:pt x="2927" y="13"/>
                </a:lnTo>
                <a:lnTo>
                  <a:pt x="2926" y="16"/>
                </a:lnTo>
                <a:lnTo>
                  <a:pt x="2925" y="24"/>
                </a:lnTo>
                <a:lnTo>
                  <a:pt x="2927" y="30"/>
                </a:lnTo>
                <a:lnTo>
                  <a:pt x="2929" y="37"/>
                </a:lnTo>
                <a:lnTo>
                  <a:pt x="2931" y="43"/>
                </a:lnTo>
                <a:lnTo>
                  <a:pt x="2932" y="45"/>
                </a:lnTo>
                <a:lnTo>
                  <a:pt x="2932" y="47"/>
                </a:lnTo>
                <a:lnTo>
                  <a:pt x="2931" y="48"/>
                </a:lnTo>
                <a:lnTo>
                  <a:pt x="2930" y="48"/>
                </a:lnTo>
                <a:lnTo>
                  <a:pt x="2927" y="48"/>
                </a:lnTo>
                <a:lnTo>
                  <a:pt x="2922" y="47"/>
                </a:lnTo>
                <a:lnTo>
                  <a:pt x="2917" y="45"/>
                </a:lnTo>
                <a:lnTo>
                  <a:pt x="2912" y="43"/>
                </a:lnTo>
                <a:lnTo>
                  <a:pt x="2904" y="37"/>
                </a:lnTo>
                <a:lnTo>
                  <a:pt x="2901" y="36"/>
                </a:lnTo>
                <a:lnTo>
                  <a:pt x="2902" y="39"/>
                </a:lnTo>
                <a:lnTo>
                  <a:pt x="2903" y="48"/>
                </a:lnTo>
                <a:lnTo>
                  <a:pt x="2903" y="51"/>
                </a:lnTo>
                <a:lnTo>
                  <a:pt x="2902" y="53"/>
                </a:lnTo>
                <a:lnTo>
                  <a:pt x="2901" y="54"/>
                </a:lnTo>
                <a:lnTo>
                  <a:pt x="2898" y="54"/>
                </a:lnTo>
                <a:lnTo>
                  <a:pt x="2896" y="53"/>
                </a:lnTo>
                <a:lnTo>
                  <a:pt x="2894" y="52"/>
                </a:lnTo>
                <a:lnTo>
                  <a:pt x="2886" y="47"/>
                </a:lnTo>
                <a:lnTo>
                  <a:pt x="2881" y="45"/>
                </a:lnTo>
                <a:lnTo>
                  <a:pt x="2880" y="45"/>
                </a:lnTo>
                <a:lnTo>
                  <a:pt x="2879" y="46"/>
                </a:lnTo>
                <a:lnTo>
                  <a:pt x="2878" y="47"/>
                </a:lnTo>
                <a:lnTo>
                  <a:pt x="2876" y="49"/>
                </a:lnTo>
                <a:lnTo>
                  <a:pt x="2875" y="56"/>
                </a:lnTo>
                <a:lnTo>
                  <a:pt x="2874" y="65"/>
                </a:lnTo>
                <a:lnTo>
                  <a:pt x="2874" y="69"/>
                </a:lnTo>
                <a:lnTo>
                  <a:pt x="2875" y="72"/>
                </a:lnTo>
                <a:lnTo>
                  <a:pt x="2878" y="75"/>
                </a:lnTo>
                <a:lnTo>
                  <a:pt x="2881" y="78"/>
                </a:lnTo>
                <a:lnTo>
                  <a:pt x="2890" y="82"/>
                </a:lnTo>
                <a:lnTo>
                  <a:pt x="2901" y="87"/>
                </a:lnTo>
                <a:lnTo>
                  <a:pt x="2904" y="90"/>
                </a:lnTo>
                <a:lnTo>
                  <a:pt x="2905" y="92"/>
                </a:lnTo>
                <a:lnTo>
                  <a:pt x="2905" y="93"/>
                </a:lnTo>
                <a:lnTo>
                  <a:pt x="2904" y="95"/>
                </a:lnTo>
                <a:lnTo>
                  <a:pt x="2902" y="96"/>
                </a:lnTo>
                <a:lnTo>
                  <a:pt x="2900" y="97"/>
                </a:lnTo>
                <a:lnTo>
                  <a:pt x="2893" y="99"/>
                </a:lnTo>
                <a:lnTo>
                  <a:pt x="2886" y="100"/>
                </a:lnTo>
                <a:lnTo>
                  <a:pt x="2879" y="100"/>
                </a:lnTo>
                <a:lnTo>
                  <a:pt x="2872" y="99"/>
                </a:lnTo>
                <a:lnTo>
                  <a:pt x="2867" y="99"/>
                </a:lnTo>
                <a:lnTo>
                  <a:pt x="2863" y="100"/>
                </a:lnTo>
                <a:lnTo>
                  <a:pt x="2863" y="101"/>
                </a:lnTo>
                <a:lnTo>
                  <a:pt x="2863" y="102"/>
                </a:lnTo>
                <a:lnTo>
                  <a:pt x="2863" y="103"/>
                </a:lnTo>
                <a:lnTo>
                  <a:pt x="2865" y="106"/>
                </a:lnTo>
                <a:lnTo>
                  <a:pt x="2872" y="114"/>
                </a:lnTo>
                <a:lnTo>
                  <a:pt x="2878" y="119"/>
                </a:lnTo>
                <a:lnTo>
                  <a:pt x="2879" y="121"/>
                </a:lnTo>
                <a:lnTo>
                  <a:pt x="2880" y="123"/>
                </a:lnTo>
                <a:lnTo>
                  <a:pt x="2879" y="124"/>
                </a:lnTo>
                <a:lnTo>
                  <a:pt x="2876" y="125"/>
                </a:lnTo>
                <a:lnTo>
                  <a:pt x="2871" y="126"/>
                </a:lnTo>
                <a:lnTo>
                  <a:pt x="2867" y="128"/>
                </a:lnTo>
                <a:lnTo>
                  <a:pt x="2866" y="129"/>
                </a:lnTo>
                <a:lnTo>
                  <a:pt x="2865" y="130"/>
                </a:lnTo>
                <a:lnTo>
                  <a:pt x="2865" y="132"/>
                </a:lnTo>
                <a:lnTo>
                  <a:pt x="2866" y="134"/>
                </a:lnTo>
                <a:lnTo>
                  <a:pt x="2871" y="140"/>
                </a:lnTo>
                <a:lnTo>
                  <a:pt x="2879" y="148"/>
                </a:lnTo>
                <a:lnTo>
                  <a:pt x="2882" y="152"/>
                </a:lnTo>
                <a:lnTo>
                  <a:pt x="2883" y="155"/>
                </a:lnTo>
                <a:lnTo>
                  <a:pt x="2882" y="156"/>
                </a:lnTo>
                <a:lnTo>
                  <a:pt x="2881" y="156"/>
                </a:lnTo>
                <a:lnTo>
                  <a:pt x="2879" y="156"/>
                </a:lnTo>
                <a:lnTo>
                  <a:pt x="2875" y="156"/>
                </a:lnTo>
                <a:lnTo>
                  <a:pt x="2868" y="154"/>
                </a:lnTo>
                <a:lnTo>
                  <a:pt x="2860" y="150"/>
                </a:lnTo>
                <a:lnTo>
                  <a:pt x="2851" y="144"/>
                </a:lnTo>
                <a:lnTo>
                  <a:pt x="2842" y="137"/>
                </a:lnTo>
                <a:lnTo>
                  <a:pt x="2832" y="130"/>
                </a:lnTo>
                <a:lnTo>
                  <a:pt x="2824" y="121"/>
                </a:lnTo>
                <a:lnTo>
                  <a:pt x="2817" y="114"/>
                </a:lnTo>
                <a:lnTo>
                  <a:pt x="2810" y="107"/>
                </a:lnTo>
                <a:lnTo>
                  <a:pt x="2800" y="93"/>
                </a:lnTo>
                <a:lnTo>
                  <a:pt x="2791" y="82"/>
                </a:lnTo>
                <a:lnTo>
                  <a:pt x="2787" y="78"/>
                </a:lnTo>
                <a:lnTo>
                  <a:pt x="2784" y="77"/>
                </a:lnTo>
                <a:lnTo>
                  <a:pt x="2783" y="76"/>
                </a:lnTo>
                <a:lnTo>
                  <a:pt x="2781" y="77"/>
                </a:lnTo>
                <a:lnTo>
                  <a:pt x="2780" y="78"/>
                </a:lnTo>
                <a:lnTo>
                  <a:pt x="2779" y="80"/>
                </a:lnTo>
                <a:lnTo>
                  <a:pt x="2779" y="85"/>
                </a:lnTo>
                <a:lnTo>
                  <a:pt x="2780" y="89"/>
                </a:lnTo>
                <a:lnTo>
                  <a:pt x="2783" y="93"/>
                </a:lnTo>
                <a:lnTo>
                  <a:pt x="2786" y="96"/>
                </a:lnTo>
                <a:lnTo>
                  <a:pt x="2788" y="100"/>
                </a:lnTo>
                <a:lnTo>
                  <a:pt x="2791" y="102"/>
                </a:lnTo>
                <a:lnTo>
                  <a:pt x="2791" y="104"/>
                </a:lnTo>
                <a:lnTo>
                  <a:pt x="2790" y="106"/>
                </a:lnTo>
                <a:lnTo>
                  <a:pt x="2788" y="106"/>
                </a:lnTo>
                <a:lnTo>
                  <a:pt x="2786" y="107"/>
                </a:lnTo>
                <a:lnTo>
                  <a:pt x="2776" y="107"/>
                </a:lnTo>
                <a:lnTo>
                  <a:pt x="2764" y="104"/>
                </a:lnTo>
                <a:lnTo>
                  <a:pt x="2759" y="104"/>
                </a:lnTo>
                <a:lnTo>
                  <a:pt x="2755" y="104"/>
                </a:lnTo>
                <a:lnTo>
                  <a:pt x="2754" y="104"/>
                </a:lnTo>
                <a:lnTo>
                  <a:pt x="2753" y="106"/>
                </a:lnTo>
                <a:lnTo>
                  <a:pt x="2752" y="107"/>
                </a:lnTo>
                <a:lnTo>
                  <a:pt x="2752" y="108"/>
                </a:lnTo>
                <a:lnTo>
                  <a:pt x="2751" y="117"/>
                </a:lnTo>
                <a:lnTo>
                  <a:pt x="2749" y="128"/>
                </a:lnTo>
                <a:lnTo>
                  <a:pt x="2750" y="133"/>
                </a:lnTo>
                <a:lnTo>
                  <a:pt x="2751" y="138"/>
                </a:lnTo>
                <a:lnTo>
                  <a:pt x="2752" y="139"/>
                </a:lnTo>
                <a:lnTo>
                  <a:pt x="2754" y="140"/>
                </a:lnTo>
                <a:lnTo>
                  <a:pt x="2757" y="141"/>
                </a:lnTo>
                <a:lnTo>
                  <a:pt x="2760" y="141"/>
                </a:lnTo>
                <a:lnTo>
                  <a:pt x="2775" y="142"/>
                </a:lnTo>
                <a:lnTo>
                  <a:pt x="2792" y="144"/>
                </a:lnTo>
                <a:lnTo>
                  <a:pt x="2799" y="146"/>
                </a:lnTo>
                <a:lnTo>
                  <a:pt x="2807" y="151"/>
                </a:lnTo>
                <a:lnTo>
                  <a:pt x="2816" y="156"/>
                </a:lnTo>
                <a:lnTo>
                  <a:pt x="2822" y="163"/>
                </a:lnTo>
                <a:lnTo>
                  <a:pt x="2829" y="172"/>
                </a:lnTo>
                <a:lnTo>
                  <a:pt x="2835" y="180"/>
                </a:lnTo>
                <a:lnTo>
                  <a:pt x="2839" y="187"/>
                </a:lnTo>
                <a:lnTo>
                  <a:pt x="2843" y="195"/>
                </a:lnTo>
                <a:lnTo>
                  <a:pt x="2847" y="206"/>
                </a:lnTo>
                <a:lnTo>
                  <a:pt x="2849" y="210"/>
                </a:lnTo>
                <a:lnTo>
                  <a:pt x="2849" y="213"/>
                </a:lnTo>
                <a:lnTo>
                  <a:pt x="2847" y="219"/>
                </a:lnTo>
                <a:lnTo>
                  <a:pt x="2846" y="221"/>
                </a:lnTo>
                <a:lnTo>
                  <a:pt x="2843" y="220"/>
                </a:lnTo>
                <a:lnTo>
                  <a:pt x="2840" y="217"/>
                </a:lnTo>
                <a:lnTo>
                  <a:pt x="2835" y="210"/>
                </a:lnTo>
                <a:lnTo>
                  <a:pt x="2825" y="194"/>
                </a:lnTo>
                <a:lnTo>
                  <a:pt x="2818" y="181"/>
                </a:lnTo>
                <a:lnTo>
                  <a:pt x="2813" y="176"/>
                </a:lnTo>
                <a:lnTo>
                  <a:pt x="2807" y="170"/>
                </a:lnTo>
                <a:lnTo>
                  <a:pt x="2801" y="166"/>
                </a:lnTo>
                <a:lnTo>
                  <a:pt x="2793" y="163"/>
                </a:lnTo>
                <a:lnTo>
                  <a:pt x="2781" y="159"/>
                </a:lnTo>
                <a:lnTo>
                  <a:pt x="2766" y="156"/>
                </a:lnTo>
                <a:lnTo>
                  <a:pt x="2751" y="152"/>
                </a:lnTo>
                <a:lnTo>
                  <a:pt x="2735" y="148"/>
                </a:lnTo>
                <a:lnTo>
                  <a:pt x="2729" y="148"/>
                </a:lnTo>
                <a:lnTo>
                  <a:pt x="2722" y="148"/>
                </a:lnTo>
                <a:lnTo>
                  <a:pt x="2717" y="148"/>
                </a:lnTo>
                <a:lnTo>
                  <a:pt x="2713" y="150"/>
                </a:lnTo>
                <a:lnTo>
                  <a:pt x="2711" y="152"/>
                </a:lnTo>
                <a:lnTo>
                  <a:pt x="2711" y="155"/>
                </a:lnTo>
                <a:lnTo>
                  <a:pt x="2713" y="159"/>
                </a:lnTo>
                <a:lnTo>
                  <a:pt x="2717" y="164"/>
                </a:lnTo>
                <a:lnTo>
                  <a:pt x="2735" y="184"/>
                </a:lnTo>
                <a:lnTo>
                  <a:pt x="2750" y="199"/>
                </a:lnTo>
                <a:lnTo>
                  <a:pt x="2755" y="204"/>
                </a:lnTo>
                <a:lnTo>
                  <a:pt x="2759" y="210"/>
                </a:lnTo>
                <a:lnTo>
                  <a:pt x="2762" y="216"/>
                </a:lnTo>
                <a:lnTo>
                  <a:pt x="2765" y="221"/>
                </a:lnTo>
                <a:lnTo>
                  <a:pt x="2766" y="223"/>
                </a:lnTo>
                <a:lnTo>
                  <a:pt x="2770" y="226"/>
                </a:lnTo>
                <a:lnTo>
                  <a:pt x="2773" y="229"/>
                </a:lnTo>
                <a:lnTo>
                  <a:pt x="2777" y="232"/>
                </a:lnTo>
                <a:lnTo>
                  <a:pt x="2786" y="239"/>
                </a:lnTo>
                <a:lnTo>
                  <a:pt x="2796" y="244"/>
                </a:lnTo>
                <a:lnTo>
                  <a:pt x="2803" y="249"/>
                </a:lnTo>
                <a:lnTo>
                  <a:pt x="2807" y="253"/>
                </a:lnTo>
                <a:lnTo>
                  <a:pt x="2806" y="254"/>
                </a:lnTo>
                <a:lnTo>
                  <a:pt x="2805" y="255"/>
                </a:lnTo>
                <a:lnTo>
                  <a:pt x="2801" y="256"/>
                </a:lnTo>
                <a:lnTo>
                  <a:pt x="2796" y="256"/>
                </a:lnTo>
                <a:lnTo>
                  <a:pt x="2790" y="255"/>
                </a:lnTo>
                <a:lnTo>
                  <a:pt x="2783" y="254"/>
                </a:lnTo>
                <a:lnTo>
                  <a:pt x="2778" y="253"/>
                </a:lnTo>
                <a:lnTo>
                  <a:pt x="2774" y="251"/>
                </a:lnTo>
                <a:lnTo>
                  <a:pt x="2765" y="246"/>
                </a:lnTo>
                <a:lnTo>
                  <a:pt x="2759" y="242"/>
                </a:lnTo>
                <a:lnTo>
                  <a:pt x="2755" y="238"/>
                </a:lnTo>
                <a:lnTo>
                  <a:pt x="2752" y="236"/>
                </a:lnTo>
                <a:lnTo>
                  <a:pt x="2750" y="236"/>
                </a:lnTo>
                <a:lnTo>
                  <a:pt x="2749" y="238"/>
                </a:lnTo>
                <a:lnTo>
                  <a:pt x="2749" y="240"/>
                </a:lnTo>
                <a:lnTo>
                  <a:pt x="2748" y="243"/>
                </a:lnTo>
                <a:lnTo>
                  <a:pt x="2744" y="257"/>
                </a:lnTo>
                <a:lnTo>
                  <a:pt x="2741" y="269"/>
                </a:lnTo>
                <a:lnTo>
                  <a:pt x="2739" y="279"/>
                </a:lnTo>
                <a:lnTo>
                  <a:pt x="2739" y="288"/>
                </a:lnTo>
                <a:lnTo>
                  <a:pt x="2741" y="292"/>
                </a:lnTo>
                <a:lnTo>
                  <a:pt x="2746" y="295"/>
                </a:lnTo>
                <a:lnTo>
                  <a:pt x="2751" y="297"/>
                </a:lnTo>
                <a:lnTo>
                  <a:pt x="2756" y="299"/>
                </a:lnTo>
                <a:lnTo>
                  <a:pt x="2760" y="301"/>
                </a:lnTo>
                <a:lnTo>
                  <a:pt x="2762" y="304"/>
                </a:lnTo>
                <a:lnTo>
                  <a:pt x="2762" y="305"/>
                </a:lnTo>
                <a:lnTo>
                  <a:pt x="2757" y="307"/>
                </a:lnTo>
                <a:lnTo>
                  <a:pt x="2751" y="309"/>
                </a:lnTo>
                <a:lnTo>
                  <a:pt x="2747" y="312"/>
                </a:lnTo>
                <a:lnTo>
                  <a:pt x="2744" y="316"/>
                </a:lnTo>
                <a:lnTo>
                  <a:pt x="2743" y="319"/>
                </a:lnTo>
                <a:lnTo>
                  <a:pt x="2742" y="321"/>
                </a:lnTo>
                <a:lnTo>
                  <a:pt x="2741" y="323"/>
                </a:lnTo>
                <a:lnTo>
                  <a:pt x="2739" y="322"/>
                </a:lnTo>
                <a:lnTo>
                  <a:pt x="2736" y="320"/>
                </a:lnTo>
                <a:lnTo>
                  <a:pt x="2729" y="310"/>
                </a:lnTo>
                <a:lnTo>
                  <a:pt x="2721" y="299"/>
                </a:lnTo>
                <a:lnTo>
                  <a:pt x="2714" y="288"/>
                </a:lnTo>
                <a:lnTo>
                  <a:pt x="2708" y="278"/>
                </a:lnTo>
                <a:lnTo>
                  <a:pt x="2696" y="268"/>
                </a:lnTo>
                <a:lnTo>
                  <a:pt x="2679" y="256"/>
                </a:lnTo>
                <a:lnTo>
                  <a:pt x="2673" y="250"/>
                </a:lnTo>
                <a:lnTo>
                  <a:pt x="2669" y="244"/>
                </a:lnTo>
                <a:lnTo>
                  <a:pt x="2668" y="241"/>
                </a:lnTo>
                <a:lnTo>
                  <a:pt x="2668" y="239"/>
                </a:lnTo>
                <a:lnTo>
                  <a:pt x="2670" y="235"/>
                </a:lnTo>
                <a:lnTo>
                  <a:pt x="2673" y="232"/>
                </a:lnTo>
                <a:lnTo>
                  <a:pt x="2691" y="221"/>
                </a:lnTo>
                <a:lnTo>
                  <a:pt x="2694" y="220"/>
                </a:lnTo>
                <a:lnTo>
                  <a:pt x="2693" y="220"/>
                </a:lnTo>
                <a:lnTo>
                  <a:pt x="2690" y="220"/>
                </a:lnTo>
                <a:lnTo>
                  <a:pt x="2685" y="218"/>
                </a:lnTo>
                <a:lnTo>
                  <a:pt x="2677" y="211"/>
                </a:lnTo>
                <a:lnTo>
                  <a:pt x="2674" y="207"/>
                </a:lnTo>
                <a:lnTo>
                  <a:pt x="2672" y="202"/>
                </a:lnTo>
                <a:lnTo>
                  <a:pt x="2670" y="197"/>
                </a:lnTo>
                <a:lnTo>
                  <a:pt x="2669" y="192"/>
                </a:lnTo>
                <a:lnTo>
                  <a:pt x="2667" y="189"/>
                </a:lnTo>
                <a:lnTo>
                  <a:pt x="2666" y="188"/>
                </a:lnTo>
                <a:lnTo>
                  <a:pt x="2663" y="188"/>
                </a:lnTo>
                <a:lnTo>
                  <a:pt x="2660" y="191"/>
                </a:lnTo>
                <a:lnTo>
                  <a:pt x="2653" y="200"/>
                </a:lnTo>
                <a:lnTo>
                  <a:pt x="2651" y="205"/>
                </a:lnTo>
                <a:lnTo>
                  <a:pt x="2651" y="207"/>
                </a:lnTo>
                <a:lnTo>
                  <a:pt x="2651" y="207"/>
                </a:lnTo>
                <a:lnTo>
                  <a:pt x="2650" y="207"/>
                </a:lnTo>
                <a:lnTo>
                  <a:pt x="2649" y="206"/>
                </a:lnTo>
                <a:lnTo>
                  <a:pt x="2646" y="201"/>
                </a:lnTo>
                <a:lnTo>
                  <a:pt x="2644" y="197"/>
                </a:lnTo>
                <a:lnTo>
                  <a:pt x="2643" y="195"/>
                </a:lnTo>
                <a:lnTo>
                  <a:pt x="2642" y="194"/>
                </a:lnTo>
                <a:lnTo>
                  <a:pt x="2641" y="192"/>
                </a:lnTo>
                <a:lnTo>
                  <a:pt x="2639" y="194"/>
                </a:lnTo>
                <a:lnTo>
                  <a:pt x="2633" y="196"/>
                </a:lnTo>
                <a:lnTo>
                  <a:pt x="2625" y="199"/>
                </a:lnTo>
                <a:lnTo>
                  <a:pt x="2620" y="201"/>
                </a:lnTo>
                <a:lnTo>
                  <a:pt x="2617" y="203"/>
                </a:lnTo>
                <a:lnTo>
                  <a:pt x="2613" y="206"/>
                </a:lnTo>
                <a:lnTo>
                  <a:pt x="2612" y="209"/>
                </a:lnTo>
                <a:lnTo>
                  <a:pt x="2612" y="214"/>
                </a:lnTo>
                <a:lnTo>
                  <a:pt x="2613" y="221"/>
                </a:lnTo>
                <a:lnTo>
                  <a:pt x="2613" y="226"/>
                </a:lnTo>
                <a:lnTo>
                  <a:pt x="2616" y="233"/>
                </a:lnTo>
                <a:lnTo>
                  <a:pt x="2617" y="240"/>
                </a:lnTo>
                <a:lnTo>
                  <a:pt x="2617" y="247"/>
                </a:lnTo>
                <a:lnTo>
                  <a:pt x="2617" y="250"/>
                </a:lnTo>
                <a:lnTo>
                  <a:pt x="2618" y="254"/>
                </a:lnTo>
                <a:lnTo>
                  <a:pt x="2620" y="260"/>
                </a:lnTo>
                <a:lnTo>
                  <a:pt x="2624" y="266"/>
                </a:lnTo>
                <a:lnTo>
                  <a:pt x="2632" y="279"/>
                </a:lnTo>
                <a:lnTo>
                  <a:pt x="2640" y="289"/>
                </a:lnTo>
                <a:lnTo>
                  <a:pt x="2642" y="292"/>
                </a:lnTo>
                <a:lnTo>
                  <a:pt x="2643" y="295"/>
                </a:lnTo>
                <a:lnTo>
                  <a:pt x="2644" y="297"/>
                </a:lnTo>
                <a:lnTo>
                  <a:pt x="2643" y="299"/>
                </a:lnTo>
                <a:lnTo>
                  <a:pt x="2642" y="304"/>
                </a:lnTo>
                <a:lnTo>
                  <a:pt x="2640" y="311"/>
                </a:lnTo>
                <a:lnTo>
                  <a:pt x="2639" y="314"/>
                </a:lnTo>
                <a:lnTo>
                  <a:pt x="2638" y="316"/>
                </a:lnTo>
                <a:lnTo>
                  <a:pt x="2635" y="316"/>
                </a:lnTo>
                <a:lnTo>
                  <a:pt x="2632" y="313"/>
                </a:lnTo>
                <a:lnTo>
                  <a:pt x="2623" y="304"/>
                </a:lnTo>
                <a:lnTo>
                  <a:pt x="2612" y="294"/>
                </a:lnTo>
                <a:lnTo>
                  <a:pt x="2607" y="289"/>
                </a:lnTo>
                <a:lnTo>
                  <a:pt x="2604" y="284"/>
                </a:lnTo>
                <a:lnTo>
                  <a:pt x="2603" y="282"/>
                </a:lnTo>
                <a:lnTo>
                  <a:pt x="2602" y="279"/>
                </a:lnTo>
                <a:lnTo>
                  <a:pt x="2602" y="277"/>
                </a:lnTo>
                <a:lnTo>
                  <a:pt x="2602" y="275"/>
                </a:lnTo>
                <a:lnTo>
                  <a:pt x="2604" y="271"/>
                </a:lnTo>
                <a:lnTo>
                  <a:pt x="2605" y="267"/>
                </a:lnTo>
                <a:lnTo>
                  <a:pt x="2605" y="263"/>
                </a:lnTo>
                <a:lnTo>
                  <a:pt x="2604" y="258"/>
                </a:lnTo>
                <a:lnTo>
                  <a:pt x="2603" y="253"/>
                </a:lnTo>
                <a:lnTo>
                  <a:pt x="2601" y="249"/>
                </a:lnTo>
                <a:lnTo>
                  <a:pt x="2599" y="245"/>
                </a:lnTo>
                <a:lnTo>
                  <a:pt x="2596" y="240"/>
                </a:lnTo>
                <a:lnTo>
                  <a:pt x="2591" y="235"/>
                </a:lnTo>
                <a:lnTo>
                  <a:pt x="2588" y="234"/>
                </a:lnTo>
                <a:lnTo>
                  <a:pt x="2584" y="233"/>
                </a:lnTo>
                <a:lnTo>
                  <a:pt x="2581" y="233"/>
                </a:lnTo>
                <a:lnTo>
                  <a:pt x="2576" y="235"/>
                </a:lnTo>
                <a:lnTo>
                  <a:pt x="2574" y="238"/>
                </a:lnTo>
                <a:lnTo>
                  <a:pt x="2575" y="242"/>
                </a:lnTo>
                <a:lnTo>
                  <a:pt x="2576" y="250"/>
                </a:lnTo>
                <a:lnTo>
                  <a:pt x="2577" y="254"/>
                </a:lnTo>
                <a:lnTo>
                  <a:pt x="2576" y="256"/>
                </a:lnTo>
                <a:lnTo>
                  <a:pt x="2575" y="257"/>
                </a:lnTo>
                <a:lnTo>
                  <a:pt x="2574" y="257"/>
                </a:lnTo>
                <a:lnTo>
                  <a:pt x="2573" y="257"/>
                </a:lnTo>
                <a:lnTo>
                  <a:pt x="2571" y="256"/>
                </a:lnTo>
                <a:lnTo>
                  <a:pt x="2559" y="245"/>
                </a:lnTo>
                <a:lnTo>
                  <a:pt x="2551" y="234"/>
                </a:lnTo>
                <a:lnTo>
                  <a:pt x="2549" y="228"/>
                </a:lnTo>
                <a:lnTo>
                  <a:pt x="2546" y="223"/>
                </a:lnTo>
                <a:lnTo>
                  <a:pt x="2545" y="221"/>
                </a:lnTo>
                <a:lnTo>
                  <a:pt x="2542" y="222"/>
                </a:lnTo>
                <a:lnTo>
                  <a:pt x="2537" y="224"/>
                </a:lnTo>
                <a:lnTo>
                  <a:pt x="2530" y="228"/>
                </a:lnTo>
                <a:lnTo>
                  <a:pt x="2515" y="240"/>
                </a:lnTo>
                <a:lnTo>
                  <a:pt x="2506" y="248"/>
                </a:lnTo>
                <a:lnTo>
                  <a:pt x="2498" y="254"/>
                </a:lnTo>
                <a:lnTo>
                  <a:pt x="2491" y="258"/>
                </a:lnTo>
                <a:lnTo>
                  <a:pt x="2477" y="263"/>
                </a:lnTo>
                <a:lnTo>
                  <a:pt x="2458" y="269"/>
                </a:lnTo>
                <a:lnTo>
                  <a:pt x="2450" y="272"/>
                </a:lnTo>
                <a:lnTo>
                  <a:pt x="2442" y="275"/>
                </a:lnTo>
                <a:lnTo>
                  <a:pt x="2436" y="278"/>
                </a:lnTo>
                <a:lnTo>
                  <a:pt x="2433" y="282"/>
                </a:lnTo>
                <a:lnTo>
                  <a:pt x="2435" y="288"/>
                </a:lnTo>
                <a:lnTo>
                  <a:pt x="2442" y="299"/>
                </a:lnTo>
                <a:lnTo>
                  <a:pt x="2451" y="314"/>
                </a:lnTo>
                <a:lnTo>
                  <a:pt x="2462" y="331"/>
                </a:lnTo>
                <a:lnTo>
                  <a:pt x="2471" y="346"/>
                </a:lnTo>
                <a:lnTo>
                  <a:pt x="2479" y="359"/>
                </a:lnTo>
                <a:lnTo>
                  <a:pt x="2485" y="367"/>
                </a:lnTo>
                <a:lnTo>
                  <a:pt x="2484" y="370"/>
                </a:lnTo>
                <a:lnTo>
                  <a:pt x="2472" y="355"/>
                </a:lnTo>
                <a:lnTo>
                  <a:pt x="2453" y="331"/>
                </a:lnTo>
                <a:lnTo>
                  <a:pt x="2443" y="318"/>
                </a:lnTo>
                <a:lnTo>
                  <a:pt x="2433" y="309"/>
                </a:lnTo>
                <a:lnTo>
                  <a:pt x="2428" y="305"/>
                </a:lnTo>
                <a:lnTo>
                  <a:pt x="2424" y="302"/>
                </a:lnTo>
                <a:lnTo>
                  <a:pt x="2420" y="300"/>
                </a:lnTo>
                <a:lnTo>
                  <a:pt x="2417" y="300"/>
                </a:lnTo>
                <a:lnTo>
                  <a:pt x="2405" y="302"/>
                </a:lnTo>
                <a:lnTo>
                  <a:pt x="2398" y="305"/>
                </a:lnTo>
                <a:lnTo>
                  <a:pt x="2396" y="307"/>
                </a:lnTo>
                <a:lnTo>
                  <a:pt x="2395" y="308"/>
                </a:lnTo>
                <a:lnTo>
                  <a:pt x="2393" y="310"/>
                </a:lnTo>
                <a:lnTo>
                  <a:pt x="2393" y="313"/>
                </a:lnTo>
                <a:lnTo>
                  <a:pt x="2393" y="315"/>
                </a:lnTo>
                <a:lnTo>
                  <a:pt x="2392" y="316"/>
                </a:lnTo>
                <a:lnTo>
                  <a:pt x="2391" y="316"/>
                </a:lnTo>
                <a:lnTo>
                  <a:pt x="2390" y="317"/>
                </a:lnTo>
                <a:lnTo>
                  <a:pt x="2386" y="317"/>
                </a:lnTo>
                <a:lnTo>
                  <a:pt x="2382" y="317"/>
                </a:lnTo>
                <a:lnTo>
                  <a:pt x="2379" y="318"/>
                </a:lnTo>
                <a:lnTo>
                  <a:pt x="2376" y="319"/>
                </a:lnTo>
                <a:lnTo>
                  <a:pt x="2375" y="321"/>
                </a:lnTo>
                <a:lnTo>
                  <a:pt x="2375" y="322"/>
                </a:lnTo>
                <a:lnTo>
                  <a:pt x="2375" y="324"/>
                </a:lnTo>
                <a:lnTo>
                  <a:pt x="2376" y="328"/>
                </a:lnTo>
                <a:lnTo>
                  <a:pt x="2378" y="334"/>
                </a:lnTo>
                <a:lnTo>
                  <a:pt x="2381" y="338"/>
                </a:lnTo>
                <a:lnTo>
                  <a:pt x="2385" y="342"/>
                </a:lnTo>
                <a:lnTo>
                  <a:pt x="2388" y="346"/>
                </a:lnTo>
                <a:lnTo>
                  <a:pt x="2396" y="352"/>
                </a:lnTo>
                <a:lnTo>
                  <a:pt x="2401" y="357"/>
                </a:lnTo>
                <a:lnTo>
                  <a:pt x="2402" y="360"/>
                </a:lnTo>
                <a:lnTo>
                  <a:pt x="2402" y="363"/>
                </a:lnTo>
                <a:lnTo>
                  <a:pt x="2402" y="366"/>
                </a:lnTo>
                <a:lnTo>
                  <a:pt x="2400" y="371"/>
                </a:lnTo>
                <a:lnTo>
                  <a:pt x="2397" y="376"/>
                </a:lnTo>
                <a:lnTo>
                  <a:pt x="2395" y="380"/>
                </a:lnTo>
                <a:lnTo>
                  <a:pt x="2397" y="386"/>
                </a:lnTo>
                <a:lnTo>
                  <a:pt x="2403" y="399"/>
                </a:lnTo>
                <a:lnTo>
                  <a:pt x="2406" y="405"/>
                </a:lnTo>
                <a:lnTo>
                  <a:pt x="2407" y="411"/>
                </a:lnTo>
                <a:lnTo>
                  <a:pt x="2407" y="414"/>
                </a:lnTo>
                <a:lnTo>
                  <a:pt x="2406" y="416"/>
                </a:lnTo>
                <a:lnTo>
                  <a:pt x="2404" y="417"/>
                </a:lnTo>
                <a:lnTo>
                  <a:pt x="2402" y="418"/>
                </a:lnTo>
                <a:lnTo>
                  <a:pt x="2396" y="417"/>
                </a:lnTo>
                <a:lnTo>
                  <a:pt x="2389" y="415"/>
                </a:lnTo>
                <a:lnTo>
                  <a:pt x="2383" y="412"/>
                </a:lnTo>
                <a:lnTo>
                  <a:pt x="2376" y="408"/>
                </a:lnTo>
                <a:lnTo>
                  <a:pt x="2370" y="406"/>
                </a:lnTo>
                <a:lnTo>
                  <a:pt x="2365" y="404"/>
                </a:lnTo>
                <a:lnTo>
                  <a:pt x="2364" y="403"/>
                </a:lnTo>
                <a:lnTo>
                  <a:pt x="2362" y="404"/>
                </a:lnTo>
                <a:lnTo>
                  <a:pt x="2361" y="404"/>
                </a:lnTo>
                <a:lnTo>
                  <a:pt x="2361" y="406"/>
                </a:lnTo>
                <a:lnTo>
                  <a:pt x="2360" y="409"/>
                </a:lnTo>
                <a:lnTo>
                  <a:pt x="2358" y="411"/>
                </a:lnTo>
                <a:lnTo>
                  <a:pt x="2356" y="415"/>
                </a:lnTo>
                <a:lnTo>
                  <a:pt x="2352" y="417"/>
                </a:lnTo>
                <a:lnTo>
                  <a:pt x="2347" y="420"/>
                </a:lnTo>
                <a:lnTo>
                  <a:pt x="2342" y="424"/>
                </a:lnTo>
                <a:lnTo>
                  <a:pt x="2336" y="430"/>
                </a:lnTo>
                <a:lnTo>
                  <a:pt x="2330" y="439"/>
                </a:lnTo>
                <a:lnTo>
                  <a:pt x="2314" y="459"/>
                </a:lnTo>
                <a:lnTo>
                  <a:pt x="2299" y="479"/>
                </a:lnTo>
                <a:lnTo>
                  <a:pt x="2287" y="493"/>
                </a:lnTo>
                <a:lnTo>
                  <a:pt x="2279" y="502"/>
                </a:lnTo>
                <a:lnTo>
                  <a:pt x="2277" y="502"/>
                </a:lnTo>
                <a:lnTo>
                  <a:pt x="2277" y="499"/>
                </a:lnTo>
                <a:lnTo>
                  <a:pt x="2276" y="496"/>
                </a:lnTo>
                <a:lnTo>
                  <a:pt x="2275" y="494"/>
                </a:lnTo>
                <a:lnTo>
                  <a:pt x="2275" y="492"/>
                </a:lnTo>
                <a:lnTo>
                  <a:pt x="2274" y="492"/>
                </a:lnTo>
                <a:lnTo>
                  <a:pt x="2273" y="491"/>
                </a:lnTo>
                <a:lnTo>
                  <a:pt x="2272" y="492"/>
                </a:lnTo>
                <a:lnTo>
                  <a:pt x="2269" y="494"/>
                </a:lnTo>
                <a:lnTo>
                  <a:pt x="2264" y="502"/>
                </a:lnTo>
                <a:lnTo>
                  <a:pt x="2258" y="510"/>
                </a:lnTo>
                <a:lnTo>
                  <a:pt x="2255" y="517"/>
                </a:lnTo>
                <a:lnTo>
                  <a:pt x="2252" y="523"/>
                </a:lnTo>
                <a:lnTo>
                  <a:pt x="2251" y="528"/>
                </a:lnTo>
                <a:lnTo>
                  <a:pt x="2251" y="536"/>
                </a:lnTo>
                <a:lnTo>
                  <a:pt x="2252" y="543"/>
                </a:lnTo>
                <a:lnTo>
                  <a:pt x="2252" y="550"/>
                </a:lnTo>
                <a:lnTo>
                  <a:pt x="2253" y="553"/>
                </a:lnTo>
                <a:lnTo>
                  <a:pt x="2256" y="558"/>
                </a:lnTo>
                <a:lnTo>
                  <a:pt x="2266" y="568"/>
                </a:lnTo>
                <a:lnTo>
                  <a:pt x="2269" y="570"/>
                </a:lnTo>
                <a:lnTo>
                  <a:pt x="2272" y="571"/>
                </a:lnTo>
                <a:lnTo>
                  <a:pt x="2276" y="572"/>
                </a:lnTo>
                <a:lnTo>
                  <a:pt x="2279" y="572"/>
                </a:lnTo>
                <a:lnTo>
                  <a:pt x="2287" y="571"/>
                </a:lnTo>
                <a:lnTo>
                  <a:pt x="2295" y="569"/>
                </a:lnTo>
                <a:lnTo>
                  <a:pt x="2302" y="565"/>
                </a:lnTo>
                <a:lnTo>
                  <a:pt x="2311" y="563"/>
                </a:lnTo>
                <a:lnTo>
                  <a:pt x="2315" y="562"/>
                </a:lnTo>
                <a:lnTo>
                  <a:pt x="2319" y="562"/>
                </a:lnTo>
                <a:lnTo>
                  <a:pt x="2323" y="562"/>
                </a:lnTo>
                <a:lnTo>
                  <a:pt x="2329" y="563"/>
                </a:lnTo>
                <a:lnTo>
                  <a:pt x="2342" y="565"/>
                </a:lnTo>
                <a:lnTo>
                  <a:pt x="2347" y="567"/>
                </a:lnTo>
                <a:lnTo>
                  <a:pt x="2347" y="569"/>
                </a:lnTo>
                <a:lnTo>
                  <a:pt x="2342" y="575"/>
                </a:lnTo>
                <a:lnTo>
                  <a:pt x="2338" y="579"/>
                </a:lnTo>
                <a:lnTo>
                  <a:pt x="2334" y="582"/>
                </a:lnTo>
                <a:lnTo>
                  <a:pt x="2329" y="583"/>
                </a:lnTo>
                <a:lnTo>
                  <a:pt x="2323" y="584"/>
                </a:lnTo>
                <a:lnTo>
                  <a:pt x="2320" y="585"/>
                </a:lnTo>
                <a:lnTo>
                  <a:pt x="2317" y="589"/>
                </a:lnTo>
                <a:lnTo>
                  <a:pt x="2317" y="590"/>
                </a:lnTo>
                <a:lnTo>
                  <a:pt x="2317" y="592"/>
                </a:lnTo>
                <a:lnTo>
                  <a:pt x="2318" y="594"/>
                </a:lnTo>
                <a:lnTo>
                  <a:pt x="2319" y="597"/>
                </a:lnTo>
                <a:lnTo>
                  <a:pt x="2326" y="608"/>
                </a:lnTo>
                <a:lnTo>
                  <a:pt x="2335" y="618"/>
                </a:lnTo>
                <a:lnTo>
                  <a:pt x="2337" y="621"/>
                </a:lnTo>
                <a:lnTo>
                  <a:pt x="2338" y="625"/>
                </a:lnTo>
                <a:lnTo>
                  <a:pt x="2337" y="629"/>
                </a:lnTo>
                <a:lnTo>
                  <a:pt x="2335" y="633"/>
                </a:lnTo>
                <a:lnTo>
                  <a:pt x="2326" y="641"/>
                </a:lnTo>
                <a:lnTo>
                  <a:pt x="2319" y="648"/>
                </a:lnTo>
                <a:lnTo>
                  <a:pt x="2312" y="657"/>
                </a:lnTo>
                <a:lnTo>
                  <a:pt x="2304" y="666"/>
                </a:lnTo>
                <a:lnTo>
                  <a:pt x="2300" y="670"/>
                </a:lnTo>
                <a:lnTo>
                  <a:pt x="2294" y="673"/>
                </a:lnTo>
                <a:lnTo>
                  <a:pt x="2288" y="678"/>
                </a:lnTo>
                <a:lnTo>
                  <a:pt x="2279" y="680"/>
                </a:lnTo>
                <a:lnTo>
                  <a:pt x="2271" y="682"/>
                </a:lnTo>
                <a:lnTo>
                  <a:pt x="2262" y="683"/>
                </a:lnTo>
                <a:lnTo>
                  <a:pt x="2253" y="684"/>
                </a:lnTo>
                <a:lnTo>
                  <a:pt x="2245" y="684"/>
                </a:lnTo>
                <a:lnTo>
                  <a:pt x="2238" y="685"/>
                </a:lnTo>
                <a:lnTo>
                  <a:pt x="2234" y="686"/>
                </a:lnTo>
                <a:lnTo>
                  <a:pt x="2232" y="689"/>
                </a:lnTo>
                <a:lnTo>
                  <a:pt x="2230" y="692"/>
                </a:lnTo>
                <a:lnTo>
                  <a:pt x="2229" y="696"/>
                </a:lnTo>
                <a:lnTo>
                  <a:pt x="2228" y="701"/>
                </a:lnTo>
                <a:lnTo>
                  <a:pt x="2226" y="705"/>
                </a:lnTo>
                <a:lnTo>
                  <a:pt x="2222" y="708"/>
                </a:lnTo>
                <a:lnTo>
                  <a:pt x="2204" y="716"/>
                </a:lnTo>
                <a:lnTo>
                  <a:pt x="2179" y="730"/>
                </a:lnTo>
                <a:lnTo>
                  <a:pt x="2173" y="734"/>
                </a:lnTo>
                <a:lnTo>
                  <a:pt x="2167" y="738"/>
                </a:lnTo>
                <a:lnTo>
                  <a:pt x="2162" y="743"/>
                </a:lnTo>
                <a:lnTo>
                  <a:pt x="2158" y="748"/>
                </a:lnTo>
                <a:lnTo>
                  <a:pt x="2155" y="752"/>
                </a:lnTo>
                <a:lnTo>
                  <a:pt x="2152" y="757"/>
                </a:lnTo>
                <a:lnTo>
                  <a:pt x="2151" y="762"/>
                </a:lnTo>
                <a:lnTo>
                  <a:pt x="2152" y="768"/>
                </a:lnTo>
                <a:lnTo>
                  <a:pt x="2155" y="772"/>
                </a:lnTo>
                <a:lnTo>
                  <a:pt x="2157" y="776"/>
                </a:lnTo>
                <a:lnTo>
                  <a:pt x="2159" y="780"/>
                </a:lnTo>
                <a:lnTo>
                  <a:pt x="2162" y="783"/>
                </a:lnTo>
                <a:lnTo>
                  <a:pt x="2169" y="790"/>
                </a:lnTo>
                <a:lnTo>
                  <a:pt x="2176" y="796"/>
                </a:lnTo>
                <a:lnTo>
                  <a:pt x="2183" y="801"/>
                </a:lnTo>
                <a:lnTo>
                  <a:pt x="2190" y="809"/>
                </a:lnTo>
                <a:lnTo>
                  <a:pt x="2193" y="812"/>
                </a:lnTo>
                <a:lnTo>
                  <a:pt x="2195" y="816"/>
                </a:lnTo>
                <a:lnTo>
                  <a:pt x="2198" y="820"/>
                </a:lnTo>
                <a:lnTo>
                  <a:pt x="2200" y="825"/>
                </a:lnTo>
                <a:lnTo>
                  <a:pt x="2206" y="842"/>
                </a:lnTo>
                <a:lnTo>
                  <a:pt x="2208" y="850"/>
                </a:lnTo>
                <a:lnTo>
                  <a:pt x="2207" y="854"/>
                </a:lnTo>
                <a:lnTo>
                  <a:pt x="2206" y="856"/>
                </a:lnTo>
                <a:lnTo>
                  <a:pt x="2203" y="858"/>
                </a:lnTo>
                <a:lnTo>
                  <a:pt x="2199" y="860"/>
                </a:lnTo>
                <a:lnTo>
                  <a:pt x="2195" y="862"/>
                </a:lnTo>
                <a:lnTo>
                  <a:pt x="2194" y="864"/>
                </a:lnTo>
                <a:lnTo>
                  <a:pt x="2195" y="867"/>
                </a:lnTo>
                <a:lnTo>
                  <a:pt x="2198" y="869"/>
                </a:lnTo>
                <a:lnTo>
                  <a:pt x="2201" y="870"/>
                </a:lnTo>
                <a:lnTo>
                  <a:pt x="2206" y="871"/>
                </a:lnTo>
                <a:lnTo>
                  <a:pt x="2210" y="871"/>
                </a:lnTo>
                <a:lnTo>
                  <a:pt x="2215" y="869"/>
                </a:lnTo>
                <a:lnTo>
                  <a:pt x="2228" y="862"/>
                </a:lnTo>
                <a:lnTo>
                  <a:pt x="2242" y="853"/>
                </a:lnTo>
                <a:lnTo>
                  <a:pt x="2249" y="848"/>
                </a:lnTo>
                <a:lnTo>
                  <a:pt x="2255" y="845"/>
                </a:lnTo>
                <a:lnTo>
                  <a:pt x="2259" y="844"/>
                </a:lnTo>
                <a:lnTo>
                  <a:pt x="2262" y="844"/>
                </a:lnTo>
                <a:lnTo>
                  <a:pt x="2270" y="846"/>
                </a:lnTo>
                <a:lnTo>
                  <a:pt x="2279" y="849"/>
                </a:lnTo>
                <a:lnTo>
                  <a:pt x="2282" y="850"/>
                </a:lnTo>
                <a:lnTo>
                  <a:pt x="2284" y="853"/>
                </a:lnTo>
                <a:lnTo>
                  <a:pt x="2286" y="855"/>
                </a:lnTo>
                <a:lnTo>
                  <a:pt x="2284" y="856"/>
                </a:lnTo>
                <a:lnTo>
                  <a:pt x="2283" y="858"/>
                </a:lnTo>
                <a:lnTo>
                  <a:pt x="2281" y="860"/>
                </a:lnTo>
                <a:lnTo>
                  <a:pt x="2278" y="861"/>
                </a:lnTo>
                <a:lnTo>
                  <a:pt x="2275" y="862"/>
                </a:lnTo>
                <a:lnTo>
                  <a:pt x="2272" y="863"/>
                </a:lnTo>
                <a:lnTo>
                  <a:pt x="2269" y="862"/>
                </a:lnTo>
                <a:lnTo>
                  <a:pt x="2262" y="861"/>
                </a:lnTo>
                <a:lnTo>
                  <a:pt x="2256" y="860"/>
                </a:lnTo>
                <a:lnTo>
                  <a:pt x="2250" y="859"/>
                </a:lnTo>
                <a:lnTo>
                  <a:pt x="2245" y="860"/>
                </a:lnTo>
                <a:lnTo>
                  <a:pt x="2242" y="861"/>
                </a:lnTo>
                <a:lnTo>
                  <a:pt x="2239" y="863"/>
                </a:lnTo>
                <a:lnTo>
                  <a:pt x="2237" y="866"/>
                </a:lnTo>
                <a:lnTo>
                  <a:pt x="2235" y="869"/>
                </a:lnTo>
                <a:lnTo>
                  <a:pt x="2231" y="877"/>
                </a:lnTo>
                <a:lnTo>
                  <a:pt x="2228" y="881"/>
                </a:lnTo>
                <a:lnTo>
                  <a:pt x="2224" y="883"/>
                </a:lnTo>
                <a:lnTo>
                  <a:pt x="2222" y="883"/>
                </a:lnTo>
                <a:lnTo>
                  <a:pt x="2218" y="883"/>
                </a:lnTo>
                <a:lnTo>
                  <a:pt x="2216" y="883"/>
                </a:lnTo>
                <a:lnTo>
                  <a:pt x="2214" y="884"/>
                </a:lnTo>
                <a:lnTo>
                  <a:pt x="2212" y="887"/>
                </a:lnTo>
                <a:lnTo>
                  <a:pt x="2211" y="889"/>
                </a:lnTo>
                <a:lnTo>
                  <a:pt x="2210" y="890"/>
                </a:lnTo>
                <a:lnTo>
                  <a:pt x="2208" y="891"/>
                </a:lnTo>
                <a:lnTo>
                  <a:pt x="2206" y="891"/>
                </a:lnTo>
                <a:lnTo>
                  <a:pt x="2201" y="891"/>
                </a:lnTo>
                <a:lnTo>
                  <a:pt x="2194" y="891"/>
                </a:lnTo>
                <a:lnTo>
                  <a:pt x="2189" y="891"/>
                </a:lnTo>
                <a:lnTo>
                  <a:pt x="2185" y="891"/>
                </a:lnTo>
                <a:lnTo>
                  <a:pt x="2183" y="892"/>
                </a:lnTo>
                <a:lnTo>
                  <a:pt x="2182" y="894"/>
                </a:lnTo>
                <a:lnTo>
                  <a:pt x="2181" y="897"/>
                </a:lnTo>
                <a:lnTo>
                  <a:pt x="2181" y="900"/>
                </a:lnTo>
                <a:lnTo>
                  <a:pt x="2181" y="905"/>
                </a:lnTo>
                <a:lnTo>
                  <a:pt x="2183" y="910"/>
                </a:lnTo>
                <a:lnTo>
                  <a:pt x="2186" y="913"/>
                </a:lnTo>
                <a:lnTo>
                  <a:pt x="2189" y="918"/>
                </a:lnTo>
                <a:lnTo>
                  <a:pt x="2193" y="922"/>
                </a:lnTo>
                <a:lnTo>
                  <a:pt x="2199" y="927"/>
                </a:lnTo>
                <a:lnTo>
                  <a:pt x="2203" y="932"/>
                </a:lnTo>
                <a:lnTo>
                  <a:pt x="2207" y="941"/>
                </a:lnTo>
                <a:lnTo>
                  <a:pt x="2210" y="948"/>
                </a:lnTo>
                <a:lnTo>
                  <a:pt x="2212" y="954"/>
                </a:lnTo>
                <a:lnTo>
                  <a:pt x="2212" y="958"/>
                </a:lnTo>
                <a:lnTo>
                  <a:pt x="2212" y="962"/>
                </a:lnTo>
                <a:lnTo>
                  <a:pt x="2213" y="965"/>
                </a:lnTo>
                <a:lnTo>
                  <a:pt x="2214" y="968"/>
                </a:lnTo>
                <a:lnTo>
                  <a:pt x="2216" y="972"/>
                </a:lnTo>
                <a:lnTo>
                  <a:pt x="2221" y="977"/>
                </a:lnTo>
                <a:lnTo>
                  <a:pt x="2226" y="984"/>
                </a:lnTo>
                <a:lnTo>
                  <a:pt x="2233" y="990"/>
                </a:lnTo>
                <a:lnTo>
                  <a:pt x="2240" y="995"/>
                </a:lnTo>
                <a:lnTo>
                  <a:pt x="2249" y="999"/>
                </a:lnTo>
                <a:lnTo>
                  <a:pt x="2258" y="1002"/>
                </a:lnTo>
                <a:lnTo>
                  <a:pt x="2270" y="1006"/>
                </a:lnTo>
                <a:lnTo>
                  <a:pt x="2282" y="1007"/>
                </a:lnTo>
                <a:lnTo>
                  <a:pt x="2296" y="1007"/>
                </a:lnTo>
                <a:lnTo>
                  <a:pt x="2303" y="1007"/>
                </a:lnTo>
                <a:lnTo>
                  <a:pt x="2311" y="1006"/>
                </a:lnTo>
                <a:lnTo>
                  <a:pt x="2317" y="1003"/>
                </a:lnTo>
                <a:lnTo>
                  <a:pt x="2323" y="1001"/>
                </a:lnTo>
                <a:lnTo>
                  <a:pt x="2336" y="996"/>
                </a:lnTo>
                <a:lnTo>
                  <a:pt x="2346" y="991"/>
                </a:lnTo>
                <a:lnTo>
                  <a:pt x="2356" y="986"/>
                </a:lnTo>
                <a:lnTo>
                  <a:pt x="2363" y="981"/>
                </a:lnTo>
                <a:lnTo>
                  <a:pt x="2367" y="980"/>
                </a:lnTo>
                <a:lnTo>
                  <a:pt x="2370" y="980"/>
                </a:lnTo>
                <a:lnTo>
                  <a:pt x="2374" y="980"/>
                </a:lnTo>
                <a:lnTo>
                  <a:pt x="2377" y="981"/>
                </a:lnTo>
                <a:lnTo>
                  <a:pt x="2390" y="988"/>
                </a:lnTo>
                <a:lnTo>
                  <a:pt x="2409" y="997"/>
                </a:lnTo>
                <a:lnTo>
                  <a:pt x="2419" y="1002"/>
                </a:lnTo>
                <a:lnTo>
                  <a:pt x="2428" y="1008"/>
                </a:lnTo>
                <a:lnTo>
                  <a:pt x="2437" y="1015"/>
                </a:lnTo>
                <a:lnTo>
                  <a:pt x="2446" y="1023"/>
                </a:lnTo>
                <a:lnTo>
                  <a:pt x="2454" y="1032"/>
                </a:lnTo>
                <a:lnTo>
                  <a:pt x="2462" y="1037"/>
                </a:lnTo>
                <a:lnTo>
                  <a:pt x="2468" y="1042"/>
                </a:lnTo>
                <a:lnTo>
                  <a:pt x="2475" y="1046"/>
                </a:lnTo>
                <a:lnTo>
                  <a:pt x="2480" y="1051"/>
                </a:lnTo>
                <a:lnTo>
                  <a:pt x="2484" y="1056"/>
                </a:lnTo>
                <a:lnTo>
                  <a:pt x="2486" y="1059"/>
                </a:lnTo>
                <a:lnTo>
                  <a:pt x="2487" y="1062"/>
                </a:lnTo>
                <a:lnTo>
                  <a:pt x="2487" y="1066"/>
                </a:lnTo>
                <a:lnTo>
                  <a:pt x="2487" y="1070"/>
                </a:lnTo>
                <a:lnTo>
                  <a:pt x="2487" y="1089"/>
                </a:lnTo>
                <a:lnTo>
                  <a:pt x="2489" y="1106"/>
                </a:lnTo>
                <a:lnTo>
                  <a:pt x="2491" y="1120"/>
                </a:lnTo>
                <a:lnTo>
                  <a:pt x="2494" y="1129"/>
                </a:lnTo>
                <a:lnTo>
                  <a:pt x="2498" y="1138"/>
                </a:lnTo>
                <a:lnTo>
                  <a:pt x="2503" y="1148"/>
                </a:lnTo>
                <a:lnTo>
                  <a:pt x="2509" y="1157"/>
                </a:lnTo>
                <a:lnTo>
                  <a:pt x="2511" y="1165"/>
                </a:lnTo>
                <a:lnTo>
                  <a:pt x="2515" y="1173"/>
                </a:lnTo>
                <a:lnTo>
                  <a:pt x="2521" y="1185"/>
                </a:lnTo>
                <a:lnTo>
                  <a:pt x="2524" y="1191"/>
                </a:lnTo>
                <a:lnTo>
                  <a:pt x="2525" y="1198"/>
                </a:lnTo>
                <a:lnTo>
                  <a:pt x="2525" y="1201"/>
                </a:lnTo>
                <a:lnTo>
                  <a:pt x="2525" y="1205"/>
                </a:lnTo>
                <a:lnTo>
                  <a:pt x="2524" y="1208"/>
                </a:lnTo>
                <a:lnTo>
                  <a:pt x="2522" y="1211"/>
                </a:lnTo>
                <a:lnTo>
                  <a:pt x="2519" y="1216"/>
                </a:lnTo>
                <a:lnTo>
                  <a:pt x="2519" y="1218"/>
                </a:lnTo>
                <a:lnTo>
                  <a:pt x="2520" y="1219"/>
                </a:lnTo>
                <a:lnTo>
                  <a:pt x="2523" y="1220"/>
                </a:lnTo>
                <a:lnTo>
                  <a:pt x="2529" y="1221"/>
                </a:lnTo>
                <a:lnTo>
                  <a:pt x="2534" y="1225"/>
                </a:lnTo>
                <a:lnTo>
                  <a:pt x="2537" y="1227"/>
                </a:lnTo>
                <a:lnTo>
                  <a:pt x="2539" y="1230"/>
                </a:lnTo>
                <a:lnTo>
                  <a:pt x="2542" y="1233"/>
                </a:lnTo>
                <a:lnTo>
                  <a:pt x="2545" y="1237"/>
                </a:lnTo>
                <a:lnTo>
                  <a:pt x="2551" y="1245"/>
                </a:lnTo>
                <a:lnTo>
                  <a:pt x="2555" y="1252"/>
                </a:lnTo>
                <a:lnTo>
                  <a:pt x="2559" y="1255"/>
                </a:lnTo>
                <a:lnTo>
                  <a:pt x="2562" y="1257"/>
                </a:lnTo>
                <a:lnTo>
                  <a:pt x="2563" y="1258"/>
                </a:lnTo>
                <a:lnTo>
                  <a:pt x="2564" y="1259"/>
                </a:lnTo>
                <a:lnTo>
                  <a:pt x="2563" y="1262"/>
                </a:lnTo>
                <a:lnTo>
                  <a:pt x="2561" y="1266"/>
                </a:lnTo>
                <a:lnTo>
                  <a:pt x="2555" y="1274"/>
                </a:lnTo>
                <a:lnTo>
                  <a:pt x="2550" y="1278"/>
                </a:lnTo>
                <a:lnTo>
                  <a:pt x="2547" y="1280"/>
                </a:lnTo>
                <a:lnTo>
                  <a:pt x="2547" y="1282"/>
                </a:lnTo>
                <a:lnTo>
                  <a:pt x="2549" y="1286"/>
                </a:lnTo>
                <a:lnTo>
                  <a:pt x="2551" y="1291"/>
                </a:lnTo>
                <a:lnTo>
                  <a:pt x="2554" y="1297"/>
                </a:lnTo>
                <a:lnTo>
                  <a:pt x="2555" y="1300"/>
                </a:lnTo>
                <a:lnTo>
                  <a:pt x="2554" y="1303"/>
                </a:lnTo>
                <a:lnTo>
                  <a:pt x="2551" y="1305"/>
                </a:lnTo>
                <a:lnTo>
                  <a:pt x="2544" y="1309"/>
                </a:lnTo>
                <a:lnTo>
                  <a:pt x="2539" y="1316"/>
                </a:lnTo>
                <a:lnTo>
                  <a:pt x="2535" y="1323"/>
                </a:lnTo>
                <a:lnTo>
                  <a:pt x="2532" y="1328"/>
                </a:lnTo>
                <a:lnTo>
                  <a:pt x="2532" y="1332"/>
                </a:lnTo>
                <a:lnTo>
                  <a:pt x="2532" y="1337"/>
                </a:lnTo>
                <a:lnTo>
                  <a:pt x="2533" y="1341"/>
                </a:lnTo>
                <a:lnTo>
                  <a:pt x="2535" y="1346"/>
                </a:lnTo>
                <a:lnTo>
                  <a:pt x="2536" y="1349"/>
                </a:lnTo>
                <a:lnTo>
                  <a:pt x="2538" y="1351"/>
                </a:lnTo>
                <a:lnTo>
                  <a:pt x="2539" y="1351"/>
                </a:lnTo>
                <a:lnTo>
                  <a:pt x="2542" y="1352"/>
                </a:lnTo>
                <a:lnTo>
                  <a:pt x="2546" y="1351"/>
                </a:lnTo>
                <a:lnTo>
                  <a:pt x="2553" y="1348"/>
                </a:lnTo>
                <a:lnTo>
                  <a:pt x="2565" y="1340"/>
                </a:lnTo>
                <a:lnTo>
                  <a:pt x="2578" y="1335"/>
                </a:lnTo>
                <a:lnTo>
                  <a:pt x="2590" y="1329"/>
                </a:lnTo>
                <a:lnTo>
                  <a:pt x="2603" y="1325"/>
                </a:lnTo>
                <a:lnTo>
                  <a:pt x="2605" y="1325"/>
                </a:lnTo>
                <a:lnTo>
                  <a:pt x="2608" y="1325"/>
                </a:lnTo>
                <a:lnTo>
                  <a:pt x="2610" y="1326"/>
                </a:lnTo>
                <a:lnTo>
                  <a:pt x="2612" y="1327"/>
                </a:lnTo>
                <a:lnTo>
                  <a:pt x="2613" y="1330"/>
                </a:lnTo>
                <a:lnTo>
                  <a:pt x="2616" y="1333"/>
                </a:lnTo>
                <a:lnTo>
                  <a:pt x="2617" y="1338"/>
                </a:lnTo>
                <a:lnTo>
                  <a:pt x="2617" y="1342"/>
                </a:lnTo>
                <a:lnTo>
                  <a:pt x="2618" y="1353"/>
                </a:lnTo>
                <a:lnTo>
                  <a:pt x="2620" y="1363"/>
                </a:lnTo>
                <a:lnTo>
                  <a:pt x="2623" y="1371"/>
                </a:lnTo>
                <a:lnTo>
                  <a:pt x="2626" y="1379"/>
                </a:lnTo>
                <a:lnTo>
                  <a:pt x="2628" y="1386"/>
                </a:lnTo>
                <a:lnTo>
                  <a:pt x="2631" y="1392"/>
                </a:lnTo>
                <a:lnTo>
                  <a:pt x="2632" y="1397"/>
                </a:lnTo>
                <a:lnTo>
                  <a:pt x="2633" y="1404"/>
                </a:lnTo>
                <a:lnTo>
                  <a:pt x="2632" y="1410"/>
                </a:lnTo>
                <a:lnTo>
                  <a:pt x="2631" y="1414"/>
                </a:lnTo>
                <a:lnTo>
                  <a:pt x="2629" y="1417"/>
                </a:lnTo>
                <a:lnTo>
                  <a:pt x="2625" y="1418"/>
                </a:lnTo>
                <a:lnTo>
                  <a:pt x="2620" y="1417"/>
                </a:lnTo>
                <a:lnTo>
                  <a:pt x="2615" y="1415"/>
                </a:lnTo>
                <a:lnTo>
                  <a:pt x="2607" y="1410"/>
                </a:lnTo>
                <a:lnTo>
                  <a:pt x="2599" y="1402"/>
                </a:lnTo>
                <a:lnTo>
                  <a:pt x="2594" y="1397"/>
                </a:lnTo>
                <a:lnTo>
                  <a:pt x="2589" y="1394"/>
                </a:lnTo>
                <a:lnTo>
                  <a:pt x="2585" y="1392"/>
                </a:lnTo>
                <a:lnTo>
                  <a:pt x="2581" y="1391"/>
                </a:lnTo>
                <a:lnTo>
                  <a:pt x="2578" y="1390"/>
                </a:lnTo>
                <a:lnTo>
                  <a:pt x="2575" y="1390"/>
                </a:lnTo>
                <a:lnTo>
                  <a:pt x="2571" y="1390"/>
                </a:lnTo>
                <a:lnTo>
                  <a:pt x="2567" y="1391"/>
                </a:lnTo>
                <a:lnTo>
                  <a:pt x="2562" y="1394"/>
                </a:lnTo>
                <a:lnTo>
                  <a:pt x="2558" y="1397"/>
                </a:lnTo>
                <a:lnTo>
                  <a:pt x="2554" y="1402"/>
                </a:lnTo>
                <a:lnTo>
                  <a:pt x="2551" y="1406"/>
                </a:lnTo>
                <a:lnTo>
                  <a:pt x="2551" y="1408"/>
                </a:lnTo>
                <a:lnTo>
                  <a:pt x="2551" y="1410"/>
                </a:lnTo>
                <a:lnTo>
                  <a:pt x="2552" y="1411"/>
                </a:lnTo>
                <a:lnTo>
                  <a:pt x="2554" y="1412"/>
                </a:lnTo>
                <a:lnTo>
                  <a:pt x="2560" y="1415"/>
                </a:lnTo>
                <a:lnTo>
                  <a:pt x="2566" y="1417"/>
                </a:lnTo>
                <a:lnTo>
                  <a:pt x="2574" y="1420"/>
                </a:lnTo>
                <a:lnTo>
                  <a:pt x="2581" y="1424"/>
                </a:lnTo>
                <a:lnTo>
                  <a:pt x="2583" y="1425"/>
                </a:lnTo>
                <a:lnTo>
                  <a:pt x="2585" y="1427"/>
                </a:lnTo>
                <a:lnTo>
                  <a:pt x="2587" y="1429"/>
                </a:lnTo>
                <a:lnTo>
                  <a:pt x="2588" y="1431"/>
                </a:lnTo>
                <a:lnTo>
                  <a:pt x="2588" y="1433"/>
                </a:lnTo>
                <a:lnTo>
                  <a:pt x="2587" y="1434"/>
                </a:lnTo>
                <a:lnTo>
                  <a:pt x="2585" y="1435"/>
                </a:lnTo>
                <a:lnTo>
                  <a:pt x="2582" y="1436"/>
                </a:lnTo>
                <a:lnTo>
                  <a:pt x="2576" y="1437"/>
                </a:lnTo>
                <a:lnTo>
                  <a:pt x="2567" y="1437"/>
                </a:lnTo>
                <a:lnTo>
                  <a:pt x="2560" y="1437"/>
                </a:lnTo>
                <a:lnTo>
                  <a:pt x="2553" y="1438"/>
                </a:lnTo>
                <a:lnTo>
                  <a:pt x="2551" y="1439"/>
                </a:lnTo>
                <a:lnTo>
                  <a:pt x="2549" y="1440"/>
                </a:lnTo>
                <a:lnTo>
                  <a:pt x="2547" y="1442"/>
                </a:lnTo>
                <a:lnTo>
                  <a:pt x="2547" y="1446"/>
                </a:lnTo>
                <a:lnTo>
                  <a:pt x="2550" y="1452"/>
                </a:lnTo>
                <a:lnTo>
                  <a:pt x="2554" y="1461"/>
                </a:lnTo>
                <a:lnTo>
                  <a:pt x="2560" y="1472"/>
                </a:lnTo>
                <a:lnTo>
                  <a:pt x="2567" y="1482"/>
                </a:lnTo>
                <a:lnTo>
                  <a:pt x="2580" y="1501"/>
                </a:lnTo>
                <a:lnTo>
                  <a:pt x="2586" y="1508"/>
                </a:lnTo>
                <a:lnTo>
                  <a:pt x="2615" y="1465"/>
                </a:lnTo>
                <a:lnTo>
                  <a:pt x="2611" y="1459"/>
                </a:lnTo>
                <a:lnTo>
                  <a:pt x="2606" y="1447"/>
                </a:lnTo>
                <a:lnTo>
                  <a:pt x="2605" y="1441"/>
                </a:lnTo>
                <a:lnTo>
                  <a:pt x="2605" y="1436"/>
                </a:lnTo>
                <a:lnTo>
                  <a:pt x="2606" y="1435"/>
                </a:lnTo>
                <a:lnTo>
                  <a:pt x="2608" y="1434"/>
                </a:lnTo>
                <a:lnTo>
                  <a:pt x="2611" y="1434"/>
                </a:lnTo>
                <a:lnTo>
                  <a:pt x="2615" y="1435"/>
                </a:lnTo>
                <a:lnTo>
                  <a:pt x="2628" y="1439"/>
                </a:lnTo>
                <a:lnTo>
                  <a:pt x="2637" y="1443"/>
                </a:lnTo>
                <a:lnTo>
                  <a:pt x="2639" y="1446"/>
                </a:lnTo>
                <a:lnTo>
                  <a:pt x="2641" y="1448"/>
                </a:lnTo>
                <a:lnTo>
                  <a:pt x="2642" y="1452"/>
                </a:lnTo>
                <a:lnTo>
                  <a:pt x="2642" y="1457"/>
                </a:lnTo>
                <a:lnTo>
                  <a:pt x="2641" y="1463"/>
                </a:lnTo>
                <a:lnTo>
                  <a:pt x="2640" y="1469"/>
                </a:lnTo>
                <a:lnTo>
                  <a:pt x="2637" y="1473"/>
                </a:lnTo>
                <a:lnTo>
                  <a:pt x="2634" y="1478"/>
                </a:lnTo>
                <a:lnTo>
                  <a:pt x="2631" y="1482"/>
                </a:lnTo>
                <a:lnTo>
                  <a:pt x="2629" y="1489"/>
                </a:lnTo>
                <a:lnTo>
                  <a:pt x="2628" y="1495"/>
                </a:lnTo>
                <a:lnTo>
                  <a:pt x="2627" y="1502"/>
                </a:lnTo>
                <a:lnTo>
                  <a:pt x="2626" y="1511"/>
                </a:lnTo>
                <a:lnTo>
                  <a:pt x="2625" y="1518"/>
                </a:lnTo>
                <a:lnTo>
                  <a:pt x="2622" y="1525"/>
                </a:lnTo>
                <a:lnTo>
                  <a:pt x="2618" y="1531"/>
                </a:lnTo>
                <a:lnTo>
                  <a:pt x="2613" y="1537"/>
                </a:lnTo>
                <a:lnTo>
                  <a:pt x="2608" y="1542"/>
                </a:lnTo>
                <a:lnTo>
                  <a:pt x="2602" y="1547"/>
                </a:lnTo>
                <a:lnTo>
                  <a:pt x="2597" y="1551"/>
                </a:lnTo>
                <a:lnTo>
                  <a:pt x="2590" y="1558"/>
                </a:lnTo>
                <a:lnTo>
                  <a:pt x="2586" y="1564"/>
                </a:lnTo>
                <a:lnTo>
                  <a:pt x="2582" y="1571"/>
                </a:lnTo>
                <a:lnTo>
                  <a:pt x="2578" y="1579"/>
                </a:lnTo>
                <a:lnTo>
                  <a:pt x="2574" y="1593"/>
                </a:lnTo>
                <a:lnTo>
                  <a:pt x="2569" y="1605"/>
                </a:lnTo>
                <a:lnTo>
                  <a:pt x="2569" y="1611"/>
                </a:lnTo>
                <a:lnTo>
                  <a:pt x="2572" y="1621"/>
                </a:lnTo>
                <a:lnTo>
                  <a:pt x="2575" y="1631"/>
                </a:lnTo>
                <a:lnTo>
                  <a:pt x="2578" y="1643"/>
                </a:lnTo>
                <a:lnTo>
                  <a:pt x="2586" y="1665"/>
                </a:lnTo>
                <a:lnTo>
                  <a:pt x="2590" y="1679"/>
                </a:lnTo>
                <a:lnTo>
                  <a:pt x="2591" y="1684"/>
                </a:lnTo>
                <a:lnTo>
                  <a:pt x="2595" y="1692"/>
                </a:lnTo>
                <a:lnTo>
                  <a:pt x="2600" y="1699"/>
                </a:lnTo>
                <a:lnTo>
                  <a:pt x="2605" y="1706"/>
                </a:lnTo>
                <a:lnTo>
                  <a:pt x="2618" y="1722"/>
                </a:lnTo>
                <a:lnTo>
                  <a:pt x="2627" y="1733"/>
                </a:lnTo>
                <a:lnTo>
                  <a:pt x="2640" y="1740"/>
                </a:lnTo>
                <a:lnTo>
                  <a:pt x="2657" y="1748"/>
                </a:lnTo>
                <a:lnTo>
                  <a:pt x="2661" y="1749"/>
                </a:lnTo>
                <a:lnTo>
                  <a:pt x="2664" y="1752"/>
                </a:lnTo>
                <a:lnTo>
                  <a:pt x="2666" y="1754"/>
                </a:lnTo>
                <a:lnTo>
                  <a:pt x="2667" y="1756"/>
                </a:lnTo>
                <a:lnTo>
                  <a:pt x="2666" y="1758"/>
                </a:lnTo>
                <a:lnTo>
                  <a:pt x="2664" y="1760"/>
                </a:lnTo>
                <a:lnTo>
                  <a:pt x="2660" y="1762"/>
                </a:lnTo>
                <a:lnTo>
                  <a:pt x="2654" y="1763"/>
                </a:lnTo>
                <a:lnTo>
                  <a:pt x="2642" y="1767"/>
                </a:lnTo>
                <a:lnTo>
                  <a:pt x="2632" y="1770"/>
                </a:lnTo>
                <a:lnTo>
                  <a:pt x="2625" y="1775"/>
                </a:lnTo>
                <a:lnTo>
                  <a:pt x="2621" y="1778"/>
                </a:lnTo>
                <a:lnTo>
                  <a:pt x="2619" y="1782"/>
                </a:lnTo>
                <a:lnTo>
                  <a:pt x="2619" y="1786"/>
                </a:lnTo>
                <a:lnTo>
                  <a:pt x="2620" y="1792"/>
                </a:lnTo>
                <a:lnTo>
                  <a:pt x="2623" y="1799"/>
                </a:lnTo>
                <a:lnTo>
                  <a:pt x="2642" y="1822"/>
                </a:lnTo>
                <a:lnTo>
                  <a:pt x="2671" y="1857"/>
                </a:lnTo>
                <a:lnTo>
                  <a:pt x="2686" y="1876"/>
                </a:lnTo>
                <a:lnTo>
                  <a:pt x="2698" y="1893"/>
                </a:lnTo>
                <a:lnTo>
                  <a:pt x="2703" y="1901"/>
                </a:lnTo>
                <a:lnTo>
                  <a:pt x="2707" y="1908"/>
                </a:lnTo>
                <a:lnTo>
                  <a:pt x="2708" y="1914"/>
                </a:lnTo>
                <a:lnTo>
                  <a:pt x="2708" y="1918"/>
                </a:lnTo>
                <a:lnTo>
                  <a:pt x="2706" y="1924"/>
                </a:lnTo>
                <a:lnTo>
                  <a:pt x="2704" y="1929"/>
                </a:lnTo>
                <a:lnTo>
                  <a:pt x="2699" y="1931"/>
                </a:lnTo>
                <a:lnTo>
                  <a:pt x="2696" y="1932"/>
                </a:lnTo>
                <a:lnTo>
                  <a:pt x="2694" y="1933"/>
                </a:lnTo>
                <a:lnTo>
                  <a:pt x="2692" y="1934"/>
                </a:lnTo>
                <a:lnTo>
                  <a:pt x="2691" y="1936"/>
                </a:lnTo>
                <a:lnTo>
                  <a:pt x="2692" y="1940"/>
                </a:lnTo>
                <a:lnTo>
                  <a:pt x="2693" y="1942"/>
                </a:lnTo>
                <a:lnTo>
                  <a:pt x="2695" y="1944"/>
                </a:lnTo>
                <a:lnTo>
                  <a:pt x="2697" y="1945"/>
                </a:lnTo>
                <a:lnTo>
                  <a:pt x="2700" y="1945"/>
                </a:lnTo>
                <a:lnTo>
                  <a:pt x="2707" y="1944"/>
                </a:lnTo>
                <a:lnTo>
                  <a:pt x="2713" y="1943"/>
                </a:lnTo>
                <a:lnTo>
                  <a:pt x="2720" y="1941"/>
                </a:lnTo>
                <a:lnTo>
                  <a:pt x="2727" y="1940"/>
                </a:lnTo>
                <a:lnTo>
                  <a:pt x="2729" y="1940"/>
                </a:lnTo>
                <a:lnTo>
                  <a:pt x="2732" y="1941"/>
                </a:lnTo>
                <a:lnTo>
                  <a:pt x="2733" y="1942"/>
                </a:lnTo>
                <a:lnTo>
                  <a:pt x="2735" y="1944"/>
                </a:lnTo>
                <a:lnTo>
                  <a:pt x="2737" y="1947"/>
                </a:lnTo>
                <a:lnTo>
                  <a:pt x="2740" y="1948"/>
                </a:lnTo>
                <a:lnTo>
                  <a:pt x="2742" y="1950"/>
                </a:lnTo>
                <a:lnTo>
                  <a:pt x="2746" y="1948"/>
                </a:lnTo>
                <a:lnTo>
                  <a:pt x="2749" y="1948"/>
                </a:lnTo>
                <a:lnTo>
                  <a:pt x="2752" y="1950"/>
                </a:lnTo>
                <a:lnTo>
                  <a:pt x="2754" y="1953"/>
                </a:lnTo>
                <a:lnTo>
                  <a:pt x="2756" y="1957"/>
                </a:lnTo>
                <a:lnTo>
                  <a:pt x="2761" y="1969"/>
                </a:lnTo>
                <a:lnTo>
                  <a:pt x="2768" y="1980"/>
                </a:lnTo>
                <a:lnTo>
                  <a:pt x="2773" y="1987"/>
                </a:lnTo>
                <a:lnTo>
                  <a:pt x="2775" y="1990"/>
                </a:lnTo>
                <a:lnTo>
                  <a:pt x="2780" y="1988"/>
                </a:lnTo>
                <a:lnTo>
                  <a:pt x="2785" y="1985"/>
                </a:lnTo>
                <a:close/>
                <a:moveTo>
                  <a:pt x="4946" y="1406"/>
                </a:moveTo>
                <a:lnTo>
                  <a:pt x="4943" y="1405"/>
                </a:lnTo>
                <a:lnTo>
                  <a:pt x="4941" y="1402"/>
                </a:lnTo>
                <a:lnTo>
                  <a:pt x="4939" y="1399"/>
                </a:lnTo>
                <a:lnTo>
                  <a:pt x="4937" y="1396"/>
                </a:lnTo>
                <a:lnTo>
                  <a:pt x="4935" y="1389"/>
                </a:lnTo>
                <a:lnTo>
                  <a:pt x="4934" y="1381"/>
                </a:lnTo>
                <a:lnTo>
                  <a:pt x="4932" y="1372"/>
                </a:lnTo>
                <a:lnTo>
                  <a:pt x="4930" y="1365"/>
                </a:lnTo>
                <a:lnTo>
                  <a:pt x="4927" y="1358"/>
                </a:lnTo>
                <a:lnTo>
                  <a:pt x="4922" y="1351"/>
                </a:lnTo>
                <a:lnTo>
                  <a:pt x="4907" y="1342"/>
                </a:lnTo>
                <a:lnTo>
                  <a:pt x="4889" y="1331"/>
                </a:lnTo>
                <a:lnTo>
                  <a:pt x="4883" y="1327"/>
                </a:lnTo>
                <a:lnTo>
                  <a:pt x="4878" y="1323"/>
                </a:lnTo>
                <a:lnTo>
                  <a:pt x="4876" y="1321"/>
                </a:lnTo>
                <a:lnTo>
                  <a:pt x="4876" y="1319"/>
                </a:lnTo>
                <a:lnTo>
                  <a:pt x="4876" y="1318"/>
                </a:lnTo>
                <a:lnTo>
                  <a:pt x="4877" y="1316"/>
                </a:lnTo>
                <a:lnTo>
                  <a:pt x="4886" y="1308"/>
                </a:lnTo>
                <a:lnTo>
                  <a:pt x="4899" y="1299"/>
                </a:lnTo>
                <a:lnTo>
                  <a:pt x="4904" y="1294"/>
                </a:lnTo>
                <a:lnTo>
                  <a:pt x="4908" y="1288"/>
                </a:lnTo>
                <a:lnTo>
                  <a:pt x="4912" y="1283"/>
                </a:lnTo>
                <a:lnTo>
                  <a:pt x="4913" y="1278"/>
                </a:lnTo>
                <a:lnTo>
                  <a:pt x="4915" y="1265"/>
                </a:lnTo>
                <a:lnTo>
                  <a:pt x="4917" y="1251"/>
                </a:lnTo>
                <a:lnTo>
                  <a:pt x="4920" y="1243"/>
                </a:lnTo>
                <a:lnTo>
                  <a:pt x="4922" y="1237"/>
                </a:lnTo>
                <a:lnTo>
                  <a:pt x="4924" y="1232"/>
                </a:lnTo>
                <a:lnTo>
                  <a:pt x="4928" y="1229"/>
                </a:lnTo>
                <a:lnTo>
                  <a:pt x="4937" y="1223"/>
                </a:lnTo>
                <a:lnTo>
                  <a:pt x="4946" y="1217"/>
                </a:lnTo>
                <a:lnTo>
                  <a:pt x="4949" y="1214"/>
                </a:lnTo>
                <a:lnTo>
                  <a:pt x="4951" y="1211"/>
                </a:lnTo>
                <a:lnTo>
                  <a:pt x="4951" y="1208"/>
                </a:lnTo>
                <a:lnTo>
                  <a:pt x="4950" y="1204"/>
                </a:lnTo>
                <a:lnTo>
                  <a:pt x="4943" y="1194"/>
                </a:lnTo>
                <a:lnTo>
                  <a:pt x="4936" y="1180"/>
                </a:lnTo>
                <a:lnTo>
                  <a:pt x="4934" y="1174"/>
                </a:lnTo>
                <a:lnTo>
                  <a:pt x="4933" y="1169"/>
                </a:lnTo>
                <a:lnTo>
                  <a:pt x="4933" y="1167"/>
                </a:lnTo>
                <a:lnTo>
                  <a:pt x="4933" y="1166"/>
                </a:lnTo>
                <a:lnTo>
                  <a:pt x="4934" y="1165"/>
                </a:lnTo>
                <a:lnTo>
                  <a:pt x="4935" y="1164"/>
                </a:lnTo>
                <a:lnTo>
                  <a:pt x="4938" y="1163"/>
                </a:lnTo>
                <a:lnTo>
                  <a:pt x="4944" y="1161"/>
                </a:lnTo>
                <a:lnTo>
                  <a:pt x="4950" y="1156"/>
                </a:lnTo>
                <a:lnTo>
                  <a:pt x="4956" y="1152"/>
                </a:lnTo>
                <a:lnTo>
                  <a:pt x="4963" y="1147"/>
                </a:lnTo>
                <a:lnTo>
                  <a:pt x="4968" y="1142"/>
                </a:lnTo>
                <a:lnTo>
                  <a:pt x="4971" y="1136"/>
                </a:lnTo>
                <a:lnTo>
                  <a:pt x="4973" y="1132"/>
                </a:lnTo>
                <a:lnTo>
                  <a:pt x="4974" y="1119"/>
                </a:lnTo>
                <a:lnTo>
                  <a:pt x="4974" y="1099"/>
                </a:lnTo>
                <a:lnTo>
                  <a:pt x="4974" y="1089"/>
                </a:lnTo>
                <a:lnTo>
                  <a:pt x="4975" y="1081"/>
                </a:lnTo>
                <a:lnTo>
                  <a:pt x="4977" y="1074"/>
                </a:lnTo>
                <a:lnTo>
                  <a:pt x="4979" y="1070"/>
                </a:lnTo>
                <a:lnTo>
                  <a:pt x="5003" y="1055"/>
                </a:lnTo>
                <a:lnTo>
                  <a:pt x="5048" y="1024"/>
                </a:lnTo>
                <a:lnTo>
                  <a:pt x="5091" y="994"/>
                </a:lnTo>
                <a:lnTo>
                  <a:pt x="5110" y="980"/>
                </a:lnTo>
                <a:lnTo>
                  <a:pt x="5119" y="978"/>
                </a:lnTo>
                <a:lnTo>
                  <a:pt x="5136" y="972"/>
                </a:lnTo>
                <a:lnTo>
                  <a:pt x="5147" y="968"/>
                </a:lnTo>
                <a:lnTo>
                  <a:pt x="5157" y="963"/>
                </a:lnTo>
                <a:lnTo>
                  <a:pt x="5166" y="957"/>
                </a:lnTo>
                <a:lnTo>
                  <a:pt x="5172" y="952"/>
                </a:lnTo>
                <a:lnTo>
                  <a:pt x="5179" y="946"/>
                </a:lnTo>
                <a:lnTo>
                  <a:pt x="5193" y="937"/>
                </a:lnTo>
                <a:lnTo>
                  <a:pt x="5209" y="928"/>
                </a:lnTo>
                <a:lnTo>
                  <a:pt x="5226" y="920"/>
                </a:lnTo>
                <a:lnTo>
                  <a:pt x="5242" y="912"/>
                </a:lnTo>
                <a:lnTo>
                  <a:pt x="5257" y="908"/>
                </a:lnTo>
                <a:lnTo>
                  <a:pt x="5262" y="906"/>
                </a:lnTo>
                <a:lnTo>
                  <a:pt x="5267" y="906"/>
                </a:lnTo>
                <a:lnTo>
                  <a:pt x="5270" y="907"/>
                </a:lnTo>
                <a:lnTo>
                  <a:pt x="5271" y="909"/>
                </a:lnTo>
                <a:lnTo>
                  <a:pt x="5271" y="921"/>
                </a:lnTo>
                <a:lnTo>
                  <a:pt x="5270" y="933"/>
                </a:lnTo>
                <a:lnTo>
                  <a:pt x="5268" y="946"/>
                </a:lnTo>
                <a:lnTo>
                  <a:pt x="5264" y="956"/>
                </a:lnTo>
                <a:lnTo>
                  <a:pt x="5255" y="966"/>
                </a:lnTo>
                <a:lnTo>
                  <a:pt x="5232" y="985"/>
                </a:lnTo>
                <a:lnTo>
                  <a:pt x="5200" y="1010"/>
                </a:lnTo>
                <a:lnTo>
                  <a:pt x="5165" y="1037"/>
                </a:lnTo>
                <a:lnTo>
                  <a:pt x="5128" y="1065"/>
                </a:lnTo>
                <a:lnTo>
                  <a:pt x="5095" y="1090"/>
                </a:lnTo>
                <a:lnTo>
                  <a:pt x="5069" y="1110"/>
                </a:lnTo>
                <a:lnTo>
                  <a:pt x="5055" y="1123"/>
                </a:lnTo>
                <a:lnTo>
                  <a:pt x="5042" y="1136"/>
                </a:lnTo>
                <a:lnTo>
                  <a:pt x="5031" y="1151"/>
                </a:lnTo>
                <a:lnTo>
                  <a:pt x="5025" y="1160"/>
                </a:lnTo>
                <a:lnTo>
                  <a:pt x="5022" y="1167"/>
                </a:lnTo>
                <a:lnTo>
                  <a:pt x="5019" y="1174"/>
                </a:lnTo>
                <a:lnTo>
                  <a:pt x="5018" y="1183"/>
                </a:lnTo>
                <a:lnTo>
                  <a:pt x="5016" y="1190"/>
                </a:lnTo>
                <a:lnTo>
                  <a:pt x="5012" y="1197"/>
                </a:lnTo>
                <a:lnTo>
                  <a:pt x="5008" y="1206"/>
                </a:lnTo>
                <a:lnTo>
                  <a:pt x="5001" y="1213"/>
                </a:lnTo>
                <a:lnTo>
                  <a:pt x="4995" y="1220"/>
                </a:lnTo>
                <a:lnTo>
                  <a:pt x="4990" y="1228"/>
                </a:lnTo>
                <a:lnTo>
                  <a:pt x="4986" y="1234"/>
                </a:lnTo>
                <a:lnTo>
                  <a:pt x="4984" y="1239"/>
                </a:lnTo>
                <a:lnTo>
                  <a:pt x="4978" y="1253"/>
                </a:lnTo>
                <a:lnTo>
                  <a:pt x="4970" y="1270"/>
                </a:lnTo>
                <a:lnTo>
                  <a:pt x="4967" y="1280"/>
                </a:lnTo>
                <a:lnTo>
                  <a:pt x="4964" y="1292"/>
                </a:lnTo>
                <a:lnTo>
                  <a:pt x="4961" y="1304"/>
                </a:lnTo>
                <a:lnTo>
                  <a:pt x="4960" y="1318"/>
                </a:lnTo>
                <a:lnTo>
                  <a:pt x="4961" y="1325"/>
                </a:lnTo>
                <a:lnTo>
                  <a:pt x="4965" y="1331"/>
                </a:lnTo>
                <a:lnTo>
                  <a:pt x="4968" y="1339"/>
                </a:lnTo>
                <a:lnTo>
                  <a:pt x="4973" y="1345"/>
                </a:lnTo>
                <a:lnTo>
                  <a:pt x="4986" y="1357"/>
                </a:lnTo>
                <a:lnTo>
                  <a:pt x="4999" y="1367"/>
                </a:lnTo>
                <a:lnTo>
                  <a:pt x="5006" y="1372"/>
                </a:lnTo>
                <a:lnTo>
                  <a:pt x="5012" y="1377"/>
                </a:lnTo>
                <a:lnTo>
                  <a:pt x="5016" y="1382"/>
                </a:lnTo>
                <a:lnTo>
                  <a:pt x="5019" y="1387"/>
                </a:lnTo>
                <a:lnTo>
                  <a:pt x="5021" y="1391"/>
                </a:lnTo>
                <a:lnTo>
                  <a:pt x="5021" y="1395"/>
                </a:lnTo>
                <a:lnTo>
                  <a:pt x="5019" y="1399"/>
                </a:lnTo>
                <a:lnTo>
                  <a:pt x="5014" y="1404"/>
                </a:lnTo>
                <a:lnTo>
                  <a:pt x="5008" y="1408"/>
                </a:lnTo>
                <a:lnTo>
                  <a:pt x="5001" y="1411"/>
                </a:lnTo>
                <a:lnTo>
                  <a:pt x="4995" y="1412"/>
                </a:lnTo>
                <a:lnTo>
                  <a:pt x="4990" y="1414"/>
                </a:lnTo>
                <a:lnTo>
                  <a:pt x="4978" y="1414"/>
                </a:lnTo>
                <a:lnTo>
                  <a:pt x="4968" y="1413"/>
                </a:lnTo>
                <a:lnTo>
                  <a:pt x="4952" y="1409"/>
                </a:lnTo>
                <a:lnTo>
                  <a:pt x="4946" y="1406"/>
                </a:lnTo>
                <a:close/>
                <a:moveTo>
                  <a:pt x="4805" y="1486"/>
                </a:moveTo>
                <a:lnTo>
                  <a:pt x="4806" y="1495"/>
                </a:lnTo>
                <a:lnTo>
                  <a:pt x="4809" y="1503"/>
                </a:lnTo>
                <a:lnTo>
                  <a:pt x="4812" y="1509"/>
                </a:lnTo>
                <a:lnTo>
                  <a:pt x="4816" y="1515"/>
                </a:lnTo>
                <a:lnTo>
                  <a:pt x="4820" y="1520"/>
                </a:lnTo>
                <a:lnTo>
                  <a:pt x="4824" y="1523"/>
                </a:lnTo>
                <a:lnTo>
                  <a:pt x="4828" y="1525"/>
                </a:lnTo>
                <a:lnTo>
                  <a:pt x="4832" y="1526"/>
                </a:lnTo>
                <a:lnTo>
                  <a:pt x="4836" y="1526"/>
                </a:lnTo>
                <a:lnTo>
                  <a:pt x="4840" y="1524"/>
                </a:lnTo>
                <a:lnTo>
                  <a:pt x="4846" y="1522"/>
                </a:lnTo>
                <a:lnTo>
                  <a:pt x="4853" y="1518"/>
                </a:lnTo>
                <a:lnTo>
                  <a:pt x="4857" y="1514"/>
                </a:lnTo>
                <a:lnTo>
                  <a:pt x="4861" y="1508"/>
                </a:lnTo>
                <a:lnTo>
                  <a:pt x="4862" y="1506"/>
                </a:lnTo>
                <a:lnTo>
                  <a:pt x="4862" y="1503"/>
                </a:lnTo>
                <a:lnTo>
                  <a:pt x="4862" y="1500"/>
                </a:lnTo>
                <a:lnTo>
                  <a:pt x="4860" y="1497"/>
                </a:lnTo>
                <a:lnTo>
                  <a:pt x="4857" y="1492"/>
                </a:lnTo>
                <a:lnTo>
                  <a:pt x="4853" y="1486"/>
                </a:lnTo>
                <a:lnTo>
                  <a:pt x="4847" y="1481"/>
                </a:lnTo>
                <a:lnTo>
                  <a:pt x="4842" y="1477"/>
                </a:lnTo>
                <a:lnTo>
                  <a:pt x="4838" y="1474"/>
                </a:lnTo>
                <a:lnTo>
                  <a:pt x="4833" y="1473"/>
                </a:lnTo>
                <a:lnTo>
                  <a:pt x="4829" y="1472"/>
                </a:lnTo>
                <a:lnTo>
                  <a:pt x="4826" y="1473"/>
                </a:lnTo>
                <a:lnTo>
                  <a:pt x="4814" y="1481"/>
                </a:lnTo>
                <a:lnTo>
                  <a:pt x="4805" y="1486"/>
                </a:lnTo>
                <a:close/>
                <a:moveTo>
                  <a:pt x="3232" y="1752"/>
                </a:moveTo>
                <a:lnTo>
                  <a:pt x="3237" y="1754"/>
                </a:lnTo>
                <a:lnTo>
                  <a:pt x="3244" y="1755"/>
                </a:lnTo>
                <a:lnTo>
                  <a:pt x="3251" y="1756"/>
                </a:lnTo>
                <a:lnTo>
                  <a:pt x="3257" y="1756"/>
                </a:lnTo>
                <a:lnTo>
                  <a:pt x="3262" y="1757"/>
                </a:lnTo>
                <a:lnTo>
                  <a:pt x="3265" y="1759"/>
                </a:lnTo>
                <a:lnTo>
                  <a:pt x="3266" y="1760"/>
                </a:lnTo>
                <a:lnTo>
                  <a:pt x="3267" y="1761"/>
                </a:lnTo>
                <a:lnTo>
                  <a:pt x="3266" y="1763"/>
                </a:lnTo>
                <a:lnTo>
                  <a:pt x="3265" y="1766"/>
                </a:lnTo>
                <a:lnTo>
                  <a:pt x="3260" y="1776"/>
                </a:lnTo>
                <a:lnTo>
                  <a:pt x="3256" y="1782"/>
                </a:lnTo>
                <a:lnTo>
                  <a:pt x="3255" y="1784"/>
                </a:lnTo>
                <a:lnTo>
                  <a:pt x="3255" y="1786"/>
                </a:lnTo>
                <a:lnTo>
                  <a:pt x="3255" y="1789"/>
                </a:lnTo>
                <a:lnTo>
                  <a:pt x="3257" y="1791"/>
                </a:lnTo>
                <a:lnTo>
                  <a:pt x="3259" y="1794"/>
                </a:lnTo>
                <a:lnTo>
                  <a:pt x="3263" y="1796"/>
                </a:lnTo>
                <a:lnTo>
                  <a:pt x="3268" y="1796"/>
                </a:lnTo>
                <a:lnTo>
                  <a:pt x="3275" y="1796"/>
                </a:lnTo>
                <a:lnTo>
                  <a:pt x="3280" y="1796"/>
                </a:lnTo>
                <a:lnTo>
                  <a:pt x="3285" y="1797"/>
                </a:lnTo>
                <a:lnTo>
                  <a:pt x="3287" y="1797"/>
                </a:lnTo>
                <a:lnTo>
                  <a:pt x="3289" y="1798"/>
                </a:lnTo>
                <a:lnTo>
                  <a:pt x="3290" y="1799"/>
                </a:lnTo>
                <a:lnTo>
                  <a:pt x="3291" y="1801"/>
                </a:lnTo>
                <a:lnTo>
                  <a:pt x="3292" y="1803"/>
                </a:lnTo>
                <a:lnTo>
                  <a:pt x="3296" y="1804"/>
                </a:lnTo>
                <a:lnTo>
                  <a:pt x="3300" y="1805"/>
                </a:lnTo>
                <a:lnTo>
                  <a:pt x="3304" y="1806"/>
                </a:lnTo>
                <a:lnTo>
                  <a:pt x="3317" y="1807"/>
                </a:lnTo>
                <a:lnTo>
                  <a:pt x="3330" y="1807"/>
                </a:lnTo>
                <a:lnTo>
                  <a:pt x="3355" y="1807"/>
                </a:lnTo>
                <a:lnTo>
                  <a:pt x="3367" y="1806"/>
                </a:lnTo>
                <a:lnTo>
                  <a:pt x="3377" y="1800"/>
                </a:lnTo>
                <a:lnTo>
                  <a:pt x="3399" y="1784"/>
                </a:lnTo>
                <a:lnTo>
                  <a:pt x="3412" y="1775"/>
                </a:lnTo>
                <a:lnTo>
                  <a:pt x="3423" y="1766"/>
                </a:lnTo>
                <a:lnTo>
                  <a:pt x="3433" y="1758"/>
                </a:lnTo>
                <a:lnTo>
                  <a:pt x="3439" y="1752"/>
                </a:lnTo>
                <a:lnTo>
                  <a:pt x="3447" y="1741"/>
                </a:lnTo>
                <a:lnTo>
                  <a:pt x="3456" y="1730"/>
                </a:lnTo>
                <a:lnTo>
                  <a:pt x="3458" y="1726"/>
                </a:lnTo>
                <a:lnTo>
                  <a:pt x="3458" y="1723"/>
                </a:lnTo>
                <a:lnTo>
                  <a:pt x="3459" y="1720"/>
                </a:lnTo>
                <a:lnTo>
                  <a:pt x="3459" y="1717"/>
                </a:lnTo>
                <a:lnTo>
                  <a:pt x="3458" y="1713"/>
                </a:lnTo>
                <a:lnTo>
                  <a:pt x="3456" y="1709"/>
                </a:lnTo>
                <a:lnTo>
                  <a:pt x="3454" y="1704"/>
                </a:lnTo>
                <a:lnTo>
                  <a:pt x="3451" y="1700"/>
                </a:lnTo>
                <a:lnTo>
                  <a:pt x="3434" y="1682"/>
                </a:lnTo>
                <a:lnTo>
                  <a:pt x="3419" y="1667"/>
                </a:lnTo>
                <a:lnTo>
                  <a:pt x="3411" y="1660"/>
                </a:lnTo>
                <a:lnTo>
                  <a:pt x="3403" y="1656"/>
                </a:lnTo>
                <a:lnTo>
                  <a:pt x="3400" y="1655"/>
                </a:lnTo>
                <a:lnTo>
                  <a:pt x="3396" y="1655"/>
                </a:lnTo>
                <a:lnTo>
                  <a:pt x="3393" y="1656"/>
                </a:lnTo>
                <a:lnTo>
                  <a:pt x="3390" y="1657"/>
                </a:lnTo>
                <a:lnTo>
                  <a:pt x="3374" y="1666"/>
                </a:lnTo>
                <a:lnTo>
                  <a:pt x="3356" y="1674"/>
                </a:lnTo>
                <a:lnTo>
                  <a:pt x="3347" y="1678"/>
                </a:lnTo>
                <a:lnTo>
                  <a:pt x="3339" y="1681"/>
                </a:lnTo>
                <a:lnTo>
                  <a:pt x="3330" y="1683"/>
                </a:lnTo>
                <a:lnTo>
                  <a:pt x="3322" y="1686"/>
                </a:lnTo>
                <a:lnTo>
                  <a:pt x="3314" y="1684"/>
                </a:lnTo>
                <a:lnTo>
                  <a:pt x="3306" y="1683"/>
                </a:lnTo>
                <a:lnTo>
                  <a:pt x="3298" y="1681"/>
                </a:lnTo>
                <a:lnTo>
                  <a:pt x="3290" y="1678"/>
                </a:lnTo>
                <a:lnTo>
                  <a:pt x="3279" y="1673"/>
                </a:lnTo>
                <a:lnTo>
                  <a:pt x="3274" y="1671"/>
                </a:lnTo>
                <a:lnTo>
                  <a:pt x="3275" y="1665"/>
                </a:lnTo>
                <a:lnTo>
                  <a:pt x="3274" y="1654"/>
                </a:lnTo>
                <a:lnTo>
                  <a:pt x="3273" y="1652"/>
                </a:lnTo>
                <a:lnTo>
                  <a:pt x="3271" y="1650"/>
                </a:lnTo>
                <a:lnTo>
                  <a:pt x="3270" y="1648"/>
                </a:lnTo>
                <a:lnTo>
                  <a:pt x="3268" y="1647"/>
                </a:lnTo>
                <a:lnTo>
                  <a:pt x="3266" y="1647"/>
                </a:lnTo>
                <a:lnTo>
                  <a:pt x="3263" y="1648"/>
                </a:lnTo>
                <a:lnTo>
                  <a:pt x="3260" y="1650"/>
                </a:lnTo>
                <a:lnTo>
                  <a:pt x="3256" y="1653"/>
                </a:lnTo>
                <a:lnTo>
                  <a:pt x="3246" y="1661"/>
                </a:lnTo>
                <a:lnTo>
                  <a:pt x="3239" y="1671"/>
                </a:lnTo>
                <a:lnTo>
                  <a:pt x="3232" y="1680"/>
                </a:lnTo>
                <a:lnTo>
                  <a:pt x="3226" y="1690"/>
                </a:lnTo>
                <a:lnTo>
                  <a:pt x="3222" y="1698"/>
                </a:lnTo>
                <a:lnTo>
                  <a:pt x="3220" y="1705"/>
                </a:lnTo>
                <a:lnTo>
                  <a:pt x="3219" y="1711"/>
                </a:lnTo>
                <a:lnTo>
                  <a:pt x="3219" y="1715"/>
                </a:lnTo>
                <a:lnTo>
                  <a:pt x="3222" y="1717"/>
                </a:lnTo>
                <a:lnTo>
                  <a:pt x="3227" y="1719"/>
                </a:lnTo>
                <a:lnTo>
                  <a:pt x="3234" y="1721"/>
                </a:lnTo>
                <a:lnTo>
                  <a:pt x="3240" y="1722"/>
                </a:lnTo>
                <a:lnTo>
                  <a:pt x="3253" y="1725"/>
                </a:lnTo>
                <a:lnTo>
                  <a:pt x="3258" y="1726"/>
                </a:lnTo>
                <a:lnTo>
                  <a:pt x="3251" y="1728"/>
                </a:lnTo>
                <a:lnTo>
                  <a:pt x="3235" y="1734"/>
                </a:lnTo>
                <a:lnTo>
                  <a:pt x="3226" y="1738"/>
                </a:lnTo>
                <a:lnTo>
                  <a:pt x="3219" y="1741"/>
                </a:lnTo>
                <a:lnTo>
                  <a:pt x="3217" y="1743"/>
                </a:lnTo>
                <a:lnTo>
                  <a:pt x="3215" y="1745"/>
                </a:lnTo>
                <a:lnTo>
                  <a:pt x="3214" y="1746"/>
                </a:lnTo>
                <a:lnTo>
                  <a:pt x="3214" y="1748"/>
                </a:lnTo>
                <a:lnTo>
                  <a:pt x="3216" y="1752"/>
                </a:lnTo>
                <a:lnTo>
                  <a:pt x="3219" y="1753"/>
                </a:lnTo>
                <a:lnTo>
                  <a:pt x="3221" y="1754"/>
                </a:lnTo>
                <a:lnTo>
                  <a:pt x="3224" y="1754"/>
                </a:lnTo>
                <a:lnTo>
                  <a:pt x="3230" y="1753"/>
                </a:lnTo>
                <a:lnTo>
                  <a:pt x="3232" y="1752"/>
                </a:lnTo>
                <a:close/>
                <a:moveTo>
                  <a:pt x="3611" y="2283"/>
                </a:moveTo>
                <a:lnTo>
                  <a:pt x="3600" y="2292"/>
                </a:lnTo>
                <a:lnTo>
                  <a:pt x="3582" y="2306"/>
                </a:lnTo>
                <a:lnTo>
                  <a:pt x="3571" y="2312"/>
                </a:lnTo>
                <a:lnTo>
                  <a:pt x="3562" y="2316"/>
                </a:lnTo>
                <a:lnTo>
                  <a:pt x="3558" y="2317"/>
                </a:lnTo>
                <a:lnTo>
                  <a:pt x="3553" y="2318"/>
                </a:lnTo>
                <a:lnTo>
                  <a:pt x="3551" y="2318"/>
                </a:lnTo>
                <a:lnTo>
                  <a:pt x="3548" y="2316"/>
                </a:lnTo>
                <a:lnTo>
                  <a:pt x="3539" y="2309"/>
                </a:lnTo>
                <a:lnTo>
                  <a:pt x="3527" y="2298"/>
                </a:lnTo>
                <a:lnTo>
                  <a:pt x="3522" y="2294"/>
                </a:lnTo>
                <a:lnTo>
                  <a:pt x="3520" y="2290"/>
                </a:lnTo>
                <a:lnTo>
                  <a:pt x="3519" y="2289"/>
                </a:lnTo>
                <a:lnTo>
                  <a:pt x="3520" y="2287"/>
                </a:lnTo>
                <a:lnTo>
                  <a:pt x="3521" y="2286"/>
                </a:lnTo>
                <a:lnTo>
                  <a:pt x="3523" y="2285"/>
                </a:lnTo>
                <a:lnTo>
                  <a:pt x="3534" y="2282"/>
                </a:lnTo>
                <a:lnTo>
                  <a:pt x="3546" y="2276"/>
                </a:lnTo>
                <a:lnTo>
                  <a:pt x="3550" y="2273"/>
                </a:lnTo>
                <a:lnTo>
                  <a:pt x="3552" y="2269"/>
                </a:lnTo>
                <a:lnTo>
                  <a:pt x="3553" y="2267"/>
                </a:lnTo>
                <a:lnTo>
                  <a:pt x="3553" y="2265"/>
                </a:lnTo>
                <a:lnTo>
                  <a:pt x="3553" y="2262"/>
                </a:lnTo>
                <a:lnTo>
                  <a:pt x="3552" y="2260"/>
                </a:lnTo>
                <a:lnTo>
                  <a:pt x="3546" y="2248"/>
                </a:lnTo>
                <a:lnTo>
                  <a:pt x="3538" y="2237"/>
                </a:lnTo>
                <a:lnTo>
                  <a:pt x="3534" y="2232"/>
                </a:lnTo>
                <a:lnTo>
                  <a:pt x="3531" y="2227"/>
                </a:lnTo>
                <a:lnTo>
                  <a:pt x="3530" y="2223"/>
                </a:lnTo>
                <a:lnTo>
                  <a:pt x="3531" y="2219"/>
                </a:lnTo>
                <a:lnTo>
                  <a:pt x="3534" y="2216"/>
                </a:lnTo>
                <a:lnTo>
                  <a:pt x="3541" y="2211"/>
                </a:lnTo>
                <a:lnTo>
                  <a:pt x="3549" y="2206"/>
                </a:lnTo>
                <a:lnTo>
                  <a:pt x="3558" y="2202"/>
                </a:lnTo>
                <a:lnTo>
                  <a:pt x="3572" y="2195"/>
                </a:lnTo>
                <a:lnTo>
                  <a:pt x="3580" y="2192"/>
                </a:lnTo>
                <a:lnTo>
                  <a:pt x="3585" y="2188"/>
                </a:lnTo>
                <a:lnTo>
                  <a:pt x="3595" y="2182"/>
                </a:lnTo>
                <a:lnTo>
                  <a:pt x="3602" y="2179"/>
                </a:lnTo>
                <a:lnTo>
                  <a:pt x="3607" y="2177"/>
                </a:lnTo>
                <a:lnTo>
                  <a:pt x="3609" y="2177"/>
                </a:lnTo>
                <a:lnTo>
                  <a:pt x="3611" y="2177"/>
                </a:lnTo>
                <a:lnTo>
                  <a:pt x="3612" y="2177"/>
                </a:lnTo>
                <a:lnTo>
                  <a:pt x="3612" y="2178"/>
                </a:lnTo>
                <a:lnTo>
                  <a:pt x="3619" y="2187"/>
                </a:lnTo>
                <a:lnTo>
                  <a:pt x="3627" y="2198"/>
                </a:lnTo>
                <a:lnTo>
                  <a:pt x="3626" y="2208"/>
                </a:lnTo>
                <a:lnTo>
                  <a:pt x="3622" y="2220"/>
                </a:lnTo>
                <a:lnTo>
                  <a:pt x="3619" y="2229"/>
                </a:lnTo>
                <a:lnTo>
                  <a:pt x="3618" y="2233"/>
                </a:lnTo>
                <a:lnTo>
                  <a:pt x="3617" y="2244"/>
                </a:lnTo>
                <a:lnTo>
                  <a:pt x="3616" y="2264"/>
                </a:lnTo>
                <a:lnTo>
                  <a:pt x="3616" y="2271"/>
                </a:lnTo>
                <a:lnTo>
                  <a:pt x="3614" y="2277"/>
                </a:lnTo>
                <a:lnTo>
                  <a:pt x="3612" y="2282"/>
                </a:lnTo>
                <a:lnTo>
                  <a:pt x="3611" y="2283"/>
                </a:lnTo>
                <a:close/>
                <a:moveTo>
                  <a:pt x="3660" y="2258"/>
                </a:moveTo>
                <a:lnTo>
                  <a:pt x="3659" y="2272"/>
                </a:lnTo>
                <a:lnTo>
                  <a:pt x="3657" y="2281"/>
                </a:lnTo>
                <a:lnTo>
                  <a:pt x="3656" y="2284"/>
                </a:lnTo>
                <a:lnTo>
                  <a:pt x="3655" y="2286"/>
                </a:lnTo>
                <a:lnTo>
                  <a:pt x="3654" y="2287"/>
                </a:lnTo>
                <a:lnTo>
                  <a:pt x="3651" y="2289"/>
                </a:lnTo>
                <a:lnTo>
                  <a:pt x="3649" y="2291"/>
                </a:lnTo>
                <a:lnTo>
                  <a:pt x="3648" y="2292"/>
                </a:lnTo>
                <a:lnTo>
                  <a:pt x="3648" y="2294"/>
                </a:lnTo>
                <a:lnTo>
                  <a:pt x="3649" y="2295"/>
                </a:lnTo>
                <a:lnTo>
                  <a:pt x="3651" y="2298"/>
                </a:lnTo>
                <a:lnTo>
                  <a:pt x="3653" y="2304"/>
                </a:lnTo>
                <a:lnTo>
                  <a:pt x="3655" y="2306"/>
                </a:lnTo>
                <a:lnTo>
                  <a:pt x="3658" y="2307"/>
                </a:lnTo>
                <a:lnTo>
                  <a:pt x="3661" y="2309"/>
                </a:lnTo>
                <a:lnTo>
                  <a:pt x="3665" y="2310"/>
                </a:lnTo>
                <a:lnTo>
                  <a:pt x="3668" y="2311"/>
                </a:lnTo>
                <a:lnTo>
                  <a:pt x="3670" y="2313"/>
                </a:lnTo>
                <a:lnTo>
                  <a:pt x="3669" y="2315"/>
                </a:lnTo>
                <a:lnTo>
                  <a:pt x="3665" y="2318"/>
                </a:lnTo>
                <a:lnTo>
                  <a:pt x="3652" y="2329"/>
                </a:lnTo>
                <a:lnTo>
                  <a:pt x="3633" y="2340"/>
                </a:lnTo>
                <a:lnTo>
                  <a:pt x="3626" y="2347"/>
                </a:lnTo>
                <a:lnTo>
                  <a:pt x="3621" y="2352"/>
                </a:lnTo>
                <a:lnTo>
                  <a:pt x="3619" y="2354"/>
                </a:lnTo>
                <a:lnTo>
                  <a:pt x="3619" y="2356"/>
                </a:lnTo>
                <a:lnTo>
                  <a:pt x="3621" y="2358"/>
                </a:lnTo>
                <a:lnTo>
                  <a:pt x="3624" y="2360"/>
                </a:lnTo>
                <a:lnTo>
                  <a:pt x="3632" y="2361"/>
                </a:lnTo>
                <a:lnTo>
                  <a:pt x="3644" y="2361"/>
                </a:lnTo>
                <a:lnTo>
                  <a:pt x="3659" y="2359"/>
                </a:lnTo>
                <a:lnTo>
                  <a:pt x="3674" y="2357"/>
                </a:lnTo>
                <a:lnTo>
                  <a:pt x="3700" y="2352"/>
                </a:lnTo>
                <a:lnTo>
                  <a:pt x="3712" y="2350"/>
                </a:lnTo>
                <a:lnTo>
                  <a:pt x="3721" y="2349"/>
                </a:lnTo>
                <a:lnTo>
                  <a:pt x="3742" y="2348"/>
                </a:lnTo>
                <a:lnTo>
                  <a:pt x="3754" y="2346"/>
                </a:lnTo>
                <a:lnTo>
                  <a:pt x="3765" y="2344"/>
                </a:lnTo>
                <a:lnTo>
                  <a:pt x="3769" y="2342"/>
                </a:lnTo>
                <a:lnTo>
                  <a:pt x="3773" y="2341"/>
                </a:lnTo>
                <a:lnTo>
                  <a:pt x="3776" y="2339"/>
                </a:lnTo>
                <a:lnTo>
                  <a:pt x="3779" y="2337"/>
                </a:lnTo>
                <a:lnTo>
                  <a:pt x="3780" y="2333"/>
                </a:lnTo>
                <a:lnTo>
                  <a:pt x="3781" y="2329"/>
                </a:lnTo>
                <a:lnTo>
                  <a:pt x="3780" y="2324"/>
                </a:lnTo>
                <a:lnTo>
                  <a:pt x="3779" y="2319"/>
                </a:lnTo>
                <a:lnTo>
                  <a:pt x="3776" y="2314"/>
                </a:lnTo>
                <a:lnTo>
                  <a:pt x="3776" y="2310"/>
                </a:lnTo>
                <a:lnTo>
                  <a:pt x="3776" y="2306"/>
                </a:lnTo>
                <a:lnTo>
                  <a:pt x="3780" y="2303"/>
                </a:lnTo>
                <a:lnTo>
                  <a:pt x="3785" y="2295"/>
                </a:lnTo>
                <a:lnTo>
                  <a:pt x="3789" y="2290"/>
                </a:lnTo>
                <a:lnTo>
                  <a:pt x="3791" y="2284"/>
                </a:lnTo>
                <a:lnTo>
                  <a:pt x="3791" y="2276"/>
                </a:lnTo>
                <a:lnTo>
                  <a:pt x="3790" y="2265"/>
                </a:lnTo>
                <a:lnTo>
                  <a:pt x="3785" y="2247"/>
                </a:lnTo>
                <a:lnTo>
                  <a:pt x="3782" y="2238"/>
                </a:lnTo>
                <a:lnTo>
                  <a:pt x="3776" y="2229"/>
                </a:lnTo>
                <a:lnTo>
                  <a:pt x="3774" y="2226"/>
                </a:lnTo>
                <a:lnTo>
                  <a:pt x="3771" y="2222"/>
                </a:lnTo>
                <a:lnTo>
                  <a:pt x="3768" y="2220"/>
                </a:lnTo>
                <a:lnTo>
                  <a:pt x="3765" y="2218"/>
                </a:lnTo>
                <a:lnTo>
                  <a:pt x="3757" y="2210"/>
                </a:lnTo>
                <a:lnTo>
                  <a:pt x="3744" y="2199"/>
                </a:lnTo>
                <a:lnTo>
                  <a:pt x="3730" y="2185"/>
                </a:lnTo>
                <a:lnTo>
                  <a:pt x="3717" y="2170"/>
                </a:lnTo>
                <a:lnTo>
                  <a:pt x="3704" y="2154"/>
                </a:lnTo>
                <a:lnTo>
                  <a:pt x="3694" y="2141"/>
                </a:lnTo>
                <a:lnTo>
                  <a:pt x="3691" y="2136"/>
                </a:lnTo>
                <a:lnTo>
                  <a:pt x="3687" y="2132"/>
                </a:lnTo>
                <a:lnTo>
                  <a:pt x="3686" y="2129"/>
                </a:lnTo>
                <a:lnTo>
                  <a:pt x="3687" y="2127"/>
                </a:lnTo>
                <a:lnTo>
                  <a:pt x="3697" y="2121"/>
                </a:lnTo>
                <a:lnTo>
                  <a:pt x="3713" y="2112"/>
                </a:lnTo>
                <a:lnTo>
                  <a:pt x="3719" y="2106"/>
                </a:lnTo>
                <a:lnTo>
                  <a:pt x="3723" y="2099"/>
                </a:lnTo>
                <a:lnTo>
                  <a:pt x="3724" y="2096"/>
                </a:lnTo>
                <a:lnTo>
                  <a:pt x="3724" y="2094"/>
                </a:lnTo>
                <a:lnTo>
                  <a:pt x="3723" y="2091"/>
                </a:lnTo>
                <a:lnTo>
                  <a:pt x="3720" y="2088"/>
                </a:lnTo>
                <a:lnTo>
                  <a:pt x="3713" y="2084"/>
                </a:lnTo>
                <a:lnTo>
                  <a:pt x="3704" y="2079"/>
                </a:lnTo>
                <a:lnTo>
                  <a:pt x="3696" y="2076"/>
                </a:lnTo>
                <a:lnTo>
                  <a:pt x="3688" y="2074"/>
                </a:lnTo>
                <a:lnTo>
                  <a:pt x="3681" y="2072"/>
                </a:lnTo>
                <a:lnTo>
                  <a:pt x="3676" y="2070"/>
                </a:lnTo>
                <a:lnTo>
                  <a:pt x="3674" y="2069"/>
                </a:lnTo>
                <a:lnTo>
                  <a:pt x="3673" y="2068"/>
                </a:lnTo>
                <a:lnTo>
                  <a:pt x="3673" y="2066"/>
                </a:lnTo>
                <a:lnTo>
                  <a:pt x="3673" y="2065"/>
                </a:lnTo>
                <a:lnTo>
                  <a:pt x="3682" y="2049"/>
                </a:lnTo>
                <a:lnTo>
                  <a:pt x="3690" y="2041"/>
                </a:lnTo>
                <a:lnTo>
                  <a:pt x="3668" y="2030"/>
                </a:lnTo>
                <a:lnTo>
                  <a:pt x="3656" y="2035"/>
                </a:lnTo>
                <a:lnTo>
                  <a:pt x="3639" y="2044"/>
                </a:lnTo>
                <a:lnTo>
                  <a:pt x="3634" y="2048"/>
                </a:lnTo>
                <a:lnTo>
                  <a:pt x="3629" y="2050"/>
                </a:lnTo>
                <a:lnTo>
                  <a:pt x="3622" y="2052"/>
                </a:lnTo>
                <a:lnTo>
                  <a:pt x="3616" y="2051"/>
                </a:lnTo>
                <a:lnTo>
                  <a:pt x="3612" y="2051"/>
                </a:lnTo>
                <a:lnTo>
                  <a:pt x="3608" y="2051"/>
                </a:lnTo>
                <a:lnTo>
                  <a:pt x="3604" y="2052"/>
                </a:lnTo>
                <a:lnTo>
                  <a:pt x="3599" y="2054"/>
                </a:lnTo>
                <a:lnTo>
                  <a:pt x="3592" y="2056"/>
                </a:lnTo>
                <a:lnTo>
                  <a:pt x="3590" y="2059"/>
                </a:lnTo>
                <a:lnTo>
                  <a:pt x="3593" y="2062"/>
                </a:lnTo>
                <a:lnTo>
                  <a:pt x="3603" y="2069"/>
                </a:lnTo>
                <a:lnTo>
                  <a:pt x="3607" y="2073"/>
                </a:lnTo>
                <a:lnTo>
                  <a:pt x="3610" y="2077"/>
                </a:lnTo>
                <a:lnTo>
                  <a:pt x="3612" y="2081"/>
                </a:lnTo>
                <a:lnTo>
                  <a:pt x="3612" y="2083"/>
                </a:lnTo>
                <a:lnTo>
                  <a:pt x="3598" y="2097"/>
                </a:lnTo>
                <a:lnTo>
                  <a:pt x="3588" y="2108"/>
                </a:lnTo>
                <a:lnTo>
                  <a:pt x="3607" y="2117"/>
                </a:lnTo>
                <a:lnTo>
                  <a:pt x="3603" y="2128"/>
                </a:lnTo>
                <a:lnTo>
                  <a:pt x="3608" y="2127"/>
                </a:lnTo>
                <a:lnTo>
                  <a:pt x="3616" y="2123"/>
                </a:lnTo>
                <a:lnTo>
                  <a:pt x="3620" y="2123"/>
                </a:lnTo>
                <a:lnTo>
                  <a:pt x="3625" y="2123"/>
                </a:lnTo>
                <a:lnTo>
                  <a:pt x="3626" y="2125"/>
                </a:lnTo>
                <a:lnTo>
                  <a:pt x="3626" y="2126"/>
                </a:lnTo>
                <a:lnTo>
                  <a:pt x="3626" y="2127"/>
                </a:lnTo>
                <a:lnTo>
                  <a:pt x="3625" y="2129"/>
                </a:lnTo>
                <a:lnTo>
                  <a:pt x="3621" y="2133"/>
                </a:lnTo>
                <a:lnTo>
                  <a:pt x="3619" y="2135"/>
                </a:lnTo>
                <a:lnTo>
                  <a:pt x="3616" y="2136"/>
                </a:lnTo>
                <a:lnTo>
                  <a:pt x="3614" y="2137"/>
                </a:lnTo>
                <a:lnTo>
                  <a:pt x="3612" y="2137"/>
                </a:lnTo>
                <a:lnTo>
                  <a:pt x="3610" y="2138"/>
                </a:lnTo>
                <a:lnTo>
                  <a:pt x="3609" y="2140"/>
                </a:lnTo>
                <a:lnTo>
                  <a:pt x="3609" y="2143"/>
                </a:lnTo>
                <a:lnTo>
                  <a:pt x="3615" y="2153"/>
                </a:lnTo>
                <a:lnTo>
                  <a:pt x="3617" y="2160"/>
                </a:lnTo>
                <a:lnTo>
                  <a:pt x="3617" y="2161"/>
                </a:lnTo>
                <a:lnTo>
                  <a:pt x="3617" y="2161"/>
                </a:lnTo>
                <a:lnTo>
                  <a:pt x="3618" y="2162"/>
                </a:lnTo>
                <a:lnTo>
                  <a:pt x="3620" y="2162"/>
                </a:lnTo>
                <a:lnTo>
                  <a:pt x="3625" y="2163"/>
                </a:lnTo>
                <a:lnTo>
                  <a:pt x="3629" y="2163"/>
                </a:lnTo>
                <a:lnTo>
                  <a:pt x="3634" y="2163"/>
                </a:lnTo>
                <a:lnTo>
                  <a:pt x="3638" y="2164"/>
                </a:lnTo>
                <a:lnTo>
                  <a:pt x="3640" y="2165"/>
                </a:lnTo>
                <a:lnTo>
                  <a:pt x="3641" y="2166"/>
                </a:lnTo>
                <a:lnTo>
                  <a:pt x="3642" y="2167"/>
                </a:lnTo>
                <a:lnTo>
                  <a:pt x="3643" y="2170"/>
                </a:lnTo>
                <a:lnTo>
                  <a:pt x="3643" y="2172"/>
                </a:lnTo>
                <a:lnTo>
                  <a:pt x="3646" y="2173"/>
                </a:lnTo>
                <a:lnTo>
                  <a:pt x="3648" y="2173"/>
                </a:lnTo>
                <a:lnTo>
                  <a:pt x="3651" y="2172"/>
                </a:lnTo>
                <a:lnTo>
                  <a:pt x="3653" y="2172"/>
                </a:lnTo>
                <a:lnTo>
                  <a:pt x="3655" y="2173"/>
                </a:lnTo>
                <a:lnTo>
                  <a:pt x="3656" y="2176"/>
                </a:lnTo>
                <a:lnTo>
                  <a:pt x="3655" y="2180"/>
                </a:lnTo>
                <a:lnTo>
                  <a:pt x="3652" y="2192"/>
                </a:lnTo>
                <a:lnTo>
                  <a:pt x="3650" y="2200"/>
                </a:lnTo>
                <a:lnTo>
                  <a:pt x="3649" y="2203"/>
                </a:lnTo>
                <a:lnTo>
                  <a:pt x="3649" y="2205"/>
                </a:lnTo>
                <a:lnTo>
                  <a:pt x="3650" y="2207"/>
                </a:lnTo>
                <a:lnTo>
                  <a:pt x="3651" y="2209"/>
                </a:lnTo>
                <a:lnTo>
                  <a:pt x="3659" y="2209"/>
                </a:lnTo>
                <a:lnTo>
                  <a:pt x="3672" y="2208"/>
                </a:lnTo>
                <a:lnTo>
                  <a:pt x="3678" y="2208"/>
                </a:lnTo>
                <a:lnTo>
                  <a:pt x="3683" y="2208"/>
                </a:lnTo>
                <a:lnTo>
                  <a:pt x="3685" y="2208"/>
                </a:lnTo>
                <a:lnTo>
                  <a:pt x="3687" y="2209"/>
                </a:lnTo>
                <a:lnTo>
                  <a:pt x="3688" y="2210"/>
                </a:lnTo>
                <a:lnTo>
                  <a:pt x="3690" y="2213"/>
                </a:lnTo>
                <a:lnTo>
                  <a:pt x="3688" y="2216"/>
                </a:lnTo>
                <a:lnTo>
                  <a:pt x="3685" y="2221"/>
                </a:lnTo>
                <a:lnTo>
                  <a:pt x="3682" y="2226"/>
                </a:lnTo>
                <a:lnTo>
                  <a:pt x="3677" y="2232"/>
                </a:lnTo>
                <a:lnTo>
                  <a:pt x="3669" y="2241"/>
                </a:lnTo>
                <a:lnTo>
                  <a:pt x="3664" y="2245"/>
                </a:lnTo>
                <a:lnTo>
                  <a:pt x="3660" y="2258"/>
                </a:lnTo>
                <a:close/>
                <a:moveTo>
                  <a:pt x="7619" y="4639"/>
                </a:moveTo>
                <a:lnTo>
                  <a:pt x="7627" y="4628"/>
                </a:lnTo>
                <a:lnTo>
                  <a:pt x="7643" y="4608"/>
                </a:lnTo>
                <a:lnTo>
                  <a:pt x="7656" y="4589"/>
                </a:lnTo>
                <a:lnTo>
                  <a:pt x="7663" y="4578"/>
                </a:lnTo>
                <a:lnTo>
                  <a:pt x="7672" y="4574"/>
                </a:lnTo>
                <a:lnTo>
                  <a:pt x="7680" y="4569"/>
                </a:lnTo>
                <a:lnTo>
                  <a:pt x="7685" y="4554"/>
                </a:lnTo>
                <a:lnTo>
                  <a:pt x="7690" y="4542"/>
                </a:lnTo>
                <a:lnTo>
                  <a:pt x="7692" y="4541"/>
                </a:lnTo>
                <a:lnTo>
                  <a:pt x="7694" y="4539"/>
                </a:lnTo>
                <a:lnTo>
                  <a:pt x="7695" y="4537"/>
                </a:lnTo>
                <a:lnTo>
                  <a:pt x="7696" y="4536"/>
                </a:lnTo>
                <a:lnTo>
                  <a:pt x="7696" y="4535"/>
                </a:lnTo>
                <a:lnTo>
                  <a:pt x="7695" y="4534"/>
                </a:lnTo>
                <a:lnTo>
                  <a:pt x="7691" y="4531"/>
                </a:lnTo>
                <a:lnTo>
                  <a:pt x="7687" y="4527"/>
                </a:lnTo>
                <a:lnTo>
                  <a:pt x="7684" y="4525"/>
                </a:lnTo>
                <a:lnTo>
                  <a:pt x="7680" y="4523"/>
                </a:lnTo>
                <a:lnTo>
                  <a:pt x="7677" y="4522"/>
                </a:lnTo>
                <a:lnTo>
                  <a:pt x="7674" y="4523"/>
                </a:lnTo>
                <a:lnTo>
                  <a:pt x="7668" y="4526"/>
                </a:lnTo>
                <a:lnTo>
                  <a:pt x="7662" y="4531"/>
                </a:lnTo>
                <a:lnTo>
                  <a:pt x="7658" y="4533"/>
                </a:lnTo>
                <a:lnTo>
                  <a:pt x="7655" y="4534"/>
                </a:lnTo>
                <a:lnTo>
                  <a:pt x="7652" y="4534"/>
                </a:lnTo>
                <a:lnTo>
                  <a:pt x="7650" y="4532"/>
                </a:lnTo>
                <a:lnTo>
                  <a:pt x="7641" y="4520"/>
                </a:lnTo>
                <a:lnTo>
                  <a:pt x="7627" y="4504"/>
                </a:lnTo>
                <a:lnTo>
                  <a:pt x="7622" y="4500"/>
                </a:lnTo>
                <a:lnTo>
                  <a:pt x="7618" y="4499"/>
                </a:lnTo>
                <a:lnTo>
                  <a:pt x="7614" y="4499"/>
                </a:lnTo>
                <a:lnTo>
                  <a:pt x="7611" y="4499"/>
                </a:lnTo>
                <a:lnTo>
                  <a:pt x="7609" y="4500"/>
                </a:lnTo>
                <a:lnTo>
                  <a:pt x="7607" y="4500"/>
                </a:lnTo>
                <a:lnTo>
                  <a:pt x="7606" y="4499"/>
                </a:lnTo>
                <a:lnTo>
                  <a:pt x="7605" y="4497"/>
                </a:lnTo>
                <a:lnTo>
                  <a:pt x="7605" y="4493"/>
                </a:lnTo>
                <a:lnTo>
                  <a:pt x="7606" y="4491"/>
                </a:lnTo>
                <a:lnTo>
                  <a:pt x="7609" y="4488"/>
                </a:lnTo>
                <a:lnTo>
                  <a:pt x="7611" y="4486"/>
                </a:lnTo>
                <a:lnTo>
                  <a:pt x="7612" y="4484"/>
                </a:lnTo>
                <a:lnTo>
                  <a:pt x="7611" y="4481"/>
                </a:lnTo>
                <a:lnTo>
                  <a:pt x="7609" y="4478"/>
                </a:lnTo>
                <a:lnTo>
                  <a:pt x="7603" y="4474"/>
                </a:lnTo>
                <a:lnTo>
                  <a:pt x="7594" y="4468"/>
                </a:lnTo>
                <a:lnTo>
                  <a:pt x="7587" y="4462"/>
                </a:lnTo>
                <a:lnTo>
                  <a:pt x="7580" y="4455"/>
                </a:lnTo>
                <a:lnTo>
                  <a:pt x="7574" y="4447"/>
                </a:lnTo>
                <a:lnTo>
                  <a:pt x="7568" y="4441"/>
                </a:lnTo>
                <a:lnTo>
                  <a:pt x="7563" y="4437"/>
                </a:lnTo>
                <a:lnTo>
                  <a:pt x="7561" y="4435"/>
                </a:lnTo>
                <a:lnTo>
                  <a:pt x="7559" y="4435"/>
                </a:lnTo>
                <a:lnTo>
                  <a:pt x="7558" y="4435"/>
                </a:lnTo>
                <a:lnTo>
                  <a:pt x="7556" y="4437"/>
                </a:lnTo>
                <a:lnTo>
                  <a:pt x="7555" y="4440"/>
                </a:lnTo>
                <a:lnTo>
                  <a:pt x="7554" y="4442"/>
                </a:lnTo>
                <a:lnTo>
                  <a:pt x="7555" y="4444"/>
                </a:lnTo>
                <a:lnTo>
                  <a:pt x="7555" y="4446"/>
                </a:lnTo>
                <a:lnTo>
                  <a:pt x="7558" y="4451"/>
                </a:lnTo>
                <a:lnTo>
                  <a:pt x="7561" y="4459"/>
                </a:lnTo>
                <a:lnTo>
                  <a:pt x="7564" y="4469"/>
                </a:lnTo>
                <a:lnTo>
                  <a:pt x="7567" y="4478"/>
                </a:lnTo>
                <a:lnTo>
                  <a:pt x="7570" y="4484"/>
                </a:lnTo>
                <a:lnTo>
                  <a:pt x="7574" y="4487"/>
                </a:lnTo>
                <a:lnTo>
                  <a:pt x="7578" y="4489"/>
                </a:lnTo>
                <a:lnTo>
                  <a:pt x="7585" y="4492"/>
                </a:lnTo>
                <a:lnTo>
                  <a:pt x="7589" y="4496"/>
                </a:lnTo>
                <a:lnTo>
                  <a:pt x="7592" y="4499"/>
                </a:lnTo>
                <a:lnTo>
                  <a:pt x="7596" y="4503"/>
                </a:lnTo>
                <a:lnTo>
                  <a:pt x="7597" y="4509"/>
                </a:lnTo>
                <a:lnTo>
                  <a:pt x="7599" y="4522"/>
                </a:lnTo>
                <a:lnTo>
                  <a:pt x="7601" y="4533"/>
                </a:lnTo>
                <a:lnTo>
                  <a:pt x="7601" y="4537"/>
                </a:lnTo>
                <a:lnTo>
                  <a:pt x="7600" y="4543"/>
                </a:lnTo>
                <a:lnTo>
                  <a:pt x="7598" y="4547"/>
                </a:lnTo>
                <a:lnTo>
                  <a:pt x="7596" y="4551"/>
                </a:lnTo>
                <a:lnTo>
                  <a:pt x="7589" y="4559"/>
                </a:lnTo>
                <a:lnTo>
                  <a:pt x="7584" y="4568"/>
                </a:lnTo>
                <a:lnTo>
                  <a:pt x="7583" y="4572"/>
                </a:lnTo>
                <a:lnTo>
                  <a:pt x="7582" y="4576"/>
                </a:lnTo>
                <a:lnTo>
                  <a:pt x="7582" y="4579"/>
                </a:lnTo>
                <a:lnTo>
                  <a:pt x="7582" y="4583"/>
                </a:lnTo>
                <a:lnTo>
                  <a:pt x="7585" y="4585"/>
                </a:lnTo>
                <a:lnTo>
                  <a:pt x="7590" y="4587"/>
                </a:lnTo>
                <a:lnTo>
                  <a:pt x="7597" y="4588"/>
                </a:lnTo>
                <a:lnTo>
                  <a:pt x="7604" y="4590"/>
                </a:lnTo>
                <a:lnTo>
                  <a:pt x="7610" y="4591"/>
                </a:lnTo>
                <a:lnTo>
                  <a:pt x="7615" y="4593"/>
                </a:lnTo>
                <a:lnTo>
                  <a:pt x="7617" y="4594"/>
                </a:lnTo>
                <a:lnTo>
                  <a:pt x="7618" y="4595"/>
                </a:lnTo>
                <a:lnTo>
                  <a:pt x="7618" y="4597"/>
                </a:lnTo>
                <a:lnTo>
                  <a:pt x="7617" y="4598"/>
                </a:lnTo>
                <a:lnTo>
                  <a:pt x="7611" y="4605"/>
                </a:lnTo>
                <a:lnTo>
                  <a:pt x="7609" y="4611"/>
                </a:lnTo>
                <a:lnTo>
                  <a:pt x="7608" y="4617"/>
                </a:lnTo>
                <a:lnTo>
                  <a:pt x="7608" y="4624"/>
                </a:lnTo>
                <a:lnTo>
                  <a:pt x="7607" y="4633"/>
                </a:lnTo>
                <a:lnTo>
                  <a:pt x="7606" y="4639"/>
                </a:lnTo>
                <a:lnTo>
                  <a:pt x="7606" y="4642"/>
                </a:lnTo>
                <a:lnTo>
                  <a:pt x="7606" y="4644"/>
                </a:lnTo>
                <a:lnTo>
                  <a:pt x="7607" y="4645"/>
                </a:lnTo>
                <a:lnTo>
                  <a:pt x="7608" y="4645"/>
                </a:lnTo>
                <a:lnTo>
                  <a:pt x="7613" y="4644"/>
                </a:lnTo>
                <a:lnTo>
                  <a:pt x="7617" y="4642"/>
                </a:lnTo>
                <a:lnTo>
                  <a:pt x="7618" y="4640"/>
                </a:lnTo>
                <a:lnTo>
                  <a:pt x="7619" y="4639"/>
                </a:lnTo>
                <a:close/>
                <a:moveTo>
                  <a:pt x="7423" y="4766"/>
                </a:moveTo>
                <a:lnTo>
                  <a:pt x="7428" y="4773"/>
                </a:lnTo>
                <a:lnTo>
                  <a:pt x="7437" y="4785"/>
                </a:lnTo>
                <a:lnTo>
                  <a:pt x="7443" y="4791"/>
                </a:lnTo>
                <a:lnTo>
                  <a:pt x="7447" y="4797"/>
                </a:lnTo>
                <a:lnTo>
                  <a:pt x="7449" y="4800"/>
                </a:lnTo>
                <a:lnTo>
                  <a:pt x="7449" y="4804"/>
                </a:lnTo>
                <a:lnTo>
                  <a:pt x="7447" y="4806"/>
                </a:lnTo>
                <a:lnTo>
                  <a:pt x="7443" y="4809"/>
                </a:lnTo>
                <a:lnTo>
                  <a:pt x="7442" y="4811"/>
                </a:lnTo>
                <a:lnTo>
                  <a:pt x="7440" y="4813"/>
                </a:lnTo>
                <a:lnTo>
                  <a:pt x="7442" y="4815"/>
                </a:lnTo>
                <a:lnTo>
                  <a:pt x="7443" y="4818"/>
                </a:lnTo>
                <a:lnTo>
                  <a:pt x="7444" y="4819"/>
                </a:lnTo>
                <a:lnTo>
                  <a:pt x="7446" y="4819"/>
                </a:lnTo>
                <a:lnTo>
                  <a:pt x="7448" y="4819"/>
                </a:lnTo>
                <a:lnTo>
                  <a:pt x="7451" y="4819"/>
                </a:lnTo>
                <a:lnTo>
                  <a:pt x="7456" y="4817"/>
                </a:lnTo>
                <a:lnTo>
                  <a:pt x="7462" y="4815"/>
                </a:lnTo>
                <a:lnTo>
                  <a:pt x="7474" y="4808"/>
                </a:lnTo>
                <a:lnTo>
                  <a:pt x="7482" y="4800"/>
                </a:lnTo>
                <a:lnTo>
                  <a:pt x="7491" y="4792"/>
                </a:lnTo>
                <a:lnTo>
                  <a:pt x="7504" y="4782"/>
                </a:lnTo>
                <a:lnTo>
                  <a:pt x="7511" y="4775"/>
                </a:lnTo>
                <a:lnTo>
                  <a:pt x="7516" y="4770"/>
                </a:lnTo>
                <a:lnTo>
                  <a:pt x="7519" y="4765"/>
                </a:lnTo>
                <a:lnTo>
                  <a:pt x="7521" y="4762"/>
                </a:lnTo>
                <a:lnTo>
                  <a:pt x="7521" y="4751"/>
                </a:lnTo>
                <a:lnTo>
                  <a:pt x="7523" y="4737"/>
                </a:lnTo>
                <a:lnTo>
                  <a:pt x="7524" y="4729"/>
                </a:lnTo>
                <a:lnTo>
                  <a:pt x="7526" y="4724"/>
                </a:lnTo>
                <a:lnTo>
                  <a:pt x="7527" y="4722"/>
                </a:lnTo>
                <a:lnTo>
                  <a:pt x="7528" y="4721"/>
                </a:lnTo>
                <a:lnTo>
                  <a:pt x="7530" y="4721"/>
                </a:lnTo>
                <a:lnTo>
                  <a:pt x="7532" y="4721"/>
                </a:lnTo>
                <a:lnTo>
                  <a:pt x="7536" y="4722"/>
                </a:lnTo>
                <a:lnTo>
                  <a:pt x="7540" y="4723"/>
                </a:lnTo>
                <a:lnTo>
                  <a:pt x="7545" y="4723"/>
                </a:lnTo>
                <a:lnTo>
                  <a:pt x="7550" y="4722"/>
                </a:lnTo>
                <a:lnTo>
                  <a:pt x="7555" y="4721"/>
                </a:lnTo>
                <a:lnTo>
                  <a:pt x="7559" y="4719"/>
                </a:lnTo>
                <a:lnTo>
                  <a:pt x="7562" y="4718"/>
                </a:lnTo>
                <a:lnTo>
                  <a:pt x="7564" y="4716"/>
                </a:lnTo>
                <a:lnTo>
                  <a:pt x="7569" y="4705"/>
                </a:lnTo>
                <a:lnTo>
                  <a:pt x="7577" y="4688"/>
                </a:lnTo>
                <a:lnTo>
                  <a:pt x="7584" y="4672"/>
                </a:lnTo>
                <a:lnTo>
                  <a:pt x="7588" y="4663"/>
                </a:lnTo>
                <a:lnTo>
                  <a:pt x="7591" y="4657"/>
                </a:lnTo>
                <a:lnTo>
                  <a:pt x="7594" y="4646"/>
                </a:lnTo>
                <a:lnTo>
                  <a:pt x="7598" y="4637"/>
                </a:lnTo>
                <a:lnTo>
                  <a:pt x="7600" y="4631"/>
                </a:lnTo>
                <a:lnTo>
                  <a:pt x="7598" y="4626"/>
                </a:lnTo>
                <a:lnTo>
                  <a:pt x="7593" y="4618"/>
                </a:lnTo>
                <a:lnTo>
                  <a:pt x="7591" y="4614"/>
                </a:lnTo>
                <a:lnTo>
                  <a:pt x="7588" y="4611"/>
                </a:lnTo>
                <a:lnTo>
                  <a:pt x="7585" y="4610"/>
                </a:lnTo>
                <a:lnTo>
                  <a:pt x="7582" y="4611"/>
                </a:lnTo>
                <a:lnTo>
                  <a:pt x="7577" y="4614"/>
                </a:lnTo>
                <a:lnTo>
                  <a:pt x="7572" y="4618"/>
                </a:lnTo>
                <a:lnTo>
                  <a:pt x="7571" y="4620"/>
                </a:lnTo>
                <a:lnTo>
                  <a:pt x="7569" y="4620"/>
                </a:lnTo>
                <a:lnTo>
                  <a:pt x="7567" y="4620"/>
                </a:lnTo>
                <a:lnTo>
                  <a:pt x="7565" y="4618"/>
                </a:lnTo>
                <a:lnTo>
                  <a:pt x="7560" y="4613"/>
                </a:lnTo>
                <a:lnTo>
                  <a:pt x="7554" y="4609"/>
                </a:lnTo>
                <a:lnTo>
                  <a:pt x="7549" y="4609"/>
                </a:lnTo>
                <a:lnTo>
                  <a:pt x="7546" y="4609"/>
                </a:lnTo>
                <a:lnTo>
                  <a:pt x="7544" y="4610"/>
                </a:lnTo>
                <a:lnTo>
                  <a:pt x="7541" y="4613"/>
                </a:lnTo>
                <a:lnTo>
                  <a:pt x="7536" y="4629"/>
                </a:lnTo>
                <a:lnTo>
                  <a:pt x="7532" y="4643"/>
                </a:lnTo>
                <a:lnTo>
                  <a:pt x="7530" y="4652"/>
                </a:lnTo>
                <a:lnTo>
                  <a:pt x="7525" y="4661"/>
                </a:lnTo>
                <a:lnTo>
                  <a:pt x="7522" y="4667"/>
                </a:lnTo>
                <a:lnTo>
                  <a:pt x="7517" y="4674"/>
                </a:lnTo>
                <a:lnTo>
                  <a:pt x="7510" y="4681"/>
                </a:lnTo>
                <a:lnTo>
                  <a:pt x="7499" y="4689"/>
                </a:lnTo>
                <a:lnTo>
                  <a:pt x="7475" y="4708"/>
                </a:lnTo>
                <a:lnTo>
                  <a:pt x="7453" y="4727"/>
                </a:lnTo>
                <a:lnTo>
                  <a:pt x="7436" y="4743"/>
                </a:lnTo>
                <a:lnTo>
                  <a:pt x="7426" y="4751"/>
                </a:lnTo>
                <a:lnTo>
                  <a:pt x="7424" y="4754"/>
                </a:lnTo>
                <a:lnTo>
                  <a:pt x="7423" y="4756"/>
                </a:lnTo>
                <a:lnTo>
                  <a:pt x="7422" y="4759"/>
                </a:lnTo>
                <a:lnTo>
                  <a:pt x="7422" y="4761"/>
                </a:lnTo>
                <a:lnTo>
                  <a:pt x="7423" y="4765"/>
                </a:lnTo>
                <a:lnTo>
                  <a:pt x="7423" y="4766"/>
                </a:lnTo>
                <a:close/>
                <a:moveTo>
                  <a:pt x="6941" y="4620"/>
                </a:moveTo>
                <a:lnTo>
                  <a:pt x="6946" y="4637"/>
                </a:lnTo>
                <a:lnTo>
                  <a:pt x="6955" y="4664"/>
                </a:lnTo>
                <a:lnTo>
                  <a:pt x="6962" y="4678"/>
                </a:lnTo>
                <a:lnTo>
                  <a:pt x="6968" y="4689"/>
                </a:lnTo>
                <a:lnTo>
                  <a:pt x="6971" y="4695"/>
                </a:lnTo>
                <a:lnTo>
                  <a:pt x="6974" y="4699"/>
                </a:lnTo>
                <a:lnTo>
                  <a:pt x="6977" y="4701"/>
                </a:lnTo>
                <a:lnTo>
                  <a:pt x="6981" y="4702"/>
                </a:lnTo>
                <a:lnTo>
                  <a:pt x="6984" y="4703"/>
                </a:lnTo>
                <a:lnTo>
                  <a:pt x="6987" y="4702"/>
                </a:lnTo>
                <a:lnTo>
                  <a:pt x="6990" y="4701"/>
                </a:lnTo>
                <a:lnTo>
                  <a:pt x="6993" y="4699"/>
                </a:lnTo>
                <a:lnTo>
                  <a:pt x="6999" y="4694"/>
                </a:lnTo>
                <a:lnTo>
                  <a:pt x="7007" y="4687"/>
                </a:lnTo>
                <a:lnTo>
                  <a:pt x="7017" y="4676"/>
                </a:lnTo>
                <a:lnTo>
                  <a:pt x="7022" y="4668"/>
                </a:lnTo>
                <a:lnTo>
                  <a:pt x="7026" y="4662"/>
                </a:lnTo>
                <a:lnTo>
                  <a:pt x="7030" y="4651"/>
                </a:lnTo>
                <a:lnTo>
                  <a:pt x="7031" y="4644"/>
                </a:lnTo>
                <a:lnTo>
                  <a:pt x="7033" y="4639"/>
                </a:lnTo>
                <a:lnTo>
                  <a:pt x="7033" y="4634"/>
                </a:lnTo>
                <a:lnTo>
                  <a:pt x="7033" y="4631"/>
                </a:lnTo>
                <a:lnTo>
                  <a:pt x="7026" y="4622"/>
                </a:lnTo>
                <a:lnTo>
                  <a:pt x="7021" y="4616"/>
                </a:lnTo>
                <a:lnTo>
                  <a:pt x="7026" y="4613"/>
                </a:lnTo>
                <a:lnTo>
                  <a:pt x="7033" y="4606"/>
                </a:lnTo>
                <a:lnTo>
                  <a:pt x="7035" y="4602"/>
                </a:lnTo>
                <a:lnTo>
                  <a:pt x="7036" y="4598"/>
                </a:lnTo>
                <a:lnTo>
                  <a:pt x="7035" y="4596"/>
                </a:lnTo>
                <a:lnTo>
                  <a:pt x="7033" y="4595"/>
                </a:lnTo>
                <a:lnTo>
                  <a:pt x="7031" y="4593"/>
                </a:lnTo>
                <a:lnTo>
                  <a:pt x="7027" y="4592"/>
                </a:lnTo>
                <a:lnTo>
                  <a:pt x="7012" y="4588"/>
                </a:lnTo>
                <a:lnTo>
                  <a:pt x="7003" y="4585"/>
                </a:lnTo>
                <a:lnTo>
                  <a:pt x="7000" y="4584"/>
                </a:lnTo>
                <a:lnTo>
                  <a:pt x="6999" y="4584"/>
                </a:lnTo>
                <a:lnTo>
                  <a:pt x="6999" y="4586"/>
                </a:lnTo>
                <a:lnTo>
                  <a:pt x="7000" y="4588"/>
                </a:lnTo>
                <a:lnTo>
                  <a:pt x="7008" y="4598"/>
                </a:lnTo>
                <a:lnTo>
                  <a:pt x="7012" y="4603"/>
                </a:lnTo>
                <a:lnTo>
                  <a:pt x="7012" y="4605"/>
                </a:lnTo>
                <a:lnTo>
                  <a:pt x="7011" y="4609"/>
                </a:lnTo>
                <a:lnTo>
                  <a:pt x="7010" y="4612"/>
                </a:lnTo>
                <a:lnTo>
                  <a:pt x="7008" y="4614"/>
                </a:lnTo>
                <a:lnTo>
                  <a:pt x="7006" y="4616"/>
                </a:lnTo>
                <a:lnTo>
                  <a:pt x="7001" y="4617"/>
                </a:lnTo>
                <a:lnTo>
                  <a:pt x="6993" y="4618"/>
                </a:lnTo>
                <a:lnTo>
                  <a:pt x="6984" y="4618"/>
                </a:lnTo>
                <a:lnTo>
                  <a:pt x="6975" y="4617"/>
                </a:lnTo>
                <a:lnTo>
                  <a:pt x="6969" y="4614"/>
                </a:lnTo>
                <a:lnTo>
                  <a:pt x="6967" y="4613"/>
                </a:lnTo>
                <a:lnTo>
                  <a:pt x="6964" y="4612"/>
                </a:lnTo>
                <a:lnTo>
                  <a:pt x="6961" y="4612"/>
                </a:lnTo>
                <a:lnTo>
                  <a:pt x="6957" y="4613"/>
                </a:lnTo>
                <a:lnTo>
                  <a:pt x="6953" y="4615"/>
                </a:lnTo>
                <a:lnTo>
                  <a:pt x="6951" y="4615"/>
                </a:lnTo>
                <a:lnTo>
                  <a:pt x="6951" y="4612"/>
                </a:lnTo>
                <a:lnTo>
                  <a:pt x="6949" y="4606"/>
                </a:lnTo>
                <a:lnTo>
                  <a:pt x="6948" y="4601"/>
                </a:lnTo>
                <a:lnTo>
                  <a:pt x="6947" y="4598"/>
                </a:lnTo>
                <a:lnTo>
                  <a:pt x="6946" y="4596"/>
                </a:lnTo>
                <a:lnTo>
                  <a:pt x="6945" y="4595"/>
                </a:lnTo>
                <a:lnTo>
                  <a:pt x="6939" y="4595"/>
                </a:lnTo>
                <a:lnTo>
                  <a:pt x="6930" y="4594"/>
                </a:lnTo>
                <a:lnTo>
                  <a:pt x="6926" y="4594"/>
                </a:lnTo>
                <a:lnTo>
                  <a:pt x="6923" y="4595"/>
                </a:lnTo>
                <a:lnTo>
                  <a:pt x="6922" y="4596"/>
                </a:lnTo>
                <a:lnTo>
                  <a:pt x="6921" y="4596"/>
                </a:lnTo>
                <a:lnTo>
                  <a:pt x="6921" y="4597"/>
                </a:lnTo>
                <a:lnTo>
                  <a:pt x="6921" y="4599"/>
                </a:lnTo>
                <a:lnTo>
                  <a:pt x="6923" y="4602"/>
                </a:lnTo>
                <a:lnTo>
                  <a:pt x="6926" y="4606"/>
                </a:lnTo>
                <a:lnTo>
                  <a:pt x="6930" y="4608"/>
                </a:lnTo>
                <a:lnTo>
                  <a:pt x="6934" y="4611"/>
                </a:lnTo>
                <a:lnTo>
                  <a:pt x="6942" y="4614"/>
                </a:lnTo>
                <a:lnTo>
                  <a:pt x="6945" y="4615"/>
                </a:lnTo>
                <a:lnTo>
                  <a:pt x="6941" y="4620"/>
                </a:lnTo>
                <a:close/>
                <a:moveTo>
                  <a:pt x="6286" y="4423"/>
                </a:moveTo>
                <a:lnTo>
                  <a:pt x="6290" y="4417"/>
                </a:lnTo>
                <a:lnTo>
                  <a:pt x="6299" y="4400"/>
                </a:lnTo>
                <a:lnTo>
                  <a:pt x="6304" y="4392"/>
                </a:lnTo>
                <a:lnTo>
                  <a:pt x="6308" y="4382"/>
                </a:lnTo>
                <a:lnTo>
                  <a:pt x="6309" y="4378"/>
                </a:lnTo>
                <a:lnTo>
                  <a:pt x="6309" y="4375"/>
                </a:lnTo>
                <a:lnTo>
                  <a:pt x="6309" y="4372"/>
                </a:lnTo>
                <a:lnTo>
                  <a:pt x="6308" y="4369"/>
                </a:lnTo>
                <a:lnTo>
                  <a:pt x="6304" y="4360"/>
                </a:lnTo>
                <a:lnTo>
                  <a:pt x="6298" y="4353"/>
                </a:lnTo>
                <a:lnTo>
                  <a:pt x="6294" y="4346"/>
                </a:lnTo>
                <a:lnTo>
                  <a:pt x="6290" y="4336"/>
                </a:lnTo>
                <a:lnTo>
                  <a:pt x="6289" y="4326"/>
                </a:lnTo>
                <a:lnTo>
                  <a:pt x="6288" y="4316"/>
                </a:lnTo>
                <a:lnTo>
                  <a:pt x="6287" y="4310"/>
                </a:lnTo>
                <a:lnTo>
                  <a:pt x="6286" y="4304"/>
                </a:lnTo>
                <a:lnTo>
                  <a:pt x="6283" y="4298"/>
                </a:lnTo>
                <a:lnTo>
                  <a:pt x="6279" y="4290"/>
                </a:lnTo>
                <a:lnTo>
                  <a:pt x="6268" y="4273"/>
                </a:lnTo>
                <a:lnTo>
                  <a:pt x="6257" y="4256"/>
                </a:lnTo>
                <a:lnTo>
                  <a:pt x="6246" y="4241"/>
                </a:lnTo>
                <a:lnTo>
                  <a:pt x="6239" y="4229"/>
                </a:lnTo>
                <a:lnTo>
                  <a:pt x="6238" y="4226"/>
                </a:lnTo>
                <a:lnTo>
                  <a:pt x="6238" y="4223"/>
                </a:lnTo>
                <a:lnTo>
                  <a:pt x="6239" y="4219"/>
                </a:lnTo>
                <a:lnTo>
                  <a:pt x="6241" y="4214"/>
                </a:lnTo>
                <a:lnTo>
                  <a:pt x="6245" y="4201"/>
                </a:lnTo>
                <a:lnTo>
                  <a:pt x="6251" y="4189"/>
                </a:lnTo>
                <a:lnTo>
                  <a:pt x="6264" y="4163"/>
                </a:lnTo>
                <a:lnTo>
                  <a:pt x="6272" y="4150"/>
                </a:lnTo>
                <a:lnTo>
                  <a:pt x="6282" y="4137"/>
                </a:lnTo>
                <a:lnTo>
                  <a:pt x="6296" y="4116"/>
                </a:lnTo>
                <a:lnTo>
                  <a:pt x="6305" y="4107"/>
                </a:lnTo>
                <a:lnTo>
                  <a:pt x="6312" y="4098"/>
                </a:lnTo>
                <a:lnTo>
                  <a:pt x="6315" y="4095"/>
                </a:lnTo>
                <a:lnTo>
                  <a:pt x="6317" y="4092"/>
                </a:lnTo>
                <a:lnTo>
                  <a:pt x="6320" y="4091"/>
                </a:lnTo>
                <a:lnTo>
                  <a:pt x="6323" y="4091"/>
                </a:lnTo>
                <a:lnTo>
                  <a:pt x="6328" y="4091"/>
                </a:lnTo>
                <a:lnTo>
                  <a:pt x="6337" y="4090"/>
                </a:lnTo>
                <a:lnTo>
                  <a:pt x="6349" y="4088"/>
                </a:lnTo>
                <a:lnTo>
                  <a:pt x="6362" y="4085"/>
                </a:lnTo>
                <a:lnTo>
                  <a:pt x="6386" y="4079"/>
                </a:lnTo>
                <a:lnTo>
                  <a:pt x="6400" y="4075"/>
                </a:lnTo>
                <a:lnTo>
                  <a:pt x="6408" y="4072"/>
                </a:lnTo>
                <a:lnTo>
                  <a:pt x="6422" y="4066"/>
                </a:lnTo>
                <a:lnTo>
                  <a:pt x="6429" y="4063"/>
                </a:lnTo>
                <a:lnTo>
                  <a:pt x="6435" y="4058"/>
                </a:lnTo>
                <a:lnTo>
                  <a:pt x="6438" y="4056"/>
                </a:lnTo>
                <a:lnTo>
                  <a:pt x="6440" y="4053"/>
                </a:lnTo>
                <a:lnTo>
                  <a:pt x="6441" y="4051"/>
                </a:lnTo>
                <a:lnTo>
                  <a:pt x="6441" y="4048"/>
                </a:lnTo>
                <a:lnTo>
                  <a:pt x="6444" y="4036"/>
                </a:lnTo>
                <a:lnTo>
                  <a:pt x="6449" y="4020"/>
                </a:lnTo>
                <a:lnTo>
                  <a:pt x="6452" y="4013"/>
                </a:lnTo>
                <a:lnTo>
                  <a:pt x="6456" y="4006"/>
                </a:lnTo>
                <a:lnTo>
                  <a:pt x="6458" y="4002"/>
                </a:lnTo>
                <a:lnTo>
                  <a:pt x="6460" y="4001"/>
                </a:lnTo>
                <a:lnTo>
                  <a:pt x="6464" y="4002"/>
                </a:lnTo>
                <a:lnTo>
                  <a:pt x="6468" y="4005"/>
                </a:lnTo>
                <a:lnTo>
                  <a:pt x="6470" y="4006"/>
                </a:lnTo>
                <a:lnTo>
                  <a:pt x="6473" y="4007"/>
                </a:lnTo>
                <a:lnTo>
                  <a:pt x="6475" y="4006"/>
                </a:lnTo>
                <a:lnTo>
                  <a:pt x="6479" y="4005"/>
                </a:lnTo>
                <a:lnTo>
                  <a:pt x="6489" y="3990"/>
                </a:lnTo>
                <a:lnTo>
                  <a:pt x="6504" y="3962"/>
                </a:lnTo>
                <a:lnTo>
                  <a:pt x="6511" y="3949"/>
                </a:lnTo>
                <a:lnTo>
                  <a:pt x="6520" y="3937"/>
                </a:lnTo>
                <a:lnTo>
                  <a:pt x="6523" y="3933"/>
                </a:lnTo>
                <a:lnTo>
                  <a:pt x="6527" y="3931"/>
                </a:lnTo>
                <a:lnTo>
                  <a:pt x="6529" y="3930"/>
                </a:lnTo>
                <a:lnTo>
                  <a:pt x="6532" y="3930"/>
                </a:lnTo>
                <a:lnTo>
                  <a:pt x="6546" y="3939"/>
                </a:lnTo>
                <a:lnTo>
                  <a:pt x="6564" y="3950"/>
                </a:lnTo>
                <a:lnTo>
                  <a:pt x="6579" y="3960"/>
                </a:lnTo>
                <a:lnTo>
                  <a:pt x="6586" y="3963"/>
                </a:lnTo>
                <a:lnTo>
                  <a:pt x="6590" y="3960"/>
                </a:lnTo>
                <a:lnTo>
                  <a:pt x="6600" y="3952"/>
                </a:lnTo>
                <a:lnTo>
                  <a:pt x="6606" y="3947"/>
                </a:lnTo>
                <a:lnTo>
                  <a:pt x="6612" y="3940"/>
                </a:lnTo>
                <a:lnTo>
                  <a:pt x="6616" y="3935"/>
                </a:lnTo>
                <a:lnTo>
                  <a:pt x="6618" y="3930"/>
                </a:lnTo>
                <a:lnTo>
                  <a:pt x="6622" y="3921"/>
                </a:lnTo>
                <a:lnTo>
                  <a:pt x="6625" y="3912"/>
                </a:lnTo>
                <a:lnTo>
                  <a:pt x="6627" y="3908"/>
                </a:lnTo>
                <a:lnTo>
                  <a:pt x="6627" y="3904"/>
                </a:lnTo>
                <a:lnTo>
                  <a:pt x="6627" y="3899"/>
                </a:lnTo>
                <a:lnTo>
                  <a:pt x="6625" y="3895"/>
                </a:lnTo>
                <a:lnTo>
                  <a:pt x="6624" y="3893"/>
                </a:lnTo>
                <a:lnTo>
                  <a:pt x="6624" y="3891"/>
                </a:lnTo>
                <a:lnTo>
                  <a:pt x="6625" y="3888"/>
                </a:lnTo>
                <a:lnTo>
                  <a:pt x="6627" y="3886"/>
                </a:lnTo>
                <a:lnTo>
                  <a:pt x="6633" y="3881"/>
                </a:lnTo>
                <a:lnTo>
                  <a:pt x="6639" y="3876"/>
                </a:lnTo>
                <a:lnTo>
                  <a:pt x="6646" y="3872"/>
                </a:lnTo>
                <a:lnTo>
                  <a:pt x="6654" y="3870"/>
                </a:lnTo>
                <a:lnTo>
                  <a:pt x="6657" y="3869"/>
                </a:lnTo>
                <a:lnTo>
                  <a:pt x="6660" y="3869"/>
                </a:lnTo>
                <a:lnTo>
                  <a:pt x="6662" y="3869"/>
                </a:lnTo>
                <a:lnTo>
                  <a:pt x="6663" y="3870"/>
                </a:lnTo>
                <a:lnTo>
                  <a:pt x="6666" y="3873"/>
                </a:lnTo>
                <a:lnTo>
                  <a:pt x="6671" y="3874"/>
                </a:lnTo>
                <a:lnTo>
                  <a:pt x="6678" y="3876"/>
                </a:lnTo>
                <a:lnTo>
                  <a:pt x="6684" y="3877"/>
                </a:lnTo>
                <a:lnTo>
                  <a:pt x="6698" y="3878"/>
                </a:lnTo>
                <a:lnTo>
                  <a:pt x="6706" y="3882"/>
                </a:lnTo>
                <a:lnTo>
                  <a:pt x="6711" y="3883"/>
                </a:lnTo>
                <a:lnTo>
                  <a:pt x="6718" y="3883"/>
                </a:lnTo>
                <a:lnTo>
                  <a:pt x="6725" y="3883"/>
                </a:lnTo>
                <a:lnTo>
                  <a:pt x="6732" y="3882"/>
                </a:lnTo>
                <a:lnTo>
                  <a:pt x="6741" y="3882"/>
                </a:lnTo>
                <a:lnTo>
                  <a:pt x="6748" y="3882"/>
                </a:lnTo>
                <a:lnTo>
                  <a:pt x="6750" y="3883"/>
                </a:lnTo>
                <a:lnTo>
                  <a:pt x="6753" y="3884"/>
                </a:lnTo>
                <a:lnTo>
                  <a:pt x="6754" y="3886"/>
                </a:lnTo>
                <a:lnTo>
                  <a:pt x="6755" y="3888"/>
                </a:lnTo>
                <a:lnTo>
                  <a:pt x="6757" y="3893"/>
                </a:lnTo>
                <a:lnTo>
                  <a:pt x="6757" y="3900"/>
                </a:lnTo>
                <a:lnTo>
                  <a:pt x="6758" y="3908"/>
                </a:lnTo>
                <a:lnTo>
                  <a:pt x="6758" y="3915"/>
                </a:lnTo>
                <a:lnTo>
                  <a:pt x="6757" y="3922"/>
                </a:lnTo>
                <a:lnTo>
                  <a:pt x="6756" y="3929"/>
                </a:lnTo>
                <a:lnTo>
                  <a:pt x="6754" y="3935"/>
                </a:lnTo>
                <a:lnTo>
                  <a:pt x="6752" y="3938"/>
                </a:lnTo>
                <a:lnTo>
                  <a:pt x="6751" y="3941"/>
                </a:lnTo>
                <a:lnTo>
                  <a:pt x="6750" y="3946"/>
                </a:lnTo>
                <a:lnTo>
                  <a:pt x="6750" y="3951"/>
                </a:lnTo>
                <a:lnTo>
                  <a:pt x="6750" y="3956"/>
                </a:lnTo>
                <a:lnTo>
                  <a:pt x="6751" y="3961"/>
                </a:lnTo>
                <a:lnTo>
                  <a:pt x="6753" y="3966"/>
                </a:lnTo>
                <a:lnTo>
                  <a:pt x="6755" y="3971"/>
                </a:lnTo>
                <a:lnTo>
                  <a:pt x="6757" y="3974"/>
                </a:lnTo>
                <a:lnTo>
                  <a:pt x="6769" y="3983"/>
                </a:lnTo>
                <a:lnTo>
                  <a:pt x="6787" y="3994"/>
                </a:lnTo>
                <a:lnTo>
                  <a:pt x="6796" y="3998"/>
                </a:lnTo>
                <a:lnTo>
                  <a:pt x="6804" y="4002"/>
                </a:lnTo>
                <a:lnTo>
                  <a:pt x="6811" y="4004"/>
                </a:lnTo>
                <a:lnTo>
                  <a:pt x="6815" y="4004"/>
                </a:lnTo>
                <a:lnTo>
                  <a:pt x="6820" y="4002"/>
                </a:lnTo>
                <a:lnTo>
                  <a:pt x="6824" y="4002"/>
                </a:lnTo>
                <a:lnTo>
                  <a:pt x="6826" y="4003"/>
                </a:lnTo>
                <a:lnTo>
                  <a:pt x="6828" y="4004"/>
                </a:lnTo>
                <a:lnTo>
                  <a:pt x="6829" y="4006"/>
                </a:lnTo>
                <a:lnTo>
                  <a:pt x="6830" y="4008"/>
                </a:lnTo>
                <a:lnTo>
                  <a:pt x="6832" y="4014"/>
                </a:lnTo>
                <a:lnTo>
                  <a:pt x="6837" y="4019"/>
                </a:lnTo>
                <a:lnTo>
                  <a:pt x="6842" y="4023"/>
                </a:lnTo>
                <a:lnTo>
                  <a:pt x="6844" y="4024"/>
                </a:lnTo>
                <a:lnTo>
                  <a:pt x="6848" y="4021"/>
                </a:lnTo>
                <a:lnTo>
                  <a:pt x="6859" y="4014"/>
                </a:lnTo>
                <a:lnTo>
                  <a:pt x="6864" y="4008"/>
                </a:lnTo>
                <a:lnTo>
                  <a:pt x="6868" y="4003"/>
                </a:lnTo>
                <a:lnTo>
                  <a:pt x="6871" y="4000"/>
                </a:lnTo>
                <a:lnTo>
                  <a:pt x="6871" y="3997"/>
                </a:lnTo>
                <a:lnTo>
                  <a:pt x="6872" y="3995"/>
                </a:lnTo>
                <a:lnTo>
                  <a:pt x="6871" y="3992"/>
                </a:lnTo>
                <a:lnTo>
                  <a:pt x="6869" y="3983"/>
                </a:lnTo>
                <a:lnTo>
                  <a:pt x="6868" y="3972"/>
                </a:lnTo>
                <a:lnTo>
                  <a:pt x="6869" y="3956"/>
                </a:lnTo>
                <a:lnTo>
                  <a:pt x="6871" y="3940"/>
                </a:lnTo>
                <a:lnTo>
                  <a:pt x="6873" y="3912"/>
                </a:lnTo>
                <a:lnTo>
                  <a:pt x="6874" y="3900"/>
                </a:lnTo>
                <a:lnTo>
                  <a:pt x="6876" y="3892"/>
                </a:lnTo>
                <a:lnTo>
                  <a:pt x="6880" y="3876"/>
                </a:lnTo>
                <a:lnTo>
                  <a:pt x="6882" y="3868"/>
                </a:lnTo>
                <a:lnTo>
                  <a:pt x="6886" y="3863"/>
                </a:lnTo>
                <a:lnTo>
                  <a:pt x="6887" y="3862"/>
                </a:lnTo>
                <a:lnTo>
                  <a:pt x="6889" y="3862"/>
                </a:lnTo>
                <a:lnTo>
                  <a:pt x="6891" y="3862"/>
                </a:lnTo>
                <a:lnTo>
                  <a:pt x="6894" y="3865"/>
                </a:lnTo>
                <a:lnTo>
                  <a:pt x="6897" y="3870"/>
                </a:lnTo>
                <a:lnTo>
                  <a:pt x="6902" y="3874"/>
                </a:lnTo>
                <a:lnTo>
                  <a:pt x="6906" y="3878"/>
                </a:lnTo>
                <a:lnTo>
                  <a:pt x="6910" y="3882"/>
                </a:lnTo>
                <a:lnTo>
                  <a:pt x="6915" y="3885"/>
                </a:lnTo>
                <a:lnTo>
                  <a:pt x="6918" y="3888"/>
                </a:lnTo>
                <a:lnTo>
                  <a:pt x="6920" y="3892"/>
                </a:lnTo>
                <a:lnTo>
                  <a:pt x="6922" y="3896"/>
                </a:lnTo>
                <a:lnTo>
                  <a:pt x="6925" y="3908"/>
                </a:lnTo>
                <a:lnTo>
                  <a:pt x="6928" y="3921"/>
                </a:lnTo>
                <a:lnTo>
                  <a:pt x="6932" y="3935"/>
                </a:lnTo>
                <a:lnTo>
                  <a:pt x="6938" y="3947"/>
                </a:lnTo>
                <a:lnTo>
                  <a:pt x="6942" y="3952"/>
                </a:lnTo>
                <a:lnTo>
                  <a:pt x="6947" y="3957"/>
                </a:lnTo>
                <a:lnTo>
                  <a:pt x="6954" y="3962"/>
                </a:lnTo>
                <a:lnTo>
                  <a:pt x="6963" y="3968"/>
                </a:lnTo>
                <a:lnTo>
                  <a:pt x="6970" y="3974"/>
                </a:lnTo>
                <a:lnTo>
                  <a:pt x="6976" y="3980"/>
                </a:lnTo>
                <a:lnTo>
                  <a:pt x="6978" y="3983"/>
                </a:lnTo>
                <a:lnTo>
                  <a:pt x="6979" y="3986"/>
                </a:lnTo>
                <a:lnTo>
                  <a:pt x="6981" y="3990"/>
                </a:lnTo>
                <a:lnTo>
                  <a:pt x="6981" y="3993"/>
                </a:lnTo>
                <a:lnTo>
                  <a:pt x="6978" y="4007"/>
                </a:lnTo>
                <a:lnTo>
                  <a:pt x="6977" y="4023"/>
                </a:lnTo>
                <a:lnTo>
                  <a:pt x="6977" y="4030"/>
                </a:lnTo>
                <a:lnTo>
                  <a:pt x="6978" y="4039"/>
                </a:lnTo>
                <a:lnTo>
                  <a:pt x="6981" y="4045"/>
                </a:lnTo>
                <a:lnTo>
                  <a:pt x="6983" y="4052"/>
                </a:lnTo>
                <a:lnTo>
                  <a:pt x="6985" y="4058"/>
                </a:lnTo>
                <a:lnTo>
                  <a:pt x="6988" y="4062"/>
                </a:lnTo>
                <a:lnTo>
                  <a:pt x="6991" y="4064"/>
                </a:lnTo>
                <a:lnTo>
                  <a:pt x="6993" y="4067"/>
                </a:lnTo>
                <a:lnTo>
                  <a:pt x="6997" y="4070"/>
                </a:lnTo>
                <a:lnTo>
                  <a:pt x="7000" y="4073"/>
                </a:lnTo>
                <a:lnTo>
                  <a:pt x="7014" y="4086"/>
                </a:lnTo>
                <a:lnTo>
                  <a:pt x="7039" y="4107"/>
                </a:lnTo>
                <a:lnTo>
                  <a:pt x="7064" y="4129"/>
                </a:lnTo>
                <a:lnTo>
                  <a:pt x="7078" y="4142"/>
                </a:lnTo>
                <a:lnTo>
                  <a:pt x="7080" y="4150"/>
                </a:lnTo>
                <a:lnTo>
                  <a:pt x="7082" y="4161"/>
                </a:lnTo>
                <a:lnTo>
                  <a:pt x="7084" y="4168"/>
                </a:lnTo>
                <a:lnTo>
                  <a:pt x="7086" y="4175"/>
                </a:lnTo>
                <a:lnTo>
                  <a:pt x="7089" y="4183"/>
                </a:lnTo>
                <a:lnTo>
                  <a:pt x="7093" y="4193"/>
                </a:lnTo>
                <a:lnTo>
                  <a:pt x="7098" y="4201"/>
                </a:lnTo>
                <a:lnTo>
                  <a:pt x="7103" y="4207"/>
                </a:lnTo>
                <a:lnTo>
                  <a:pt x="7109" y="4213"/>
                </a:lnTo>
                <a:lnTo>
                  <a:pt x="7115" y="4217"/>
                </a:lnTo>
                <a:lnTo>
                  <a:pt x="7119" y="4222"/>
                </a:lnTo>
                <a:lnTo>
                  <a:pt x="7123" y="4226"/>
                </a:lnTo>
                <a:lnTo>
                  <a:pt x="7126" y="4233"/>
                </a:lnTo>
                <a:lnTo>
                  <a:pt x="7128" y="4240"/>
                </a:lnTo>
                <a:lnTo>
                  <a:pt x="7130" y="4260"/>
                </a:lnTo>
                <a:lnTo>
                  <a:pt x="7132" y="4284"/>
                </a:lnTo>
                <a:lnTo>
                  <a:pt x="7133" y="4307"/>
                </a:lnTo>
                <a:lnTo>
                  <a:pt x="7132" y="4323"/>
                </a:lnTo>
                <a:lnTo>
                  <a:pt x="7129" y="4335"/>
                </a:lnTo>
                <a:lnTo>
                  <a:pt x="7125" y="4351"/>
                </a:lnTo>
                <a:lnTo>
                  <a:pt x="7122" y="4360"/>
                </a:lnTo>
                <a:lnTo>
                  <a:pt x="7118" y="4369"/>
                </a:lnTo>
                <a:lnTo>
                  <a:pt x="7114" y="4378"/>
                </a:lnTo>
                <a:lnTo>
                  <a:pt x="7107" y="4388"/>
                </a:lnTo>
                <a:lnTo>
                  <a:pt x="7095" y="4408"/>
                </a:lnTo>
                <a:lnTo>
                  <a:pt x="7083" y="4430"/>
                </a:lnTo>
                <a:lnTo>
                  <a:pt x="7078" y="4440"/>
                </a:lnTo>
                <a:lnTo>
                  <a:pt x="7075" y="4449"/>
                </a:lnTo>
                <a:lnTo>
                  <a:pt x="7072" y="4458"/>
                </a:lnTo>
                <a:lnTo>
                  <a:pt x="7071" y="4463"/>
                </a:lnTo>
                <a:lnTo>
                  <a:pt x="7070" y="4477"/>
                </a:lnTo>
                <a:lnTo>
                  <a:pt x="7067" y="4497"/>
                </a:lnTo>
                <a:lnTo>
                  <a:pt x="7066" y="4507"/>
                </a:lnTo>
                <a:lnTo>
                  <a:pt x="7064" y="4515"/>
                </a:lnTo>
                <a:lnTo>
                  <a:pt x="7062" y="4522"/>
                </a:lnTo>
                <a:lnTo>
                  <a:pt x="7059" y="4525"/>
                </a:lnTo>
                <a:lnTo>
                  <a:pt x="7049" y="4525"/>
                </a:lnTo>
                <a:lnTo>
                  <a:pt x="7032" y="4525"/>
                </a:lnTo>
                <a:lnTo>
                  <a:pt x="7023" y="4525"/>
                </a:lnTo>
                <a:lnTo>
                  <a:pt x="7016" y="4527"/>
                </a:lnTo>
                <a:lnTo>
                  <a:pt x="7012" y="4528"/>
                </a:lnTo>
                <a:lnTo>
                  <a:pt x="7009" y="4530"/>
                </a:lnTo>
                <a:lnTo>
                  <a:pt x="7006" y="4533"/>
                </a:lnTo>
                <a:lnTo>
                  <a:pt x="7004" y="4536"/>
                </a:lnTo>
                <a:lnTo>
                  <a:pt x="6999" y="4543"/>
                </a:lnTo>
                <a:lnTo>
                  <a:pt x="6995" y="4548"/>
                </a:lnTo>
                <a:lnTo>
                  <a:pt x="6991" y="4552"/>
                </a:lnTo>
                <a:lnTo>
                  <a:pt x="6986" y="4556"/>
                </a:lnTo>
                <a:lnTo>
                  <a:pt x="6979" y="4562"/>
                </a:lnTo>
                <a:lnTo>
                  <a:pt x="6976" y="4563"/>
                </a:lnTo>
                <a:lnTo>
                  <a:pt x="6974" y="4558"/>
                </a:lnTo>
                <a:lnTo>
                  <a:pt x="6970" y="4548"/>
                </a:lnTo>
                <a:lnTo>
                  <a:pt x="6966" y="4544"/>
                </a:lnTo>
                <a:lnTo>
                  <a:pt x="6961" y="4541"/>
                </a:lnTo>
                <a:lnTo>
                  <a:pt x="6959" y="4541"/>
                </a:lnTo>
                <a:lnTo>
                  <a:pt x="6955" y="4541"/>
                </a:lnTo>
                <a:lnTo>
                  <a:pt x="6951" y="4542"/>
                </a:lnTo>
                <a:lnTo>
                  <a:pt x="6947" y="4544"/>
                </a:lnTo>
                <a:lnTo>
                  <a:pt x="6941" y="4548"/>
                </a:lnTo>
                <a:lnTo>
                  <a:pt x="6937" y="4552"/>
                </a:lnTo>
                <a:lnTo>
                  <a:pt x="6934" y="4555"/>
                </a:lnTo>
                <a:lnTo>
                  <a:pt x="6932" y="4558"/>
                </a:lnTo>
                <a:lnTo>
                  <a:pt x="6930" y="4561"/>
                </a:lnTo>
                <a:lnTo>
                  <a:pt x="6927" y="4561"/>
                </a:lnTo>
                <a:lnTo>
                  <a:pt x="6922" y="4561"/>
                </a:lnTo>
                <a:lnTo>
                  <a:pt x="6915" y="4558"/>
                </a:lnTo>
                <a:lnTo>
                  <a:pt x="6899" y="4554"/>
                </a:lnTo>
                <a:lnTo>
                  <a:pt x="6886" y="4552"/>
                </a:lnTo>
                <a:lnTo>
                  <a:pt x="6876" y="4549"/>
                </a:lnTo>
                <a:lnTo>
                  <a:pt x="6866" y="4546"/>
                </a:lnTo>
                <a:lnTo>
                  <a:pt x="6864" y="4545"/>
                </a:lnTo>
                <a:lnTo>
                  <a:pt x="6862" y="4542"/>
                </a:lnTo>
                <a:lnTo>
                  <a:pt x="6859" y="4539"/>
                </a:lnTo>
                <a:lnTo>
                  <a:pt x="6857" y="4534"/>
                </a:lnTo>
                <a:lnTo>
                  <a:pt x="6853" y="4524"/>
                </a:lnTo>
                <a:lnTo>
                  <a:pt x="6848" y="4511"/>
                </a:lnTo>
                <a:lnTo>
                  <a:pt x="6844" y="4499"/>
                </a:lnTo>
                <a:lnTo>
                  <a:pt x="6839" y="4487"/>
                </a:lnTo>
                <a:lnTo>
                  <a:pt x="6837" y="4481"/>
                </a:lnTo>
                <a:lnTo>
                  <a:pt x="6834" y="4477"/>
                </a:lnTo>
                <a:lnTo>
                  <a:pt x="6831" y="4471"/>
                </a:lnTo>
                <a:lnTo>
                  <a:pt x="6828" y="4468"/>
                </a:lnTo>
                <a:lnTo>
                  <a:pt x="6814" y="4456"/>
                </a:lnTo>
                <a:lnTo>
                  <a:pt x="6803" y="4443"/>
                </a:lnTo>
                <a:lnTo>
                  <a:pt x="6796" y="4433"/>
                </a:lnTo>
                <a:lnTo>
                  <a:pt x="6794" y="4430"/>
                </a:lnTo>
                <a:lnTo>
                  <a:pt x="6795" y="4423"/>
                </a:lnTo>
                <a:lnTo>
                  <a:pt x="6797" y="4410"/>
                </a:lnTo>
                <a:lnTo>
                  <a:pt x="6798" y="4403"/>
                </a:lnTo>
                <a:lnTo>
                  <a:pt x="6798" y="4398"/>
                </a:lnTo>
                <a:lnTo>
                  <a:pt x="6798" y="4396"/>
                </a:lnTo>
                <a:lnTo>
                  <a:pt x="6797" y="4395"/>
                </a:lnTo>
                <a:lnTo>
                  <a:pt x="6796" y="4395"/>
                </a:lnTo>
                <a:lnTo>
                  <a:pt x="6795" y="4396"/>
                </a:lnTo>
                <a:lnTo>
                  <a:pt x="6787" y="4413"/>
                </a:lnTo>
                <a:lnTo>
                  <a:pt x="6775" y="4440"/>
                </a:lnTo>
                <a:lnTo>
                  <a:pt x="6772" y="4447"/>
                </a:lnTo>
                <a:lnTo>
                  <a:pt x="6769" y="4453"/>
                </a:lnTo>
                <a:lnTo>
                  <a:pt x="6766" y="4458"/>
                </a:lnTo>
                <a:lnTo>
                  <a:pt x="6762" y="4462"/>
                </a:lnTo>
                <a:lnTo>
                  <a:pt x="6758" y="4464"/>
                </a:lnTo>
                <a:lnTo>
                  <a:pt x="6754" y="4465"/>
                </a:lnTo>
                <a:lnTo>
                  <a:pt x="6750" y="4463"/>
                </a:lnTo>
                <a:lnTo>
                  <a:pt x="6747" y="4459"/>
                </a:lnTo>
                <a:lnTo>
                  <a:pt x="6729" y="4434"/>
                </a:lnTo>
                <a:lnTo>
                  <a:pt x="6710" y="4404"/>
                </a:lnTo>
                <a:lnTo>
                  <a:pt x="6701" y="4392"/>
                </a:lnTo>
                <a:lnTo>
                  <a:pt x="6692" y="4381"/>
                </a:lnTo>
                <a:lnTo>
                  <a:pt x="6689" y="4377"/>
                </a:lnTo>
                <a:lnTo>
                  <a:pt x="6686" y="4374"/>
                </a:lnTo>
                <a:lnTo>
                  <a:pt x="6683" y="4372"/>
                </a:lnTo>
                <a:lnTo>
                  <a:pt x="6681" y="4371"/>
                </a:lnTo>
                <a:lnTo>
                  <a:pt x="6662" y="4372"/>
                </a:lnTo>
                <a:lnTo>
                  <a:pt x="6628" y="4375"/>
                </a:lnTo>
                <a:lnTo>
                  <a:pt x="6610" y="4376"/>
                </a:lnTo>
                <a:lnTo>
                  <a:pt x="6592" y="4379"/>
                </a:lnTo>
                <a:lnTo>
                  <a:pt x="6577" y="4381"/>
                </a:lnTo>
                <a:lnTo>
                  <a:pt x="6565" y="4385"/>
                </a:lnTo>
                <a:lnTo>
                  <a:pt x="6547" y="4391"/>
                </a:lnTo>
                <a:lnTo>
                  <a:pt x="6532" y="4395"/>
                </a:lnTo>
                <a:lnTo>
                  <a:pt x="6526" y="4397"/>
                </a:lnTo>
                <a:lnTo>
                  <a:pt x="6521" y="4398"/>
                </a:lnTo>
                <a:lnTo>
                  <a:pt x="6515" y="4398"/>
                </a:lnTo>
                <a:lnTo>
                  <a:pt x="6511" y="4398"/>
                </a:lnTo>
                <a:lnTo>
                  <a:pt x="6508" y="4397"/>
                </a:lnTo>
                <a:lnTo>
                  <a:pt x="6504" y="4399"/>
                </a:lnTo>
                <a:lnTo>
                  <a:pt x="6501" y="4402"/>
                </a:lnTo>
                <a:lnTo>
                  <a:pt x="6496" y="4405"/>
                </a:lnTo>
                <a:lnTo>
                  <a:pt x="6491" y="4415"/>
                </a:lnTo>
                <a:lnTo>
                  <a:pt x="6487" y="4423"/>
                </a:lnTo>
                <a:lnTo>
                  <a:pt x="6486" y="4424"/>
                </a:lnTo>
                <a:lnTo>
                  <a:pt x="6482" y="4426"/>
                </a:lnTo>
                <a:lnTo>
                  <a:pt x="6478" y="4426"/>
                </a:lnTo>
                <a:lnTo>
                  <a:pt x="6471" y="4427"/>
                </a:lnTo>
                <a:lnTo>
                  <a:pt x="6457" y="4427"/>
                </a:lnTo>
                <a:lnTo>
                  <a:pt x="6440" y="4429"/>
                </a:lnTo>
                <a:lnTo>
                  <a:pt x="6423" y="4427"/>
                </a:lnTo>
                <a:lnTo>
                  <a:pt x="6407" y="4429"/>
                </a:lnTo>
                <a:lnTo>
                  <a:pt x="6396" y="4429"/>
                </a:lnTo>
                <a:lnTo>
                  <a:pt x="6390" y="4431"/>
                </a:lnTo>
                <a:lnTo>
                  <a:pt x="6383" y="4438"/>
                </a:lnTo>
                <a:lnTo>
                  <a:pt x="6375" y="4447"/>
                </a:lnTo>
                <a:lnTo>
                  <a:pt x="6370" y="4453"/>
                </a:lnTo>
                <a:lnTo>
                  <a:pt x="6363" y="4457"/>
                </a:lnTo>
                <a:lnTo>
                  <a:pt x="6360" y="4458"/>
                </a:lnTo>
                <a:lnTo>
                  <a:pt x="6357" y="4459"/>
                </a:lnTo>
                <a:lnTo>
                  <a:pt x="6354" y="4459"/>
                </a:lnTo>
                <a:lnTo>
                  <a:pt x="6350" y="4459"/>
                </a:lnTo>
                <a:lnTo>
                  <a:pt x="6334" y="4458"/>
                </a:lnTo>
                <a:lnTo>
                  <a:pt x="6320" y="4458"/>
                </a:lnTo>
                <a:lnTo>
                  <a:pt x="6314" y="4457"/>
                </a:lnTo>
                <a:lnTo>
                  <a:pt x="6308" y="4456"/>
                </a:lnTo>
                <a:lnTo>
                  <a:pt x="6303" y="4454"/>
                </a:lnTo>
                <a:lnTo>
                  <a:pt x="6298" y="4449"/>
                </a:lnTo>
                <a:lnTo>
                  <a:pt x="6291" y="4442"/>
                </a:lnTo>
                <a:lnTo>
                  <a:pt x="6287" y="4434"/>
                </a:lnTo>
                <a:lnTo>
                  <a:pt x="6286" y="4431"/>
                </a:lnTo>
                <a:lnTo>
                  <a:pt x="6285" y="4427"/>
                </a:lnTo>
                <a:lnTo>
                  <a:pt x="6285" y="4425"/>
                </a:lnTo>
                <a:lnTo>
                  <a:pt x="6286" y="4423"/>
                </a:lnTo>
                <a:close/>
                <a:moveTo>
                  <a:pt x="4732" y="4085"/>
                </a:moveTo>
                <a:lnTo>
                  <a:pt x="4733" y="4079"/>
                </a:lnTo>
                <a:lnTo>
                  <a:pt x="4733" y="4070"/>
                </a:lnTo>
                <a:lnTo>
                  <a:pt x="4731" y="4060"/>
                </a:lnTo>
                <a:lnTo>
                  <a:pt x="4731" y="4050"/>
                </a:lnTo>
                <a:lnTo>
                  <a:pt x="4730" y="4040"/>
                </a:lnTo>
                <a:lnTo>
                  <a:pt x="4732" y="4029"/>
                </a:lnTo>
                <a:lnTo>
                  <a:pt x="4734" y="4025"/>
                </a:lnTo>
                <a:lnTo>
                  <a:pt x="4736" y="4020"/>
                </a:lnTo>
                <a:lnTo>
                  <a:pt x="4739" y="4016"/>
                </a:lnTo>
                <a:lnTo>
                  <a:pt x="4744" y="4012"/>
                </a:lnTo>
                <a:lnTo>
                  <a:pt x="4754" y="4002"/>
                </a:lnTo>
                <a:lnTo>
                  <a:pt x="4768" y="3990"/>
                </a:lnTo>
                <a:lnTo>
                  <a:pt x="4781" y="3974"/>
                </a:lnTo>
                <a:lnTo>
                  <a:pt x="4796" y="3957"/>
                </a:lnTo>
                <a:lnTo>
                  <a:pt x="4822" y="3928"/>
                </a:lnTo>
                <a:lnTo>
                  <a:pt x="4835" y="3911"/>
                </a:lnTo>
                <a:lnTo>
                  <a:pt x="4840" y="3903"/>
                </a:lnTo>
                <a:lnTo>
                  <a:pt x="4847" y="3894"/>
                </a:lnTo>
                <a:lnTo>
                  <a:pt x="4850" y="3891"/>
                </a:lnTo>
                <a:lnTo>
                  <a:pt x="4855" y="3890"/>
                </a:lnTo>
                <a:lnTo>
                  <a:pt x="4856" y="3890"/>
                </a:lnTo>
                <a:lnTo>
                  <a:pt x="4858" y="3891"/>
                </a:lnTo>
                <a:lnTo>
                  <a:pt x="4859" y="3892"/>
                </a:lnTo>
                <a:lnTo>
                  <a:pt x="4860" y="3894"/>
                </a:lnTo>
                <a:lnTo>
                  <a:pt x="4862" y="3899"/>
                </a:lnTo>
                <a:lnTo>
                  <a:pt x="4864" y="3907"/>
                </a:lnTo>
                <a:lnTo>
                  <a:pt x="4865" y="3915"/>
                </a:lnTo>
                <a:lnTo>
                  <a:pt x="4866" y="3925"/>
                </a:lnTo>
                <a:lnTo>
                  <a:pt x="4866" y="3946"/>
                </a:lnTo>
                <a:lnTo>
                  <a:pt x="4866" y="3965"/>
                </a:lnTo>
                <a:lnTo>
                  <a:pt x="4866" y="3976"/>
                </a:lnTo>
                <a:lnTo>
                  <a:pt x="4864" y="3987"/>
                </a:lnTo>
                <a:lnTo>
                  <a:pt x="4861" y="3998"/>
                </a:lnTo>
                <a:lnTo>
                  <a:pt x="4858" y="4008"/>
                </a:lnTo>
                <a:lnTo>
                  <a:pt x="4850" y="4028"/>
                </a:lnTo>
                <a:lnTo>
                  <a:pt x="4845" y="4042"/>
                </a:lnTo>
                <a:lnTo>
                  <a:pt x="4839" y="4060"/>
                </a:lnTo>
                <a:lnTo>
                  <a:pt x="4832" y="4089"/>
                </a:lnTo>
                <a:lnTo>
                  <a:pt x="4825" y="4118"/>
                </a:lnTo>
                <a:lnTo>
                  <a:pt x="4821" y="4139"/>
                </a:lnTo>
                <a:lnTo>
                  <a:pt x="4820" y="4148"/>
                </a:lnTo>
                <a:lnTo>
                  <a:pt x="4816" y="4158"/>
                </a:lnTo>
                <a:lnTo>
                  <a:pt x="4812" y="4170"/>
                </a:lnTo>
                <a:lnTo>
                  <a:pt x="4806" y="4181"/>
                </a:lnTo>
                <a:lnTo>
                  <a:pt x="4796" y="4202"/>
                </a:lnTo>
                <a:lnTo>
                  <a:pt x="4790" y="4213"/>
                </a:lnTo>
                <a:lnTo>
                  <a:pt x="4782" y="4220"/>
                </a:lnTo>
                <a:lnTo>
                  <a:pt x="4771" y="4228"/>
                </a:lnTo>
                <a:lnTo>
                  <a:pt x="4765" y="4234"/>
                </a:lnTo>
                <a:lnTo>
                  <a:pt x="4758" y="4237"/>
                </a:lnTo>
                <a:lnTo>
                  <a:pt x="4753" y="4240"/>
                </a:lnTo>
                <a:lnTo>
                  <a:pt x="4750" y="4241"/>
                </a:lnTo>
                <a:lnTo>
                  <a:pt x="4740" y="4240"/>
                </a:lnTo>
                <a:lnTo>
                  <a:pt x="4730" y="4238"/>
                </a:lnTo>
                <a:lnTo>
                  <a:pt x="4725" y="4236"/>
                </a:lnTo>
                <a:lnTo>
                  <a:pt x="4722" y="4234"/>
                </a:lnTo>
                <a:lnTo>
                  <a:pt x="4721" y="4233"/>
                </a:lnTo>
                <a:lnTo>
                  <a:pt x="4721" y="4230"/>
                </a:lnTo>
                <a:lnTo>
                  <a:pt x="4721" y="4229"/>
                </a:lnTo>
                <a:lnTo>
                  <a:pt x="4722" y="4227"/>
                </a:lnTo>
                <a:lnTo>
                  <a:pt x="4728" y="4221"/>
                </a:lnTo>
                <a:lnTo>
                  <a:pt x="4731" y="4216"/>
                </a:lnTo>
                <a:lnTo>
                  <a:pt x="4731" y="4214"/>
                </a:lnTo>
                <a:lnTo>
                  <a:pt x="4731" y="4211"/>
                </a:lnTo>
                <a:lnTo>
                  <a:pt x="4730" y="4208"/>
                </a:lnTo>
                <a:lnTo>
                  <a:pt x="4729" y="4205"/>
                </a:lnTo>
                <a:lnTo>
                  <a:pt x="4726" y="4194"/>
                </a:lnTo>
                <a:lnTo>
                  <a:pt x="4722" y="4178"/>
                </a:lnTo>
                <a:lnTo>
                  <a:pt x="4718" y="4162"/>
                </a:lnTo>
                <a:lnTo>
                  <a:pt x="4714" y="4153"/>
                </a:lnTo>
                <a:lnTo>
                  <a:pt x="4713" y="4149"/>
                </a:lnTo>
                <a:lnTo>
                  <a:pt x="4713" y="4142"/>
                </a:lnTo>
                <a:lnTo>
                  <a:pt x="4714" y="4135"/>
                </a:lnTo>
                <a:lnTo>
                  <a:pt x="4715" y="4127"/>
                </a:lnTo>
                <a:lnTo>
                  <a:pt x="4717" y="4118"/>
                </a:lnTo>
                <a:lnTo>
                  <a:pt x="4719" y="4111"/>
                </a:lnTo>
                <a:lnTo>
                  <a:pt x="4722" y="4105"/>
                </a:lnTo>
                <a:lnTo>
                  <a:pt x="4725" y="4101"/>
                </a:lnTo>
                <a:lnTo>
                  <a:pt x="4730" y="4094"/>
                </a:lnTo>
                <a:lnTo>
                  <a:pt x="4732" y="4089"/>
                </a:lnTo>
                <a:lnTo>
                  <a:pt x="4732" y="4086"/>
                </a:lnTo>
                <a:lnTo>
                  <a:pt x="4732" y="4085"/>
                </a:lnTo>
                <a:close/>
                <a:moveTo>
                  <a:pt x="4149" y="4417"/>
                </a:moveTo>
                <a:lnTo>
                  <a:pt x="4149" y="4405"/>
                </a:lnTo>
                <a:lnTo>
                  <a:pt x="4149" y="4392"/>
                </a:lnTo>
                <a:lnTo>
                  <a:pt x="4149" y="4385"/>
                </a:lnTo>
                <a:lnTo>
                  <a:pt x="4148" y="4376"/>
                </a:lnTo>
                <a:lnTo>
                  <a:pt x="4146" y="4369"/>
                </a:lnTo>
                <a:lnTo>
                  <a:pt x="4143" y="4361"/>
                </a:lnTo>
                <a:lnTo>
                  <a:pt x="4133" y="4343"/>
                </a:lnTo>
                <a:lnTo>
                  <a:pt x="4120" y="4316"/>
                </a:lnTo>
                <a:lnTo>
                  <a:pt x="4108" y="4289"/>
                </a:lnTo>
                <a:lnTo>
                  <a:pt x="4096" y="4267"/>
                </a:lnTo>
                <a:lnTo>
                  <a:pt x="4091" y="4258"/>
                </a:lnTo>
                <a:lnTo>
                  <a:pt x="4087" y="4248"/>
                </a:lnTo>
                <a:lnTo>
                  <a:pt x="4082" y="4238"/>
                </a:lnTo>
                <a:lnTo>
                  <a:pt x="4079" y="4227"/>
                </a:lnTo>
                <a:lnTo>
                  <a:pt x="4076" y="4217"/>
                </a:lnTo>
                <a:lnTo>
                  <a:pt x="4075" y="4206"/>
                </a:lnTo>
                <a:lnTo>
                  <a:pt x="4074" y="4196"/>
                </a:lnTo>
                <a:lnTo>
                  <a:pt x="4073" y="4188"/>
                </a:lnTo>
                <a:lnTo>
                  <a:pt x="4074" y="4172"/>
                </a:lnTo>
                <a:lnTo>
                  <a:pt x="4075" y="4159"/>
                </a:lnTo>
                <a:lnTo>
                  <a:pt x="4076" y="4150"/>
                </a:lnTo>
                <a:lnTo>
                  <a:pt x="4075" y="4141"/>
                </a:lnTo>
                <a:lnTo>
                  <a:pt x="4065" y="4127"/>
                </a:lnTo>
                <a:lnTo>
                  <a:pt x="4057" y="4112"/>
                </a:lnTo>
                <a:lnTo>
                  <a:pt x="4056" y="4104"/>
                </a:lnTo>
                <a:lnTo>
                  <a:pt x="4052" y="4092"/>
                </a:lnTo>
                <a:lnTo>
                  <a:pt x="4048" y="4081"/>
                </a:lnTo>
                <a:lnTo>
                  <a:pt x="4043" y="4071"/>
                </a:lnTo>
                <a:lnTo>
                  <a:pt x="4034" y="4063"/>
                </a:lnTo>
                <a:lnTo>
                  <a:pt x="4023" y="4052"/>
                </a:lnTo>
                <a:lnTo>
                  <a:pt x="4017" y="4046"/>
                </a:lnTo>
                <a:lnTo>
                  <a:pt x="4013" y="4041"/>
                </a:lnTo>
                <a:lnTo>
                  <a:pt x="4011" y="4036"/>
                </a:lnTo>
                <a:lnTo>
                  <a:pt x="4011" y="4030"/>
                </a:lnTo>
                <a:lnTo>
                  <a:pt x="4015" y="4010"/>
                </a:lnTo>
                <a:lnTo>
                  <a:pt x="4021" y="3979"/>
                </a:lnTo>
                <a:lnTo>
                  <a:pt x="4026" y="3948"/>
                </a:lnTo>
                <a:lnTo>
                  <a:pt x="4030" y="3933"/>
                </a:lnTo>
                <a:lnTo>
                  <a:pt x="4038" y="3926"/>
                </a:lnTo>
                <a:lnTo>
                  <a:pt x="4051" y="3914"/>
                </a:lnTo>
                <a:lnTo>
                  <a:pt x="4058" y="3907"/>
                </a:lnTo>
                <a:lnTo>
                  <a:pt x="4064" y="3899"/>
                </a:lnTo>
                <a:lnTo>
                  <a:pt x="4066" y="3896"/>
                </a:lnTo>
                <a:lnTo>
                  <a:pt x="4067" y="3893"/>
                </a:lnTo>
                <a:lnTo>
                  <a:pt x="4067" y="3890"/>
                </a:lnTo>
                <a:lnTo>
                  <a:pt x="4067" y="3887"/>
                </a:lnTo>
                <a:lnTo>
                  <a:pt x="4064" y="3875"/>
                </a:lnTo>
                <a:lnTo>
                  <a:pt x="4058" y="3865"/>
                </a:lnTo>
                <a:lnTo>
                  <a:pt x="4053" y="3856"/>
                </a:lnTo>
                <a:lnTo>
                  <a:pt x="4050" y="3850"/>
                </a:lnTo>
                <a:lnTo>
                  <a:pt x="4048" y="3845"/>
                </a:lnTo>
                <a:lnTo>
                  <a:pt x="4045" y="3839"/>
                </a:lnTo>
                <a:lnTo>
                  <a:pt x="4044" y="3831"/>
                </a:lnTo>
                <a:lnTo>
                  <a:pt x="4044" y="3826"/>
                </a:lnTo>
                <a:lnTo>
                  <a:pt x="4046" y="3822"/>
                </a:lnTo>
                <a:lnTo>
                  <a:pt x="4047" y="3818"/>
                </a:lnTo>
                <a:lnTo>
                  <a:pt x="4048" y="3816"/>
                </a:lnTo>
                <a:lnTo>
                  <a:pt x="4048" y="3813"/>
                </a:lnTo>
                <a:lnTo>
                  <a:pt x="4047" y="3811"/>
                </a:lnTo>
                <a:lnTo>
                  <a:pt x="4046" y="3809"/>
                </a:lnTo>
                <a:lnTo>
                  <a:pt x="4036" y="3794"/>
                </a:lnTo>
                <a:lnTo>
                  <a:pt x="4029" y="3778"/>
                </a:lnTo>
                <a:lnTo>
                  <a:pt x="4027" y="3769"/>
                </a:lnTo>
                <a:lnTo>
                  <a:pt x="4023" y="3754"/>
                </a:lnTo>
                <a:lnTo>
                  <a:pt x="4020" y="3744"/>
                </a:lnTo>
                <a:lnTo>
                  <a:pt x="4015" y="3735"/>
                </a:lnTo>
                <a:lnTo>
                  <a:pt x="4010" y="3727"/>
                </a:lnTo>
                <a:lnTo>
                  <a:pt x="4004" y="3719"/>
                </a:lnTo>
                <a:lnTo>
                  <a:pt x="3986" y="3706"/>
                </a:lnTo>
                <a:lnTo>
                  <a:pt x="3965" y="3693"/>
                </a:lnTo>
                <a:lnTo>
                  <a:pt x="3956" y="3686"/>
                </a:lnTo>
                <a:lnTo>
                  <a:pt x="3949" y="3679"/>
                </a:lnTo>
                <a:lnTo>
                  <a:pt x="3947" y="3675"/>
                </a:lnTo>
                <a:lnTo>
                  <a:pt x="3945" y="3671"/>
                </a:lnTo>
                <a:lnTo>
                  <a:pt x="3945" y="3668"/>
                </a:lnTo>
                <a:lnTo>
                  <a:pt x="3946" y="3664"/>
                </a:lnTo>
                <a:lnTo>
                  <a:pt x="3954" y="3645"/>
                </a:lnTo>
                <a:lnTo>
                  <a:pt x="3959" y="3626"/>
                </a:lnTo>
                <a:lnTo>
                  <a:pt x="3963" y="3609"/>
                </a:lnTo>
                <a:lnTo>
                  <a:pt x="3964" y="3599"/>
                </a:lnTo>
                <a:lnTo>
                  <a:pt x="3966" y="3588"/>
                </a:lnTo>
                <a:lnTo>
                  <a:pt x="3971" y="3575"/>
                </a:lnTo>
                <a:lnTo>
                  <a:pt x="3973" y="3567"/>
                </a:lnTo>
                <a:lnTo>
                  <a:pt x="3973" y="3560"/>
                </a:lnTo>
                <a:lnTo>
                  <a:pt x="3973" y="3557"/>
                </a:lnTo>
                <a:lnTo>
                  <a:pt x="3972" y="3555"/>
                </a:lnTo>
                <a:lnTo>
                  <a:pt x="3971" y="3553"/>
                </a:lnTo>
                <a:lnTo>
                  <a:pt x="3969" y="3551"/>
                </a:lnTo>
                <a:lnTo>
                  <a:pt x="3959" y="3544"/>
                </a:lnTo>
                <a:lnTo>
                  <a:pt x="3949" y="3538"/>
                </a:lnTo>
                <a:lnTo>
                  <a:pt x="3945" y="3536"/>
                </a:lnTo>
                <a:lnTo>
                  <a:pt x="3940" y="3534"/>
                </a:lnTo>
                <a:lnTo>
                  <a:pt x="3936" y="3533"/>
                </a:lnTo>
                <a:lnTo>
                  <a:pt x="3932" y="3533"/>
                </a:lnTo>
                <a:lnTo>
                  <a:pt x="3921" y="3535"/>
                </a:lnTo>
                <a:lnTo>
                  <a:pt x="3912" y="3537"/>
                </a:lnTo>
                <a:lnTo>
                  <a:pt x="3907" y="3537"/>
                </a:lnTo>
                <a:lnTo>
                  <a:pt x="3902" y="3537"/>
                </a:lnTo>
                <a:lnTo>
                  <a:pt x="3899" y="3535"/>
                </a:lnTo>
                <a:lnTo>
                  <a:pt x="3895" y="3533"/>
                </a:lnTo>
                <a:lnTo>
                  <a:pt x="3888" y="3524"/>
                </a:lnTo>
                <a:lnTo>
                  <a:pt x="3876" y="3513"/>
                </a:lnTo>
                <a:lnTo>
                  <a:pt x="3871" y="3507"/>
                </a:lnTo>
                <a:lnTo>
                  <a:pt x="3866" y="3502"/>
                </a:lnTo>
                <a:lnTo>
                  <a:pt x="3860" y="3498"/>
                </a:lnTo>
                <a:lnTo>
                  <a:pt x="3856" y="3496"/>
                </a:lnTo>
                <a:lnTo>
                  <a:pt x="3846" y="3494"/>
                </a:lnTo>
                <a:lnTo>
                  <a:pt x="3832" y="3492"/>
                </a:lnTo>
                <a:lnTo>
                  <a:pt x="3822" y="3491"/>
                </a:lnTo>
                <a:lnTo>
                  <a:pt x="3816" y="3490"/>
                </a:lnTo>
                <a:lnTo>
                  <a:pt x="3812" y="3491"/>
                </a:lnTo>
                <a:lnTo>
                  <a:pt x="3804" y="3494"/>
                </a:lnTo>
                <a:lnTo>
                  <a:pt x="3792" y="3498"/>
                </a:lnTo>
                <a:lnTo>
                  <a:pt x="3782" y="3504"/>
                </a:lnTo>
                <a:lnTo>
                  <a:pt x="3770" y="3513"/>
                </a:lnTo>
                <a:lnTo>
                  <a:pt x="3756" y="3521"/>
                </a:lnTo>
                <a:lnTo>
                  <a:pt x="3747" y="3525"/>
                </a:lnTo>
                <a:lnTo>
                  <a:pt x="3739" y="3527"/>
                </a:lnTo>
                <a:lnTo>
                  <a:pt x="3730" y="3529"/>
                </a:lnTo>
                <a:lnTo>
                  <a:pt x="3723" y="3527"/>
                </a:lnTo>
                <a:lnTo>
                  <a:pt x="3706" y="3524"/>
                </a:lnTo>
                <a:lnTo>
                  <a:pt x="3690" y="3523"/>
                </a:lnTo>
                <a:lnTo>
                  <a:pt x="3681" y="3523"/>
                </a:lnTo>
                <a:lnTo>
                  <a:pt x="3674" y="3523"/>
                </a:lnTo>
                <a:lnTo>
                  <a:pt x="3668" y="3524"/>
                </a:lnTo>
                <a:lnTo>
                  <a:pt x="3662" y="3526"/>
                </a:lnTo>
                <a:lnTo>
                  <a:pt x="3649" y="3531"/>
                </a:lnTo>
                <a:lnTo>
                  <a:pt x="3629" y="3536"/>
                </a:lnTo>
                <a:lnTo>
                  <a:pt x="3607" y="3540"/>
                </a:lnTo>
                <a:lnTo>
                  <a:pt x="3590" y="3543"/>
                </a:lnTo>
                <a:lnTo>
                  <a:pt x="3585" y="3543"/>
                </a:lnTo>
                <a:lnTo>
                  <a:pt x="3578" y="3540"/>
                </a:lnTo>
                <a:lnTo>
                  <a:pt x="3571" y="3537"/>
                </a:lnTo>
                <a:lnTo>
                  <a:pt x="3562" y="3532"/>
                </a:lnTo>
                <a:lnTo>
                  <a:pt x="3542" y="3517"/>
                </a:lnTo>
                <a:lnTo>
                  <a:pt x="3519" y="3501"/>
                </a:lnTo>
                <a:lnTo>
                  <a:pt x="3497" y="3483"/>
                </a:lnTo>
                <a:lnTo>
                  <a:pt x="3477" y="3468"/>
                </a:lnTo>
                <a:lnTo>
                  <a:pt x="3462" y="3454"/>
                </a:lnTo>
                <a:lnTo>
                  <a:pt x="3454" y="3445"/>
                </a:lnTo>
                <a:lnTo>
                  <a:pt x="3445" y="3428"/>
                </a:lnTo>
                <a:lnTo>
                  <a:pt x="3434" y="3406"/>
                </a:lnTo>
                <a:lnTo>
                  <a:pt x="3429" y="3395"/>
                </a:lnTo>
                <a:lnTo>
                  <a:pt x="3423" y="3386"/>
                </a:lnTo>
                <a:lnTo>
                  <a:pt x="3418" y="3379"/>
                </a:lnTo>
                <a:lnTo>
                  <a:pt x="3414" y="3374"/>
                </a:lnTo>
                <a:lnTo>
                  <a:pt x="3403" y="3367"/>
                </a:lnTo>
                <a:lnTo>
                  <a:pt x="3389" y="3359"/>
                </a:lnTo>
                <a:lnTo>
                  <a:pt x="3383" y="3354"/>
                </a:lnTo>
                <a:lnTo>
                  <a:pt x="3377" y="3348"/>
                </a:lnTo>
                <a:lnTo>
                  <a:pt x="3375" y="3345"/>
                </a:lnTo>
                <a:lnTo>
                  <a:pt x="3374" y="3342"/>
                </a:lnTo>
                <a:lnTo>
                  <a:pt x="3373" y="3339"/>
                </a:lnTo>
                <a:lnTo>
                  <a:pt x="3373" y="3335"/>
                </a:lnTo>
                <a:lnTo>
                  <a:pt x="3377" y="3317"/>
                </a:lnTo>
                <a:lnTo>
                  <a:pt x="3384" y="3294"/>
                </a:lnTo>
                <a:lnTo>
                  <a:pt x="3390" y="3274"/>
                </a:lnTo>
                <a:lnTo>
                  <a:pt x="3394" y="3262"/>
                </a:lnTo>
                <a:lnTo>
                  <a:pt x="3397" y="3248"/>
                </a:lnTo>
                <a:lnTo>
                  <a:pt x="3401" y="3220"/>
                </a:lnTo>
                <a:lnTo>
                  <a:pt x="3402" y="3206"/>
                </a:lnTo>
                <a:lnTo>
                  <a:pt x="3403" y="3191"/>
                </a:lnTo>
                <a:lnTo>
                  <a:pt x="3403" y="3180"/>
                </a:lnTo>
                <a:lnTo>
                  <a:pt x="3403" y="3171"/>
                </a:lnTo>
                <a:lnTo>
                  <a:pt x="3399" y="3157"/>
                </a:lnTo>
                <a:lnTo>
                  <a:pt x="3396" y="3139"/>
                </a:lnTo>
                <a:lnTo>
                  <a:pt x="3395" y="3130"/>
                </a:lnTo>
                <a:lnTo>
                  <a:pt x="3394" y="3124"/>
                </a:lnTo>
                <a:lnTo>
                  <a:pt x="3394" y="3119"/>
                </a:lnTo>
                <a:lnTo>
                  <a:pt x="3396" y="3116"/>
                </a:lnTo>
                <a:lnTo>
                  <a:pt x="3406" y="3100"/>
                </a:lnTo>
                <a:lnTo>
                  <a:pt x="3425" y="3067"/>
                </a:lnTo>
                <a:lnTo>
                  <a:pt x="3436" y="3050"/>
                </a:lnTo>
                <a:lnTo>
                  <a:pt x="3446" y="3033"/>
                </a:lnTo>
                <a:lnTo>
                  <a:pt x="3457" y="3019"/>
                </a:lnTo>
                <a:lnTo>
                  <a:pt x="3464" y="3010"/>
                </a:lnTo>
                <a:lnTo>
                  <a:pt x="3482" y="2995"/>
                </a:lnTo>
                <a:lnTo>
                  <a:pt x="3504" y="2978"/>
                </a:lnTo>
                <a:lnTo>
                  <a:pt x="3523" y="2965"/>
                </a:lnTo>
                <a:lnTo>
                  <a:pt x="3530" y="2959"/>
                </a:lnTo>
                <a:lnTo>
                  <a:pt x="3529" y="2957"/>
                </a:lnTo>
                <a:lnTo>
                  <a:pt x="3529" y="2951"/>
                </a:lnTo>
                <a:lnTo>
                  <a:pt x="3530" y="2948"/>
                </a:lnTo>
                <a:lnTo>
                  <a:pt x="3531" y="2943"/>
                </a:lnTo>
                <a:lnTo>
                  <a:pt x="3533" y="2937"/>
                </a:lnTo>
                <a:lnTo>
                  <a:pt x="3537" y="2930"/>
                </a:lnTo>
                <a:lnTo>
                  <a:pt x="3543" y="2916"/>
                </a:lnTo>
                <a:lnTo>
                  <a:pt x="3548" y="2901"/>
                </a:lnTo>
                <a:lnTo>
                  <a:pt x="3550" y="2894"/>
                </a:lnTo>
                <a:lnTo>
                  <a:pt x="3553" y="2887"/>
                </a:lnTo>
                <a:lnTo>
                  <a:pt x="3558" y="2881"/>
                </a:lnTo>
                <a:lnTo>
                  <a:pt x="3562" y="2876"/>
                </a:lnTo>
                <a:lnTo>
                  <a:pt x="3573" y="2865"/>
                </a:lnTo>
                <a:lnTo>
                  <a:pt x="3585" y="2855"/>
                </a:lnTo>
                <a:lnTo>
                  <a:pt x="3597" y="2844"/>
                </a:lnTo>
                <a:lnTo>
                  <a:pt x="3608" y="2833"/>
                </a:lnTo>
                <a:lnTo>
                  <a:pt x="3617" y="2821"/>
                </a:lnTo>
                <a:lnTo>
                  <a:pt x="3625" y="2812"/>
                </a:lnTo>
                <a:lnTo>
                  <a:pt x="3630" y="2803"/>
                </a:lnTo>
                <a:lnTo>
                  <a:pt x="3632" y="2798"/>
                </a:lnTo>
                <a:lnTo>
                  <a:pt x="3633" y="2793"/>
                </a:lnTo>
                <a:lnTo>
                  <a:pt x="3636" y="2788"/>
                </a:lnTo>
                <a:lnTo>
                  <a:pt x="3638" y="2787"/>
                </a:lnTo>
                <a:lnTo>
                  <a:pt x="3640" y="2786"/>
                </a:lnTo>
                <a:lnTo>
                  <a:pt x="3642" y="2787"/>
                </a:lnTo>
                <a:lnTo>
                  <a:pt x="3646" y="2790"/>
                </a:lnTo>
                <a:lnTo>
                  <a:pt x="3648" y="2793"/>
                </a:lnTo>
                <a:lnTo>
                  <a:pt x="3652" y="2795"/>
                </a:lnTo>
                <a:lnTo>
                  <a:pt x="3656" y="2797"/>
                </a:lnTo>
                <a:lnTo>
                  <a:pt x="3660" y="2798"/>
                </a:lnTo>
                <a:lnTo>
                  <a:pt x="3669" y="2799"/>
                </a:lnTo>
                <a:lnTo>
                  <a:pt x="3676" y="2799"/>
                </a:lnTo>
                <a:lnTo>
                  <a:pt x="3688" y="2798"/>
                </a:lnTo>
                <a:lnTo>
                  <a:pt x="3708" y="2797"/>
                </a:lnTo>
                <a:lnTo>
                  <a:pt x="3729" y="2796"/>
                </a:lnTo>
                <a:lnTo>
                  <a:pt x="3744" y="2793"/>
                </a:lnTo>
                <a:lnTo>
                  <a:pt x="3757" y="2787"/>
                </a:lnTo>
                <a:lnTo>
                  <a:pt x="3769" y="2777"/>
                </a:lnTo>
                <a:lnTo>
                  <a:pt x="3776" y="2773"/>
                </a:lnTo>
                <a:lnTo>
                  <a:pt x="3783" y="2770"/>
                </a:lnTo>
                <a:lnTo>
                  <a:pt x="3788" y="2767"/>
                </a:lnTo>
                <a:lnTo>
                  <a:pt x="3792" y="2766"/>
                </a:lnTo>
                <a:lnTo>
                  <a:pt x="3806" y="2764"/>
                </a:lnTo>
                <a:lnTo>
                  <a:pt x="3828" y="2761"/>
                </a:lnTo>
                <a:lnTo>
                  <a:pt x="3853" y="2756"/>
                </a:lnTo>
                <a:lnTo>
                  <a:pt x="3879" y="2753"/>
                </a:lnTo>
                <a:lnTo>
                  <a:pt x="3906" y="2750"/>
                </a:lnTo>
                <a:lnTo>
                  <a:pt x="3935" y="2746"/>
                </a:lnTo>
                <a:lnTo>
                  <a:pt x="3948" y="2745"/>
                </a:lnTo>
                <a:lnTo>
                  <a:pt x="3961" y="2744"/>
                </a:lnTo>
                <a:lnTo>
                  <a:pt x="3971" y="2744"/>
                </a:lnTo>
                <a:lnTo>
                  <a:pt x="3979" y="2746"/>
                </a:lnTo>
                <a:lnTo>
                  <a:pt x="3990" y="2751"/>
                </a:lnTo>
                <a:lnTo>
                  <a:pt x="4001" y="2756"/>
                </a:lnTo>
                <a:lnTo>
                  <a:pt x="4004" y="2758"/>
                </a:lnTo>
                <a:lnTo>
                  <a:pt x="4007" y="2761"/>
                </a:lnTo>
                <a:lnTo>
                  <a:pt x="4008" y="2763"/>
                </a:lnTo>
                <a:lnTo>
                  <a:pt x="4007" y="2765"/>
                </a:lnTo>
                <a:lnTo>
                  <a:pt x="4002" y="2770"/>
                </a:lnTo>
                <a:lnTo>
                  <a:pt x="3997" y="2777"/>
                </a:lnTo>
                <a:lnTo>
                  <a:pt x="3995" y="2783"/>
                </a:lnTo>
                <a:lnTo>
                  <a:pt x="3994" y="2788"/>
                </a:lnTo>
                <a:lnTo>
                  <a:pt x="3995" y="2793"/>
                </a:lnTo>
                <a:lnTo>
                  <a:pt x="3999" y="2800"/>
                </a:lnTo>
                <a:lnTo>
                  <a:pt x="4003" y="2807"/>
                </a:lnTo>
                <a:lnTo>
                  <a:pt x="4006" y="2815"/>
                </a:lnTo>
                <a:lnTo>
                  <a:pt x="4008" y="2822"/>
                </a:lnTo>
                <a:lnTo>
                  <a:pt x="4010" y="2830"/>
                </a:lnTo>
                <a:lnTo>
                  <a:pt x="4014" y="2843"/>
                </a:lnTo>
                <a:lnTo>
                  <a:pt x="4019" y="2854"/>
                </a:lnTo>
                <a:lnTo>
                  <a:pt x="4021" y="2858"/>
                </a:lnTo>
                <a:lnTo>
                  <a:pt x="4023" y="2861"/>
                </a:lnTo>
                <a:lnTo>
                  <a:pt x="4026" y="2864"/>
                </a:lnTo>
                <a:lnTo>
                  <a:pt x="4029" y="2866"/>
                </a:lnTo>
                <a:lnTo>
                  <a:pt x="4032" y="2867"/>
                </a:lnTo>
                <a:lnTo>
                  <a:pt x="4036" y="2869"/>
                </a:lnTo>
                <a:lnTo>
                  <a:pt x="4042" y="2871"/>
                </a:lnTo>
                <a:lnTo>
                  <a:pt x="4048" y="2871"/>
                </a:lnTo>
                <a:lnTo>
                  <a:pt x="4061" y="2869"/>
                </a:lnTo>
                <a:lnTo>
                  <a:pt x="4073" y="2869"/>
                </a:lnTo>
                <a:lnTo>
                  <a:pt x="4079" y="2869"/>
                </a:lnTo>
                <a:lnTo>
                  <a:pt x="4085" y="2872"/>
                </a:lnTo>
                <a:lnTo>
                  <a:pt x="4090" y="2875"/>
                </a:lnTo>
                <a:lnTo>
                  <a:pt x="4095" y="2880"/>
                </a:lnTo>
                <a:lnTo>
                  <a:pt x="4102" y="2886"/>
                </a:lnTo>
                <a:lnTo>
                  <a:pt x="4111" y="2893"/>
                </a:lnTo>
                <a:lnTo>
                  <a:pt x="4121" y="2899"/>
                </a:lnTo>
                <a:lnTo>
                  <a:pt x="4133" y="2904"/>
                </a:lnTo>
                <a:lnTo>
                  <a:pt x="4145" y="2909"/>
                </a:lnTo>
                <a:lnTo>
                  <a:pt x="4158" y="2913"/>
                </a:lnTo>
                <a:lnTo>
                  <a:pt x="4170" y="2917"/>
                </a:lnTo>
                <a:lnTo>
                  <a:pt x="4182" y="2920"/>
                </a:lnTo>
                <a:lnTo>
                  <a:pt x="4188" y="2920"/>
                </a:lnTo>
                <a:lnTo>
                  <a:pt x="4193" y="2919"/>
                </a:lnTo>
                <a:lnTo>
                  <a:pt x="4198" y="2916"/>
                </a:lnTo>
                <a:lnTo>
                  <a:pt x="4203" y="2911"/>
                </a:lnTo>
                <a:lnTo>
                  <a:pt x="4211" y="2901"/>
                </a:lnTo>
                <a:lnTo>
                  <a:pt x="4220" y="2888"/>
                </a:lnTo>
                <a:lnTo>
                  <a:pt x="4228" y="2877"/>
                </a:lnTo>
                <a:lnTo>
                  <a:pt x="4236" y="2867"/>
                </a:lnTo>
                <a:lnTo>
                  <a:pt x="4241" y="2864"/>
                </a:lnTo>
                <a:lnTo>
                  <a:pt x="4245" y="2862"/>
                </a:lnTo>
                <a:lnTo>
                  <a:pt x="4250" y="2862"/>
                </a:lnTo>
                <a:lnTo>
                  <a:pt x="4255" y="2864"/>
                </a:lnTo>
                <a:lnTo>
                  <a:pt x="4275" y="2876"/>
                </a:lnTo>
                <a:lnTo>
                  <a:pt x="4294" y="2887"/>
                </a:lnTo>
                <a:lnTo>
                  <a:pt x="4304" y="2893"/>
                </a:lnTo>
                <a:lnTo>
                  <a:pt x="4313" y="2897"/>
                </a:lnTo>
                <a:lnTo>
                  <a:pt x="4323" y="2901"/>
                </a:lnTo>
                <a:lnTo>
                  <a:pt x="4334" y="2903"/>
                </a:lnTo>
                <a:lnTo>
                  <a:pt x="4346" y="2905"/>
                </a:lnTo>
                <a:lnTo>
                  <a:pt x="4359" y="2906"/>
                </a:lnTo>
                <a:lnTo>
                  <a:pt x="4373" y="2907"/>
                </a:lnTo>
                <a:lnTo>
                  <a:pt x="4385" y="2907"/>
                </a:lnTo>
                <a:lnTo>
                  <a:pt x="4406" y="2907"/>
                </a:lnTo>
                <a:lnTo>
                  <a:pt x="4415" y="2906"/>
                </a:lnTo>
                <a:lnTo>
                  <a:pt x="4417" y="2903"/>
                </a:lnTo>
                <a:lnTo>
                  <a:pt x="4423" y="2898"/>
                </a:lnTo>
                <a:lnTo>
                  <a:pt x="4428" y="2896"/>
                </a:lnTo>
                <a:lnTo>
                  <a:pt x="4434" y="2895"/>
                </a:lnTo>
                <a:lnTo>
                  <a:pt x="4438" y="2896"/>
                </a:lnTo>
                <a:lnTo>
                  <a:pt x="4442" y="2897"/>
                </a:lnTo>
                <a:lnTo>
                  <a:pt x="4446" y="2899"/>
                </a:lnTo>
                <a:lnTo>
                  <a:pt x="4450" y="2901"/>
                </a:lnTo>
                <a:lnTo>
                  <a:pt x="4465" y="2912"/>
                </a:lnTo>
                <a:lnTo>
                  <a:pt x="4474" y="2918"/>
                </a:lnTo>
                <a:lnTo>
                  <a:pt x="4478" y="2919"/>
                </a:lnTo>
                <a:lnTo>
                  <a:pt x="4482" y="2919"/>
                </a:lnTo>
                <a:lnTo>
                  <a:pt x="4486" y="2918"/>
                </a:lnTo>
                <a:lnTo>
                  <a:pt x="4491" y="2916"/>
                </a:lnTo>
                <a:lnTo>
                  <a:pt x="4503" y="2909"/>
                </a:lnTo>
                <a:lnTo>
                  <a:pt x="4513" y="2903"/>
                </a:lnTo>
                <a:lnTo>
                  <a:pt x="4520" y="2898"/>
                </a:lnTo>
                <a:lnTo>
                  <a:pt x="4524" y="2897"/>
                </a:lnTo>
                <a:lnTo>
                  <a:pt x="4524" y="2889"/>
                </a:lnTo>
                <a:lnTo>
                  <a:pt x="4524" y="2875"/>
                </a:lnTo>
                <a:lnTo>
                  <a:pt x="4524" y="2865"/>
                </a:lnTo>
                <a:lnTo>
                  <a:pt x="4525" y="2856"/>
                </a:lnTo>
                <a:lnTo>
                  <a:pt x="4527" y="2846"/>
                </a:lnTo>
                <a:lnTo>
                  <a:pt x="4529" y="2839"/>
                </a:lnTo>
                <a:lnTo>
                  <a:pt x="4535" y="2825"/>
                </a:lnTo>
                <a:lnTo>
                  <a:pt x="4541" y="2813"/>
                </a:lnTo>
                <a:lnTo>
                  <a:pt x="4546" y="2802"/>
                </a:lnTo>
                <a:lnTo>
                  <a:pt x="4549" y="2797"/>
                </a:lnTo>
                <a:lnTo>
                  <a:pt x="4551" y="2790"/>
                </a:lnTo>
                <a:lnTo>
                  <a:pt x="4551" y="2779"/>
                </a:lnTo>
                <a:lnTo>
                  <a:pt x="4551" y="2775"/>
                </a:lnTo>
                <a:lnTo>
                  <a:pt x="4549" y="2771"/>
                </a:lnTo>
                <a:lnTo>
                  <a:pt x="4547" y="2770"/>
                </a:lnTo>
                <a:lnTo>
                  <a:pt x="4544" y="2769"/>
                </a:lnTo>
                <a:lnTo>
                  <a:pt x="4542" y="2769"/>
                </a:lnTo>
                <a:lnTo>
                  <a:pt x="4539" y="2769"/>
                </a:lnTo>
                <a:lnTo>
                  <a:pt x="4527" y="2773"/>
                </a:lnTo>
                <a:lnTo>
                  <a:pt x="4514" y="2780"/>
                </a:lnTo>
                <a:lnTo>
                  <a:pt x="4508" y="2784"/>
                </a:lnTo>
                <a:lnTo>
                  <a:pt x="4503" y="2785"/>
                </a:lnTo>
                <a:lnTo>
                  <a:pt x="4498" y="2786"/>
                </a:lnTo>
                <a:lnTo>
                  <a:pt x="4494" y="2785"/>
                </a:lnTo>
                <a:lnTo>
                  <a:pt x="4486" y="2778"/>
                </a:lnTo>
                <a:lnTo>
                  <a:pt x="4475" y="2773"/>
                </a:lnTo>
                <a:lnTo>
                  <a:pt x="4470" y="2771"/>
                </a:lnTo>
                <a:lnTo>
                  <a:pt x="4465" y="2769"/>
                </a:lnTo>
                <a:lnTo>
                  <a:pt x="4460" y="2769"/>
                </a:lnTo>
                <a:lnTo>
                  <a:pt x="4454" y="2771"/>
                </a:lnTo>
                <a:lnTo>
                  <a:pt x="4444" y="2776"/>
                </a:lnTo>
                <a:lnTo>
                  <a:pt x="4432" y="2780"/>
                </a:lnTo>
                <a:lnTo>
                  <a:pt x="4423" y="2784"/>
                </a:lnTo>
                <a:lnTo>
                  <a:pt x="4416" y="2785"/>
                </a:lnTo>
                <a:lnTo>
                  <a:pt x="4403" y="2787"/>
                </a:lnTo>
                <a:lnTo>
                  <a:pt x="4382" y="2791"/>
                </a:lnTo>
                <a:lnTo>
                  <a:pt x="4363" y="2796"/>
                </a:lnTo>
                <a:lnTo>
                  <a:pt x="4355" y="2799"/>
                </a:lnTo>
                <a:lnTo>
                  <a:pt x="4352" y="2795"/>
                </a:lnTo>
                <a:lnTo>
                  <a:pt x="4344" y="2787"/>
                </a:lnTo>
                <a:lnTo>
                  <a:pt x="4341" y="2781"/>
                </a:lnTo>
                <a:lnTo>
                  <a:pt x="4338" y="2775"/>
                </a:lnTo>
                <a:lnTo>
                  <a:pt x="4336" y="2770"/>
                </a:lnTo>
                <a:lnTo>
                  <a:pt x="4336" y="2765"/>
                </a:lnTo>
                <a:lnTo>
                  <a:pt x="4339" y="2756"/>
                </a:lnTo>
                <a:lnTo>
                  <a:pt x="4343" y="2749"/>
                </a:lnTo>
                <a:lnTo>
                  <a:pt x="4344" y="2746"/>
                </a:lnTo>
                <a:lnTo>
                  <a:pt x="4346" y="2742"/>
                </a:lnTo>
                <a:lnTo>
                  <a:pt x="4346" y="2737"/>
                </a:lnTo>
                <a:lnTo>
                  <a:pt x="4346" y="2733"/>
                </a:lnTo>
                <a:lnTo>
                  <a:pt x="4343" y="2724"/>
                </a:lnTo>
                <a:lnTo>
                  <a:pt x="4339" y="2714"/>
                </a:lnTo>
                <a:lnTo>
                  <a:pt x="4338" y="2709"/>
                </a:lnTo>
                <a:lnTo>
                  <a:pt x="4337" y="2705"/>
                </a:lnTo>
                <a:lnTo>
                  <a:pt x="4337" y="2700"/>
                </a:lnTo>
                <a:lnTo>
                  <a:pt x="4339" y="2696"/>
                </a:lnTo>
                <a:lnTo>
                  <a:pt x="4345" y="2684"/>
                </a:lnTo>
                <a:lnTo>
                  <a:pt x="4352" y="2670"/>
                </a:lnTo>
                <a:lnTo>
                  <a:pt x="4355" y="2664"/>
                </a:lnTo>
                <a:lnTo>
                  <a:pt x="4358" y="2659"/>
                </a:lnTo>
                <a:lnTo>
                  <a:pt x="4360" y="2656"/>
                </a:lnTo>
                <a:lnTo>
                  <a:pt x="4363" y="2654"/>
                </a:lnTo>
                <a:lnTo>
                  <a:pt x="4359" y="2654"/>
                </a:lnTo>
                <a:lnTo>
                  <a:pt x="4344" y="2659"/>
                </a:lnTo>
                <a:lnTo>
                  <a:pt x="4327" y="2665"/>
                </a:lnTo>
                <a:lnTo>
                  <a:pt x="4317" y="2668"/>
                </a:lnTo>
                <a:lnTo>
                  <a:pt x="4312" y="2684"/>
                </a:lnTo>
                <a:lnTo>
                  <a:pt x="4308" y="2698"/>
                </a:lnTo>
                <a:lnTo>
                  <a:pt x="4299" y="2692"/>
                </a:lnTo>
                <a:lnTo>
                  <a:pt x="4286" y="2683"/>
                </a:lnTo>
                <a:lnTo>
                  <a:pt x="4279" y="2678"/>
                </a:lnTo>
                <a:lnTo>
                  <a:pt x="4273" y="2675"/>
                </a:lnTo>
                <a:lnTo>
                  <a:pt x="4270" y="2674"/>
                </a:lnTo>
                <a:lnTo>
                  <a:pt x="4268" y="2674"/>
                </a:lnTo>
                <a:lnTo>
                  <a:pt x="4267" y="2674"/>
                </a:lnTo>
                <a:lnTo>
                  <a:pt x="4266" y="2675"/>
                </a:lnTo>
                <a:lnTo>
                  <a:pt x="4264" y="2678"/>
                </a:lnTo>
                <a:lnTo>
                  <a:pt x="4264" y="2682"/>
                </a:lnTo>
                <a:lnTo>
                  <a:pt x="4263" y="2686"/>
                </a:lnTo>
                <a:lnTo>
                  <a:pt x="4264" y="2691"/>
                </a:lnTo>
                <a:lnTo>
                  <a:pt x="4265" y="2702"/>
                </a:lnTo>
                <a:lnTo>
                  <a:pt x="4269" y="2714"/>
                </a:lnTo>
                <a:lnTo>
                  <a:pt x="4269" y="2718"/>
                </a:lnTo>
                <a:lnTo>
                  <a:pt x="4270" y="2722"/>
                </a:lnTo>
                <a:lnTo>
                  <a:pt x="4269" y="2725"/>
                </a:lnTo>
                <a:lnTo>
                  <a:pt x="4269" y="2728"/>
                </a:lnTo>
                <a:lnTo>
                  <a:pt x="4266" y="2733"/>
                </a:lnTo>
                <a:lnTo>
                  <a:pt x="4263" y="2740"/>
                </a:lnTo>
                <a:lnTo>
                  <a:pt x="4254" y="2747"/>
                </a:lnTo>
                <a:lnTo>
                  <a:pt x="4251" y="2751"/>
                </a:lnTo>
                <a:lnTo>
                  <a:pt x="4246" y="2747"/>
                </a:lnTo>
                <a:lnTo>
                  <a:pt x="4235" y="2740"/>
                </a:lnTo>
                <a:lnTo>
                  <a:pt x="4229" y="2734"/>
                </a:lnTo>
                <a:lnTo>
                  <a:pt x="4224" y="2730"/>
                </a:lnTo>
                <a:lnTo>
                  <a:pt x="4221" y="2726"/>
                </a:lnTo>
                <a:lnTo>
                  <a:pt x="4220" y="2723"/>
                </a:lnTo>
                <a:lnTo>
                  <a:pt x="4216" y="2709"/>
                </a:lnTo>
                <a:lnTo>
                  <a:pt x="4206" y="2686"/>
                </a:lnTo>
                <a:lnTo>
                  <a:pt x="4198" y="2663"/>
                </a:lnTo>
                <a:lnTo>
                  <a:pt x="4193" y="2652"/>
                </a:lnTo>
                <a:lnTo>
                  <a:pt x="4192" y="2645"/>
                </a:lnTo>
                <a:lnTo>
                  <a:pt x="4187" y="2637"/>
                </a:lnTo>
                <a:lnTo>
                  <a:pt x="4182" y="2627"/>
                </a:lnTo>
                <a:lnTo>
                  <a:pt x="4177" y="2621"/>
                </a:lnTo>
                <a:lnTo>
                  <a:pt x="4162" y="2612"/>
                </a:lnTo>
                <a:lnTo>
                  <a:pt x="4136" y="2595"/>
                </a:lnTo>
                <a:lnTo>
                  <a:pt x="4108" y="2577"/>
                </a:lnTo>
                <a:lnTo>
                  <a:pt x="4089" y="2564"/>
                </a:lnTo>
                <a:lnTo>
                  <a:pt x="4077" y="2550"/>
                </a:lnTo>
                <a:lnTo>
                  <a:pt x="4065" y="2531"/>
                </a:lnTo>
                <a:lnTo>
                  <a:pt x="4058" y="2523"/>
                </a:lnTo>
                <a:lnTo>
                  <a:pt x="4053" y="2516"/>
                </a:lnTo>
                <a:lnTo>
                  <a:pt x="4051" y="2513"/>
                </a:lnTo>
                <a:lnTo>
                  <a:pt x="4049" y="2512"/>
                </a:lnTo>
                <a:lnTo>
                  <a:pt x="4047" y="2512"/>
                </a:lnTo>
                <a:lnTo>
                  <a:pt x="4046" y="2512"/>
                </a:lnTo>
                <a:lnTo>
                  <a:pt x="4036" y="2526"/>
                </a:lnTo>
                <a:lnTo>
                  <a:pt x="4031" y="2534"/>
                </a:lnTo>
                <a:lnTo>
                  <a:pt x="4032" y="2537"/>
                </a:lnTo>
                <a:lnTo>
                  <a:pt x="4035" y="2544"/>
                </a:lnTo>
                <a:lnTo>
                  <a:pt x="4041" y="2551"/>
                </a:lnTo>
                <a:lnTo>
                  <a:pt x="4046" y="2557"/>
                </a:lnTo>
                <a:lnTo>
                  <a:pt x="4050" y="2562"/>
                </a:lnTo>
                <a:lnTo>
                  <a:pt x="4055" y="2572"/>
                </a:lnTo>
                <a:lnTo>
                  <a:pt x="4059" y="2578"/>
                </a:lnTo>
                <a:lnTo>
                  <a:pt x="4065" y="2584"/>
                </a:lnTo>
                <a:lnTo>
                  <a:pt x="4072" y="2591"/>
                </a:lnTo>
                <a:lnTo>
                  <a:pt x="4082" y="2598"/>
                </a:lnTo>
                <a:lnTo>
                  <a:pt x="4108" y="2615"/>
                </a:lnTo>
                <a:lnTo>
                  <a:pt x="4136" y="2634"/>
                </a:lnTo>
                <a:lnTo>
                  <a:pt x="4159" y="2650"/>
                </a:lnTo>
                <a:lnTo>
                  <a:pt x="4170" y="2659"/>
                </a:lnTo>
                <a:lnTo>
                  <a:pt x="4171" y="2662"/>
                </a:lnTo>
                <a:lnTo>
                  <a:pt x="4171" y="2666"/>
                </a:lnTo>
                <a:lnTo>
                  <a:pt x="4171" y="2670"/>
                </a:lnTo>
                <a:lnTo>
                  <a:pt x="4170" y="2676"/>
                </a:lnTo>
                <a:lnTo>
                  <a:pt x="4169" y="2684"/>
                </a:lnTo>
                <a:lnTo>
                  <a:pt x="4168" y="2688"/>
                </a:lnTo>
                <a:lnTo>
                  <a:pt x="4163" y="2684"/>
                </a:lnTo>
                <a:lnTo>
                  <a:pt x="4152" y="2677"/>
                </a:lnTo>
                <a:lnTo>
                  <a:pt x="4145" y="2674"/>
                </a:lnTo>
                <a:lnTo>
                  <a:pt x="4139" y="2671"/>
                </a:lnTo>
                <a:lnTo>
                  <a:pt x="4137" y="2670"/>
                </a:lnTo>
                <a:lnTo>
                  <a:pt x="4136" y="2670"/>
                </a:lnTo>
                <a:lnTo>
                  <a:pt x="4135" y="2671"/>
                </a:lnTo>
                <a:lnTo>
                  <a:pt x="4134" y="2672"/>
                </a:lnTo>
                <a:lnTo>
                  <a:pt x="4135" y="2677"/>
                </a:lnTo>
                <a:lnTo>
                  <a:pt x="4137" y="2681"/>
                </a:lnTo>
                <a:lnTo>
                  <a:pt x="4140" y="2685"/>
                </a:lnTo>
                <a:lnTo>
                  <a:pt x="4143" y="2690"/>
                </a:lnTo>
                <a:lnTo>
                  <a:pt x="4145" y="2694"/>
                </a:lnTo>
                <a:lnTo>
                  <a:pt x="4147" y="2699"/>
                </a:lnTo>
                <a:lnTo>
                  <a:pt x="4148" y="2702"/>
                </a:lnTo>
                <a:lnTo>
                  <a:pt x="4147" y="2704"/>
                </a:lnTo>
                <a:lnTo>
                  <a:pt x="4139" y="2712"/>
                </a:lnTo>
                <a:lnTo>
                  <a:pt x="4126" y="2725"/>
                </a:lnTo>
                <a:lnTo>
                  <a:pt x="4119" y="2731"/>
                </a:lnTo>
                <a:lnTo>
                  <a:pt x="4113" y="2735"/>
                </a:lnTo>
                <a:lnTo>
                  <a:pt x="4110" y="2737"/>
                </a:lnTo>
                <a:lnTo>
                  <a:pt x="4108" y="2739"/>
                </a:lnTo>
                <a:lnTo>
                  <a:pt x="4105" y="2739"/>
                </a:lnTo>
                <a:lnTo>
                  <a:pt x="4104" y="2739"/>
                </a:lnTo>
                <a:lnTo>
                  <a:pt x="4102" y="2736"/>
                </a:lnTo>
                <a:lnTo>
                  <a:pt x="4100" y="2736"/>
                </a:lnTo>
                <a:lnTo>
                  <a:pt x="4099" y="2736"/>
                </a:lnTo>
                <a:lnTo>
                  <a:pt x="4097" y="2737"/>
                </a:lnTo>
                <a:lnTo>
                  <a:pt x="4095" y="2741"/>
                </a:lnTo>
                <a:lnTo>
                  <a:pt x="4095" y="2744"/>
                </a:lnTo>
                <a:lnTo>
                  <a:pt x="4095" y="2748"/>
                </a:lnTo>
                <a:lnTo>
                  <a:pt x="4094" y="2753"/>
                </a:lnTo>
                <a:lnTo>
                  <a:pt x="4093" y="2756"/>
                </a:lnTo>
                <a:lnTo>
                  <a:pt x="4092" y="2758"/>
                </a:lnTo>
                <a:lnTo>
                  <a:pt x="4090" y="2761"/>
                </a:lnTo>
                <a:lnTo>
                  <a:pt x="4087" y="2762"/>
                </a:lnTo>
                <a:lnTo>
                  <a:pt x="4082" y="2762"/>
                </a:lnTo>
                <a:lnTo>
                  <a:pt x="4074" y="2758"/>
                </a:lnTo>
                <a:lnTo>
                  <a:pt x="4065" y="2754"/>
                </a:lnTo>
                <a:lnTo>
                  <a:pt x="4054" y="2750"/>
                </a:lnTo>
                <a:lnTo>
                  <a:pt x="4044" y="2745"/>
                </a:lnTo>
                <a:lnTo>
                  <a:pt x="4036" y="2740"/>
                </a:lnTo>
                <a:lnTo>
                  <a:pt x="4033" y="2737"/>
                </a:lnTo>
                <a:lnTo>
                  <a:pt x="4031" y="2736"/>
                </a:lnTo>
                <a:lnTo>
                  <a:pt x="4031" y="2734"/>
                </a:lnTo>
                <a:lnTo>
                  <a:pt x="4031" y="2733"/>
                </a:lnTo>
                <a:lnTo>
                  <a:pt x="4039" y="2730"/>
                </a:lnTo>
                <a:lnTo>
                  <a:pt x="4053" y="2727"/>
                </a:lnTo>
                <a:lnTo>
                  <a:pt x="4067" y="2725"/>
                </a:lnTo>
                <a:lnTo>
                  <a:pt x="4077" y="2724"/>
                </a:lnTo>
                <a:lnTo>
                  <a:pt x="4083" y="2725"/>
                </a:lnTo>
                <a:lnTo>
                  <a:pt x="4091" y="2729"/>
                </a:lnTo>
                <a:lnTo>
                  <a:pt x="4093" y="2731"/>
                </a:lnTo>
                <a:lnTo>
                  <a:pt x="4096" y="2732"/>
                </a:lnTo>
                <a:lnTo>
                  <a:pt x="4097" y="2731"/>
                </a:lnTo>
                <a:lnTo>
                  <a:pt x="4098" y="2729"/>
                </a:lnTo>
                <a:lnTo>
                  <a:pt x="4101" y="2715"/>
                </a:lnTo>
                <a:lnTo>
                  <a:pt x="4105" y="2705"/>
                </a:lnTo>
                <a:lnTo>
                  <a:pt x="4108" y="2701"/>
                </a:lnTo>
                <a:lnTo>
                  <a:pt x="4110" y="2697"/>
                </a:lnTo>
                <a:lnTo>
                  <a:pt x="4111" y="2694"/>
                </a:lnTo>
                <a:lnTo>
                  <a:pt x="4110" y="2691"/>
                </a:lnTo>
                <a:lnTo>
                  <a:pt x="4109" y="2688"/>
                </a:lnTo>
                <a:lnTo>
                  <a:pt x="4105" y="2685"/>
                </a:lnTo>
                <a:lnTo>
                  <a:pt x="4088" y="2672"/>
                </a:lnTo>
                <a:lnTo>
                  <a:pt x="4057" y="2652"/>
                </a:lnTo>
                <a:lnTo>
                  <a:pt x="4041" y="2640"/>
                </a:lnTo>
                <a:lnTo>
                  <a:pt x="4027" y="2630"/>
                </a:lnTo>
                <a:lnTo>
                  <a:pt x="4015" y="2620"/>
                </a:lnTo>
                <a:lnTo>
                  <a:pt x="4010" y="2615"/>
                </a:lnTo>
                <a:lnTo>
                  <a:pt x="4000" y="2600"/>
                </a:lnTo>
                <a:lnTo>
                  <a:pt x="3983" y="2578"/>
                </a:lnTo>
                <a:lnTo>
                  <a:pt x="3967" y="2558"/>
                </a:lnTo>
                <a:lnTo>
                  <a:pt x="3960" y="2550"/>
                </a:lnTo>
                <a:lnTo>
                  <a:pt x="3948" y="2555"/>
                </a:lnTo>
                <a:lnTo>
                  <a:pt x="3935" y="2565"/>
                </a:lnTo>
                <a:lnTo>
                  <a:pt x="3927" y="2572"/>
                </a:lnTo>
                <a:lnTo>
                  <a:pt x="3914" y="2583"/>
                </a:lnTo>
                <a:lnTo>
                  <a:pt x="3906" y="2589"/>
                </a:lnTo>
                <a:lnTo>
                  <a:pt x="3899" y="2593"/>
                </a:lnTo>
                <a:lnTo>
                  <a:pt x="3896" y="2595"/>
                </a:lnTo>
                <a:lnTo>
                  <a:pt x="3893" y="2595"/>
                </a:lnTo>
                <a:lnTo>
                  <a:pt x="3890" y="2595"/>
                </a:lnTo>
                <a:lnTo>
                  <a:pt x="3887" y="2595"/>
                </a:lnTo>
                <a:lnTo>
                  <a:pt x="3874" y="2588"/>
                </a:lnTo>
                <a:lnTo>
                  <a:pt x="3859" y="2580"/>
                </a:lnTo>
                <a:lnTo>
                  <a:pt x="3852" y="2578"/>
                </a:lnTo>
                <a:lnTo>
                  <a:pt x="3846" y="2577"/>
                </a:lnTo>
                <a:lnTo>
                  <a:pt x="3843" y="2577"/>
                </a:lnTo>
                <a:lnTo>
                  <a:pt x="3840" y="2578"/>
                </a:lnTo>
                <a:lnTo>
                  <a:pt x="3837" y="2580"/>
                </a:lnTo>
                <a:lnTo>
                  <a:pt x="3836" y="2582"/>
                </a:lnTo>
                <a:lnTo>
                  <a:pt x="3831" y="2591"/>
                </a:lnTo>
                <a:lnTo>
                  <a:pt x="3829" y="2597"/>
                </a:lnTo>
                <a:lnTo>
                  <a:pt x="3829" y="2600"/>
                </a:lnTo>
                <a:lnTo>
                  <a:pt x="3830" y="2602"/>
                </a:lnTo>
                <a:lnTo>
                  <a:pt x="3831" y="2604"/>
                </a:lnTo>
                <a:lnTo>
                  <a:pt x="3833" y="2606"/>
                </a:lnTo>
                <a:lnTo>
                  <a:pt x="3835" y="2609"/>
                </a:lnTo>
                <a:lnTo>
                  <a:pt x="3837" y="2611"/>
                </a:lnTo>
                <a:lnTo>
                  <a:pt x="3837" y="2614"/>
                </a:lnTo>
                <a:lnTo>
                  <a:pt x="3837" y="2616"/>
                </a:lnTo>
                <a:lnTo>
                  <a:pt x="3836" y="2620"/>
                </a:lnTo>
                <a:lnTo>
                  <a:pt x="3834" y="2623"/>
                </a:lnTo>
                <a:lnTo>
                  <a:pt x="3831" y="2625"/>
                </a:lnTo>
                <a:lnTo>
                  <a:pt x="3825" y="2627"/>
                </a:lnTo>
                <a:lnTo>
                  <a:pt x="3822" y="2630"/>
                </a:lnTo>
                <a:lnTo>
                  <a:pt x="3817" y="2632"/>
                </a:lnTo>
                <a:lnTo>
                  <a:pt x="3814" y="2635"/>
                </a:lnTo>
                <a:lnTo>
                  <a:pt x="3811" y="2639"/>
                </a:lnTo>
                <a:lnTo>
                  <a:pt x="3804" y="2647"/>
                </a:lnTo>
                <a:lnTo>
                  <a:pt x="3794" y="2654"/>
                </a:lnTo>
                <a:lnTo>
                  <a:pt x="3787" y="2659"/>
                </a:lnTo>
                <a:lnTo>
                  <a:pt x="3781" y="2662"/>
                </a:lnTo>
                <a:lnTo>
                  <a:pt x="3775" y="2667"/>
                </a:lnTo>
                <a:lnTo>
                  <a:pt x="3770" y="2675"/>
                </a:lnTo>
                <a:lnTo>
                  <a:pt x="3767" y="2679"/>
                </a:lnTo>
                <a:lnTo>
                  <a:pt x="3765" y="2684"/>
                </a:lnTo>
                <a:lnTo>
                  <a:pt x="3763" y="2690"/>
                </a:lnTo>
                <a:lnTo>
                  <a:pt x="3762" y="2697"/>
                </a:lnTo>
                <a:lnTo>
                  <a:pt x="3762" y="2705"/>
                </a:lnTo>
                <a:lnTo>
                  <a:pt x="3763" y="2708"/>
                </a:lnTo>
                <a:lnTo>
                  <a:pt x="3762" y="2711"/>
                </a:lnTo>
                <a:lnTo>
                  <a:pt x="3759" y="2716"/>
                </a:lnTo>
                <a:lnTo>
                  <a:pt x="3752" y="2727"/>
                </a:lnTo>
                <a:lnTo>
                  <a:pt x="3744" y="2740"/>
                </a:lnTo>
                <a:lnTo>
                  <a:pt x="3740" y="2746"/>
                </a:lnTo>
                <a:lnTo>
                  <a:pt x="3734" y="2751"/>
                </a:lnTo>
                <a:lnTo>
                  <a:pt x="3728" y="2755"/>
                </a:lnTo>
                <a:lnTo>
                  <a:pt x="3722" y="2758"/>
                </a:lnTo>
                <a:lnTo>
                  <a:pt x="3715" y="2761"/>
                </a:lnTo>
                <a:lnTo>
                  <a:pt x="3706" y="2763"/>
                </a:lnTo>
                <a:lnTo>
                  <a:pt x="3698" y="2763"/>
                </a:lnTo>
                <a:lnTo>
                  <a:pt x="3688" y="2764"/>
                </a:lnTo>
                <a:lnTo>
                  <a:pt x="3680" y="2764"/>
                </a:lnTo>
                <a:lnTo>
                  <a:pt x="3673" y="2765"/>
                </a:lnTo>
                <a:lnTo>
                  <a:pt x="3668" y="2766"/>
                </a:lnTo>
                <a:lnTo>
                  <a:pt x="3663" y="2767"/>
                </a:lnTo>
                <a:lnTo>
                  <a:pt x="3657" y="2771"/>
                </a:lnTo>
                <a:lnTo>
                  <a:pt x="3650" y="2776"/>
                </a:lnTo>
                <a:lnTo>
                  <a:pt x="3643" y="2779"/>
                </a:lnTo>
                <a:lnTo>
                  <a:pt x="3639" y="2779"/>
                </a:lnTo>
                <a:lnTo>
                  <a:pt x="3629" y="2770"/>
                </a:lnTo>
                <a:lnTo>
                  <a:pt x="3617" y="2759"/>
                </a:lnTo>
                <a:lnTo>
                  <a:pt x="3613" y="2756"/>
                </a:lnTo>
                <a:lnTo>
                  <a:pt x="3607" y="2753"/>
                </a:lnTo>
                <a:lnTo>
                  <a:pt x="3598" y="2751"/>
                </a:lnTo>
                <a:lnTo>
                  <a:pt x="3593" y="2751"/>
                </a:lnTo>
                <a:lnTo>
                  <a:pt x="3590" y="2752"/>
                </a:lnTo>
                <a:lnTo>
                  <a:pt x="3586" y="2750"/>
                </a:lnTo>
                <a:lnTo>
                  <a:pt x="3582" y="2749"/>
                </a:lnTo>
                <a:lnTo>
                  <a:pt x="3576" y="2746"/>
                </a:lnTo>
                <a:lnTo>
                  <a:pt x="3567" y="2741"/>
                </a:lnTo>
                <a:lnTo>
                  <a:pt x="3563" y="2735"/>
                </a:lnTo>
                <a:lnTo>
                  <a:pt x="3560" y="2726"/>
                </a:lnTo>
                <a:lnTo>
                  <a:pt x="3553" y="2707"/>
                </a:lnTo>
                <a:lnTo>
                  <a:pt x="3550" y="2697"/>
                </a:lnTo>
                <a:lnTo>
                  <a:pt x="3548" y="2686"/>
                </a:lnTo>
                <a:lnTo>
                  <a:pt x="3547" y="2678"/>
                </a:lnTo>
                <a:lnTo>
                  <a:pt x="3548" y="2671"/>
                </a:lnTo>
                <a:lnTo>
                  <a:pt x="3553" y="2659"/>
                </a:lnTo>
                <a:lnTo>
                  <a:pt x="3559" y="2645"/>
                </a:lnTo>
                <a:lnTo>
                  <a:pt x="3563" y="2632"/>
                </a:lnTo>
                <a:lnTo>
                  <a:pt x="3564" y="2621"/>
                </a:lnTo>
                <a:lnTo>
                  <a:pt x="3560" y="2605"/>
                </a:lnTo>
                <a:lnTo>
                  <a:pt x="3556" y="2596"/>
                </a:lnTo>
                <a:lnTo>
                  <a:pt x="3555" y="2593"/>
                </a:lnTo>
                <a:lnTo>
                  <a:pt x="3553" y="2588"/>
                </a:lnTo>
                <a:lnTo>
                  <a:pt x="3553" y="2584"/>
                </a:lnTo>
                <a:lnTo>
                  <a:pt x="3553" y="2580"/>
                </a:lnTo>
                <a:lnTo>
                  <a:pt x="3555" y="2577"/>
                </a:lnTo>
                <a:lnTo>
                  <a:pt x="3558" y="2575"/>
                </a:lnTo>
                <a:lnTo>
                  <a:pt x="3565" y="2570"/>
                </a:lnTo>
                <a:lnTo>
                  <a:pt x="3571" y="2566"/>
                </a:lnTo>
                <a:lnTo>
                  <a:pt x="3574" y="2564"/>
                </a:lnTo>
                <a:lnTo>
                  <a:pt x="3577" y="2561"/>
                </a:lnTo>
                <a:lnTo>
                  <a:pt x="3581" y="2561"/>
                </a:lnTo>
                <a:lnTo>
                  <a:pt x="3584" y="2561"/>
                </a:lnTo>
                <a:lnTo>
                  <a:pt x="3590" y="2564"/>
                </a:lnTo>
                <a:lnTo>
                  <a:pt x="3595" y="2565"/>
                </a:lnTo>
                <a:lnTo>
                  <a:pt x="3602" y="2565"/>
                </a:lnTo>
                <a:lnTo>
                  <a:pt x="3608" y="2565"/>
                </a:lnTo>
                <a:lnTo>
                  <a:pt x="3625" y="2562"/>
                </a:lnTo>
                <a:lnTo>
                  <a:pt x="3639" y="2562"/>
                </a:lnTo>
                <a:lnTo>
                  <a:pt x="3644" y="2565"/>
                </a:lnTo>
                <a:lnTo>
                  <a:pt x="3651" y="2567"/>
                </a:lnTo>
                <a:lnTo>
                  <a:pt x="3659" y="2569"/>
                </a:lnTo>
                <a:lnTo>
                  <a:pt x="3670" y="2569"/>
                </a:lnTo>
                <a:lnTo>
                  <a:pt x="3683" y="2569"/>
                </a:lnTo>
                <a:lnTo>
                  <a:pt x="3701" y="2568"/>
                </a:lnTo>
                <a:lnTo>
                  <a:pt x="3717" y="2568"/>
                </a:lnTo>
                <a:lnTo>
                  <a:pt x="3724" y="2566"/>
                </a:lnTo>
                <a:lnTo>
                  <a:pt x="3727" y="2558"/>
                </a:lnTo>
                <a:lnTo>
                  <a:pt x="3734" y="2543"/>
                </a:lnTo>
                <a:lnTo>
                  <a:pt x="3736" y="2534"/>
                </a:lnTo>
                <a:lnTo>
                  <a:pt x="3738" y="2525"/>
                </a:lnTo>
                <a:lnTo>
                  <a:pt x="3738" y="2516"/>
                </a:lnTo>
                <a:lnTo>
                  <a:pt x="3737" y="2510"/>
                </a:lnTo>
                <a:lnTo>
                  <a:pt x="3732" y="2496"/>
                </a:lnTo>
                <a:lnTo>
                  <a:pt x="3729" y="2485"/>
                </a:lnTo>
                <a:lnTo>
                  <a:pt x="3728" y="2479"/>
                </a:lnTo>
                <a:lnTo>
                  <a:pt x="3726" y="2474"/>
                </a:lnTo>
                <a:lnTo>
                  <a:pt x="3723" y="2470"/>
                </a:lnTo>
                <a:lnTo>
                  <a:pt x="3720" y="2468"/>
                </a:lnTo>
                <a:lnTo>
                  <a:pt x="3706" y="2457"/>
                </a:lnTo>
                <a:lnTo>
                  <a:pt x="3684" y="2436"/>
                </a:lnTo>
                <a:lnTo>
                  <a:pt x="3663" y="2417"/>
                </a:lnTo>
                <a:lnTo>
                  <a:pt x="3654" y="2408"/>
                </a:lnTo>
                <a:lnTo>
                  <a:pt x="3660" y="2404"/>
                </a:lnTo>
                <a:lnTo>
                  <a:pt x="3672" y="2400"/>
                </a:lnTo>
                <a:lnTo>
                  <a:pt x="3682" y="2402"/>
                </a:lnTo>
                <a:lnTo>
                  <a:pt x="3700" y="2408"/>
                </a:lnTo>
                <a:lnTo>
                  <a:pt x="3708" y="2411"/>
                </a:lnTo>
                <a:lnTo>
                  <a:pt x="3716" y="2413"/>
                </a:lnTo>
                <a:lnTo>
                  <a:pt x="3718" y="2413"/>
                </a:lnTo>
                <a:lnTo>
                  <a:pt x="3719" y="2413"/>
                </a:lnTo>
                <a:lnTo>
                  <a:pt x="3720" y="2413"/>
                </a:lnTo>
                <a:lnTo>
                  <a:pt x="3719" y="2412"/>
                </a:lnTo>
                <a:lnTo>
                  <a:pt x="3717" y="2408"/>
                </a:lnTo>
                <a:lnTo>
                  <a:pt x="3716" y="2403"/>
                </a:lnTo>
                <a:lnTo>
                  <a:pt x="3714" y="2399"/>
                </a:lnTo>
                <a:lnTo>
                  <a:pt x="3713" y="2394"/>
                </a:lnTo>
                <a:lnTo>
                  <a:pt x="3713" y="2389"/>
                </a:lnTo>
                <a:lnTo>
                  <a:pt x="3713" y="2385"/>
                </a:lnTo>
                <a:lnTo>
                  <a:pt x="3714" y="2382"/>
                </a:lnTo>
                <a:lnTo>
                  <a:pt x="3715" y="2381"/>
                </a:lnTo>
                <a:lnTo>
                  <a:pt x="3730" y="2379"/>
                </a:lnTo>
                <a:lnTo>
                  <a:pt x="3745" y="2379"/>
                </a:lnTo>
                <a:lnTo>
                  <a:pt x="3752" y="2378"/>
                </a:lnTo>
                <a:lnTo>
                  <a:pt x="3765" y="2374"/>
                </a:lnTo>
                <a:lnTo>
                  <a:pt x="3772" y="2372"/>
                </a:lnTo>
                <a:lnTo>
                  <a:pt x="3778" y="2369"/>
                </a:lnTo>
                <a:lnTo>
                  <a:pt x="3783" y="2366"/>
                </a:lnTo>
                <a:lnTo>
                  <a:pt x="3785" y="2363"/>
                </a:lnTo>
                <a:lnTo>
                  <a:pt x="3790" y="2356"/>
                </a:lnTo>
                <a:lnTo>
                  <a:pt x="3797" y="2345"/>
                </a:lnTo>
                <a:lnTo>
                  <a:pt x="3805" y="2334"/>
                </a:lnTo>
                <a:lnTo>
                  <a:pt x="3811" y="2328"/>
                </a:lnTo>
                <a:lnTo>
                  <a:pt x="3814" y="2324"/>
                </a:lnTo>
                <a:lnTo>
                  <a:pt x="3818" y="2317"/>
                </a:lnTo>
                <a:lnTo>
                  <a:pt x="3822" y="2314"/>
                </a:lnTo>
                <a:lnTo>
                  <a:pt x="3825" y="2310"/>
                </a:lnTo>
                <a:lnTo>
                  <a:pt x="3829" y="2307"/>
                </a:lnTo>
                <a:lnTo>
                  <a:pt x="3834" y="2303"/>
                </a:lnTo>
                <a:lnTo>
                  <a:pt x="3839" y="2297"/>
                </a:lnTo>
                <a:lnTo>
                  <a:pt x="3846" y="2288"/>
                </a:lnTo>
                <a:lnTo>
                  <a:pt x="3852" y="2277"/>
                </a:lnTo>
                <a:lnTo>
                  <a:pt x="3858" y="2265"/>
                </a:lnTo>
                <a:lnTo>
                  <a:pt x="3868" y="2244"/>
                </a:lnTo>
                <a:lnTo>
                  <a:pt x="3872" y="2233"/>
                </a:lnTo>
                <a:lnTo>
                  <a:pt x="3875" y="2227"/>
                </a:lnTo>
                <a:lnTo>
                  <a:pt x="3883" y="2215"/>
                </a:lnTo>
                <a:lnTo>
                  <a:pt x="3888" y="2207"/>
                </a:lnTo>
                <a:lnTo>
                  <a:pt x="3892" y="2201"/>
                </a:lnTo>
                <a:lnTo>
                  <a:pt x="3895" y="2198"/>
                </a:lnTo>
                <a:lnTo>
                  <a:pt x="3897" y="2198"/>
                </a:lnTo>
                <a:lnTo>
                  <a:pt x="3897" y="2205"/>
                </a:lnTo>
                <a:lnTo>
                  <a:pt x="3896" y="2219"/>
                </a:lnTo>
                <a:lnTo>
                  <a:pt x="3895" y="2224"/>
                </a:lnTo>
                <a:lnTo>
                  <a:pt x="3895" y="2229"/>
                </a:lnTo>
                <a:lnTo>
                  <a:pt x="3896" y="2231"/>
                </a:lnTo>
                <a:lnTo>
                  <a:pt x="3896" y="2232"/>
                </a:lnTo>
                <a:lnTo>
                  <a:pt x="3897" y="2232"/>
                </a:lnTo>
                <a:lnTo>
                  <a:pt x="3899" y="2232"/>
                </a:lnTo>
                <a:lnTo>
                  <a:pt x="3905" y="2228"/>
                </a:lnTo>
                <a:lnTo>
                  <a:pt x="3911" y="2223"/>
                </a:lnTo>
                <a:lnTo>
                  <a:pt x="3915" y="2218"/>
                </a:lnTo>
                <a:lnTo>
                  <a:pt x="3919" y="2213"/>
                </a:lnTo>
                <a:lnTo>
                  <a:pt x="3923" y="2205"/>
                </a:lnTo>
                <a:lnTo>
                  <a:pt x="3927" y="2191"/>
                </a:lnTo>
                <a:lnTo>
                  <a:pt x="3929" y="2183"/>
                </a:lnTo>
                <a:lnTo>
                  <a:pt x="3932" y="2175"/>
                </a:lnTo>
                <a:lnTo>
                  <a:pt x="3932" y="2166"/>
                </a:lnTo>
                <a:lnTo>
                  <a:pt x="3931" y="2160"/>
                </a:lnTo>
                <a:lnTo>
                  <a:pt x="3929" y="2153"/>
                </a:lnTo>
                <a:lnTo>
                  <a:pt x="3928" y="2144"/>
                </a:lnTo>
                <a:lnTo>
                  <a:pt x="3929" y="2135"/>
                </a:lnTo>
                <a:lnTo>
                  <a:pt x="3931" y="2127"/>
                </a:lnTo>
                <a:lnTo>
                  <a:pt x="3933" y="2118"/>
                </a:lnTo>
                <a:lnTo>
                  <a:pt x="3935" y="2111"/>
                </a:lnTo>
                <a:lnTo>
                  <a:pt x="3937" y="2106"/>
                </a:lnTo>
                <a:lnTo>
                  <a:pt x="3939" y="2103"/>
                </a:lnTo>
                <a:lnTo>
                  <a:pt x="3948" y="2094"/>
                </a:lnTo>
                <a:lnTo>
                  <a:pt x="3962" y="2083"/>
                </a:lnTo>
                <a:lnTo>
                  <a:pt x="3969" y="2076"/>
                </a:lnTo>
                <a:lnTo>
                  <a:pt x="3976" y="2072"/>
                </a:lnTo>
                <a:lnTo>
                  <a:pt x="3978" y="2071"/>
                </a:lnTo>
                <a:lnTo>
                  <a:pt x="3980" y="2071"/>
                </a:lnTo>
                <a:lnTo>
                  <a:pt x="3982" y="2071"/>
                </a:lnTo>
                <a:lnTo>
                  <a:pt x="3983" y="2073"/>
                </a:lnTo>
                <a:lnTo>
                  <a:pt x="3987" y="2086"/>
                </a:lnTo>
                <a:lnTo>
                  <a:pt x="3995" y="2103"/>
                </a:lnTo>
                <a:lnTo>
                  <a:pt x="4001" y="2111"/>
                </a:lnTo>
                <a:lnTo>
                  <a:pt x="4005" y="2117"/>
                </a:lnTo>
                <a:lnTo>
                  <a:pt x="4008" y="2119"/>
                </a:lnTo>
                <a:lnTo>
                  <a:pt x="4010" y="2120"/>
                </a:lnTo>
                <a:lnTo>
                  <a:pt x="4012" y="2120"/>
                </a:lnTo>
                <a:lnTo>
                  <a:pt x="4014" y="2119"/>
                </a:lnTo>
                <a:lnTo>
                  <a:pt x="4020" y="2114"/>
                </a:lnTo>
                <a:lnTo>
                  <a:pt x="4022" y="2111"/>
                </a:lnTo>
                <a:lnTo>
                  <a:pt x="4022" y="2108"/>
                </a:lnTo>
                <a:lnTo>
                  <a:pt x="4021" y="2105"/>
                </a:lnTo>
                <a:lnTo>
                  <a:pt x="4014" y="2091"/>
                </a:lnTo>
                <a:lnTo>
                  <a:pt x="4007" y="2074"/>
                </a:lnTo>
                <a:lnTo>
                  <a:pt x="4005" y="2062"/>
                </a:lnTo>
                <a:lnTo>
                  <a:pt x="4002" y="2044"/>
                </a:lnTo>
                <a:lnTo>
                  <a:pt x="3999" y="2027"/>
                </a:lnTo>
                <a:lnTo>
                  <a:pt x="3998" y="2019"/>
                </a:lnTo>
                <a:lnTo>
                  <a:pt x="3994" y="2018"/>
                </a:lnTo>
                <a:lnTo>
                  <a:pt x="3991" y="2017"/>
                </a:lnTo>
                <a:lnTo>
                  <a:pt x="3988" y="2017"/>
                </a:lnTo>
                <a:lnTo>
                  <a:pt x="3986" y="2018"/>
                </a:lnTo>
                <a:lnTo>
                  <a:pt x="3983" y="2019"/>
                </a:lnTo>
                <a:lnTo>
                  <a:pt x="3981" y="2021"/>
                </a:lnTo>
                <a:lnTo>
                  <a:pt x="3975" y="2027"/>
                </a:lnTo>
                <a:lnTo>
                  <a:pt x="3966" y="2038"/>
                </a:lnTo>
                <a:lnTo>
                  <a:pt x="3956" y="2048"/>
                </a:lnTo>
                <a:lnTo>
                  <a:pt x="3945" y="2056"/>
                </a:lnTo>
                <a:lnTo>
                  <a:pt x="3940" y="2060"/>
                </a:lnTo>
                <a:lnTo>
                  <a:pt x="3934" y="2062"/>
                </a:lnTo>
                <a:lnTo>
                  <a:pt x="3928" y="2063"/>
                </a:lnTo>
                <a:lnTo>
                  <a:pt x="3923" y="2064"/>
                </a:lnTo>
                <a:lnTo>
                  <a:pt x="3915" y="2064"/>
                </a:lnTo>
                <a:lnTo>
                  <a:pt x="3910" y="2064"/>
                </a:lnTo>
                <a:lnTo>
                  <a:pt x="3905" y="2061"/>
                </a:lnTo>
                <a:lnTo>
                  <a:pt x="3899" y="2053"/>
                </a:lnTo>
                <a:lnTo>
                  <a:pt x="3890" y="2042"/>
                </a:lnTo>
                <a:lnTo>
                  <a:pt x="3880" y="2029"/>
                </a:lnTo>
                <a:lnTo>
                  <a:pt x="3871" y="2016"/>
                </a:lnTo>
                <a:lnTo>
                  <a:pt x="3863" y="2003"/>
                </a:lnTo>
                <a:lnTo>
                  <a:pt x="3860" y="1998"/>
                </a:lnTo>
                <a:lnTo>
                  <a:pt x="3857" y="1993"/>
                </a:lnTo>
                <a:lnTo>
                  <a:pt x="3856" y="1988"/>
                </a:lnTo>
                <a:lnTo>
                  <a:pt x="3856" y="1985"/>
                </a:lnTo>
                <a:lnTo>
                  <a:pt x="3859" y="1979"/>
                </a:lnTo>
                <a:lnTo>
                  <a:pt x="3862" y="1975"/>
                </a:lnTo>
                <a:lnTo>
                  <a:pt x="3865" y="1973"/>
                </a:lnTo>
                <a:lnTo>
                  <a:pt x="3865" y="1972"/>
                </a:lnTo>
                <a:lnTo>
                  <a:pt x="3865" y="1969"/>
                </a:lnTo>
                <a:lnTo>
                  <a:pt x="3863" y="1968"/>
                </a:lnTo>
                <a:lnTo>
                  <a:pt x="3859" y="1963"/>
                </a:lnTo>
                <a:lnTo>
                  <a:pt x="3857" y="1957"/>
                </a:lnTo>
                <a:lnTo>
                  <a:pt x="3855" y="1951"/>
                </a:lnTo>
                <a:lnTo>
                  <a:pt x="3854" y="1945"/>
                </a:lnTo>
                <a:lnTo>
                  <a:pt x="3854" y="1939"/>
                </a:lnTo>
                <a:lnTo>
                  <a:pt x="3854" y="1930"/>
                </a:lnTo>
                <a:lnTo>
                  <a:pt x="3855" y="1921"/>
                </a:lnTo>
                <a:lnTo>
                  <a:pt x="3857" y="1917"/>
                </a:lnTo>
                <a:lnTo>
                  <a:pt x="3860" y="1910"/>
                </a:lnTo>
                <a:lnTo>
                  <a:pt x="3866" y="1896"/>
                </a:lnTo>
                <a:lnTo>
                  <a:pt x="3872" y="1882"/>
                </a:lnTo>
                <a:lnTo>
                  <a:pt x="3877" y="1873"/>
                </a:lnTo>
                <a:lnTo>
                  <a:pt x="3884" y="1862"/>
                </a:lnTo>
                <a:lnTo>
                  <a:pt x="3897" y="1844"/>
                </a:lnTo>
                <a:lnTo>
                  <a:pt x="3911" y="1825"/>
                </a:lnTo>
                <a:lnTo>
                  <a:pt x="3922" y="1812"/>
                </a:lnTo>
                <a:lnTo>
                  <a:pt x="3934" y="1802"/>
                </a:lnTo>
                <a:lnTo>
                  <a:pt x="3948" y="1788"/>
                </a:lnTo>
                <a:lnTo>
                  <a:pt x="3955" y="1782"/>
                </a:lnTo>
                <a:lnTo>
                  <a:pt x="3961" y="1777"/>
                </a:lnTo>
                <a:lnTo>
                  <a:pt x="3966" y="1774"/>
                </a:lnTo>
                <a:lnTo>
                  <a:pt x="3970" y="1772"/>
                </a:lnTo>
                <a:lnTo>
                  <a:pt x="3975" y="1771"/>
                </a:lnTo>
                <a:lnTo>
                  <a:pt x="3979" y="1769"/>
                </a:lnTo>
                <a:lnTo>
                  <a:pt x="3983" y="1763"/>
                </a:lnTo>
                <a:lnTo>
                  <a:pt x="3987" y="1753"/>
                </a:lnTo>
                <a:lnTo>
                  <a:pt x="3990" y="1747"/>
                </a:lnTo>
                <a:lnTo>
                  <a:pt x="3994" y="1744"/>
                </a:lnTo>
                <a:lnTo>
                  <a:pt x="3998" y="1742"/>
                </a:lnTo>
                <a:lnTo>
                  <a:pt x="4002" y="1741"/>
                </a:lnTo>
                <a:lnTo>
                  <a:pt x="4005" y="1740"/>
                </a:lnTo>
                <a:lnTo>
                  <a:pt x="4008" y="1738"/>
                </a:lnTo>
                <a:lnTo>
                  <a:pt x="4009" y="1735"/>
                </a:lnTo>
                <a:lnTo>
                  <a:pt x="4010" y="1730"/>
                </a:lnTo>
                <a:lnTo>
                  <a:pt x="4010" y="1714"/>
                </a:lnTo>
                <a:lnTo>
                  <a:pt x="4011" y="1698"/>
                </a:lnTo>
                <a:lnTo>
                  <a:pt x="4011" y="1691"/>
                </a:lnTo>
                <a:lnTo>
                  <a:pt x="4012" y="1686"/>
                </a:lnTo>
                <a:lnTo>
                  <a:pt x="4013" y="1681"/>
                </a:lnTo>
                <a:lnTo>
                  <a:pt x="4015" y="1679"/>
                </a:lnTo>
                <a:lnTo>
                  <a:pt x="4020" y="1672"/>
                </a:lnTo>
                <a:lnTo>
                  <a:pt x="4025" y="1660"/>
                </a:lnTo>
                <a:lnTo>
                  <a:pt x="4028" y="1654"/>
                </a:lnTo>
                <a:lnTo>
                  <a:pt x="4031" y="1648"/>
                </a:lnTo>
                <a:lnTo>
                  <a:pt x="4035" y="1643"/>
                </a:lnTo>
                <a:lnTo>
                  <a:pt x="4038" y="1638"/>
                </a:lnTo>
                <a:lnTo>
                  <a:pt x="4048" y="1631"/>
                </a:lnTo>
                <a:lnTo>
                  <a:pt x="4056" y="1620"/>
                </a:lnTo>
                <a:lnTo>
                  <a:pt x="4064" y="1609"/>
                </a:lnTo>
                <a:lnTo>
                  <a:pt x="4069" y="1603"/>
                </a:lnTo>
                <a:lnTo>
                  <a:pt x="4072" y="1596"/>
                </a:lnTo>
                <a:lnTo>
                  <a:pt x="4077" y="1588"/>
                </a:lnTo>
                <a:lnTo>
                  <a:pt x="4081" y="1580"/>
                </a:lnTo>
                <a:lnTo>
                  <a:pt x="4082" y="1574"/>
                </a:lnTo>
                <a:lnTo>
                  <a:pt x="4080" y="1571"/>
                </a:lnTo>
                <a:lnTo>
                  <a:pt x="4078" y="1566"/>
                </a:lnTo>
                <a:lnTo>
                  <a:pt x="4076" y="1564"/>
                </a:lnTo>
                <a:lnTo>
                  <a:pt x="4075" y="1563"/>
                </a:lnTo>
                <a:lnTo>
                  <a:pt x="4073" y="1563"/>
                </a:lnTo>
                <a:lnTo>
                  <a:pt x="4071" y="1564"/>
                </a:lnTo>
                <a:lnTo>
                  <a:pt x="4061" y="1570"/>
                </a:lnTo>
                <a:lnTo>
                  <a:pt x="4053" y="1576"/>
                </a:lnTo>
                <a:lnTo>
                  <a:pt x="4050" y="1577"/>
                </a:lnTo>
                <a:lnTo>
                  <a:pt x="4046" y="1577"/>
                </a:lnTo>
                <a:lnTo>
                  <a:pt x="4044" y="1578"/>
                </a:lnTo>
                <a:lnTo>
                  <a:pt x="4042" y="1579"/>
                </a:lnTo>
                <a:lnTo>
                  <a:pt x="4041" y="1581"/>
                </a:lnTo>
                <a:lnTo>
                  <a:pt x="4039" y="1584"/>
                </a:lnTo>
                <a:lnTo>
                  <a:pt x="4042" y="1595"/>
                </a:lnTo>
                <a:lnTo>
                  <a:pt x="4043" y="1600"/>
                </a:lnTo>
                <a:lnTo>
                  <a:pt x="4041" y="1600"/>
                </a:lnTo>
                <a:lnTo>
                  <a:pt x="4036" y="1600"/>
                </a:lnTo>
                <a:lnTo>
                  <a:pt x="4032" y="1600"/>
                </a:lnTo>
                <a:lnTo>
                  <a:pt x="4029" y="1598"/>
                </a:lnTo>
                <a:lnTo>
                  <a:pt x="4026" y="1593"/>
                </a:lnTo>
                <a:lnTo>
                  <a:pt x="4025" y="1587"/>
                </a:lnTo>
                <a:lnTo>
                  <a:pt x="4024" y="1583"/>
                </a:lnTo>
                <a:lnTo>
                  <a:pt x="4025" y="1579"/>
                </a:lnTo>
                <a:lnTo>
                  <a:pt x="4027" y="1574"/>
                </a:lnTo>
                <a:lnTo>
                  <a:pt x="4029" y="1570"/>
                </a:lnTo>
                <a:lnTo>
                  <a:pt x="4047" y="1555"/>
                </a:lnTo>
                <a:lnTo>
                  <a:pt x="4060" y="1542"/>
                </a:lnTo>
                <a:lnTo>
                  <a:pt x="4063" y="1537"/>
                </a:lnTo>
                <a:lnTo>
                  <a:pt x="4066" y="1528"/>
                </a:lnTo>
                <a:lnTo>
                  <a:pt x="4068" y="1524"/>
                </a:lnTo>
                <a:lnTo>
                  <a:pt x="4070" y="1519"/>
                </a:lnTo>
                <a:lnTo>
                  <a:pt x="4073" y="1515"/>
                </a:lnTo>
                <a:lnTo>
                  <a:pt x="4077" y="1511"/>
                </a:lnTo>
                <a:lnTo>
                  <a:pt x="4094" y="1495"/>
                </a:lnTo>
                <a:lnTo>
                  <a:pt x="4104" y="1486"/>
                </a:lnTo>
                <a:lnTo>
                  <a:pt x="4108" y="1486"/>
                </a:lnTo>
                <a:lnTo>
                  <a:pt x="4113" y="1486"/>
                </a:lnTo>
                <a:lnTo>
                  <a:pt x="4118" y="1485"/>
                </a:lnTo>
                <a:lnTo>
                  <a:pt x="4124" y="1482"/>
                </a:lnTo>
                <a:lnTo>
                  <a:pt x="4141" y="1469"/>
                </a:lnTo>
                <a:lnTo>
                  <a:pt x="4156" y="1456"/>
                </a:lnTo>
                <a:lnTo>
                  <a:pt x="4160" y="1449"/>
                </a:lnTo>
                <a:lnTo>
                  <a:pt x="4164" y="1438"/>
                </a:lnTo>
                <a:lnTo>
                  <a:pt x="4169" y="1431"/>
                </a:lnTo>
                <a:lnTo>
                  <a:pt x="4175" y="1425"/>
                </a:lnTo>
                <a:lnTo>
                  <a:pt x="4178" y="1423"/>
                </a:lnTo>
                <a:lnTo>
                  <a:pt x="4180" y="1420"/>
                </a:lnTo>
                <a:lnTo>
                  <a:pt x="4183" y="1420"/>
                </a:lnTo>
                <a:lnTo>
                  <a:pt x="4185" y="1420"/>
                </a:lnTo>
                <a:lnTo>
                  <a:pt x="4200" y="1421"/>
                </a:lnTo>
                <a:lnTo>
                  <a:pt x="4213" y="1424"/>
                </a:lnTo>
                <a:lnTo>
                  <a:pt x="4216" y="1425"/>
                </a:lnTo>
                <a:lnTo>
                  <a:pt x="4218" y="1426"/>
                </a:lnTo>
                <a:lnTo>
                  <a:pt x="4219" y="1426"/>
                </a:lnTo>
                <a:lnTo>
                  <a:pt x="4221" y="1426"/>
                </a:lnTo>
                <a:lnTo>
                  <a:pt x="4224" y="1424"/>
                </a:lnTo>
                <a:lnTo>
                  <a:pt x="4228" y="1419"/>
                </a:lnTo>
                <a:lnTo>
                  <a:pt x="4238" y="1409"/>
                </a:lnTo>
                <a:lnTo>
                  <a:pt x="4248" y="1399"/>
                </a:lnTo>
                <a:lnTo>
                  <a:pt x="4263" y="1395"/>
                </a:lnTo>
                <a:lnTo>
                  <a:pt x="4289" y="1388"/>
                </a:lnTo>
                <a:lnTo>
                  <a:pt x="4304" y="1385"/>
                </a:lnTo>
                <a:lnTo>
                  <a:pt x="4316" y="1383"/>
                </a:lnTo>
                <a:lnTo>
                  <a:pt x="4321" y="1382"/>
                </a:lnTo>
                <a:lnTo>
                  <a:pt x="4326" y="1382"/>
                </a:lnTo>
                <a:lnTo>
                  <a:pt x="4329" y="1383"/>
                </a:lnTo>
                <a:lnTo>
                  <a:pt x="4331" y="1384"/>
                </a:lnTo>
                <a:lnTo>
                  <a:pt x="4335" y="1386"/>
                </a:lnTo>
                <a:lnTo>
                  <a:pt x="4342" y="1387"/>
                </a:lnTo>
                <a:lnTo>
                  <a:pt x="4351" y="1387"/>
                </a:lnTo>
                <a:lnTo>
                  <a:pt x="4359" y="1387"/>
                </a:lnTo>
                <a:lnTo>
                  <a:pt x="4375" y="1386"/>
                </a:lnTo>
                <a:lnTo>
                  <a:pt x="4381" y="1386"/>
                </a:lnTo>
                <a:lnTo>
                  <a:pt x="4384" y="1386"/>
                </a:lnTo>
                <a:lnTo>
                  <a:pt x="4389" y="1387"/>
                </a:lnTo>
                <a:lnTo>
                  <a:pt x="4394" y="1388"/>
                </a:lnTo>
                <a:lnTo>
                  <a:pt x="4397" y="1389"/>
                </a:lnTo>
                <a:lnTo>
                  <a:pt x="4401" y="1391"/>
                </a:lnTo>
                <a:lnTo>
                  <a:pt x="4404" y="1394"/>
                </a:lnTo>
                <a:lnTo>
                  <a:pt x="4416" y="1401"/>
                </a:lnTo>
                <a:lnTo>
                  <a:pt x="4431" y="1408"/>
                </a:lnTo>
                <a:lnTo>
                  <a:pt x="4436" y="1411"/>
                </a:lnTo>
                <a:lnTo>
                  <a:pt x="4439" y="1413"/>
                </a:lnTo>
                <a:lnTo>
                  <a:pt x="4441" y="1415"/>
                </a:lnTo>
                <a:lnTo>
                  <a:pt x="4442" y="1418"/>
                </a:lnTo>
                <a:lnTo>
                  <a:pt x="4442" y="1421"/>
                </a:lnTo>
                <a:lnTo>
                  <a:pt x="4442" y="1424"/>
                </a:lnTo>
                <a:lnTo>
                  <a:pt x="4440" y="1428"/>
                </a:lnTo>
                <a:lnTo>
                  <a:pt x="4436" y="1431"/>
                </a:lnTo>
                <a:lnTo>
                  <a:pt x="4428" y="1437"/>
                </a:lnTo>
                <a:lnTo>
                  <a:pt x="4423" y="1442"/>
                </a:lnTo>
                <a:lnTo>
                  <a:pt x="4420" y="1447"/>
                </a:lnTo>
                <a:lnTo>
                  <a:pt x="4418" y="1451"/>
                </a:lnTo>
                <a:lnTo>
                  <a:pt x="4417" y="1455"/>
                </a:lnTo>
                <a:lnTo>
                  <a:pt x="4418" y="1456"/>
                </a:lnTo>
                <a:lnTo>
                  <a:pt x="4419" y="1459"/>
                </a:lnTo>
                <a:lnTo>
                  <a:pt x="4424" y="1463"/>
                </a:lnTo>
                <a:lnTo>
                  <a:pt x="4427" y="1465"/>
                </a:lnTo>
                <a:lnTo>
                  <a:pt x="4432" y="1467"/>
                </a:lnTo>
                <a:lnTo>
                  <a:pt x="4438" y="1465"/>
                </a:lnTo>
                <a:lnTo>
                  <a:pt x="4443" y="1461"/>
                </a:lnTo>
                <a:lnTo>
                  <a:pt x="4449" y="1457"/>
                </a:lnTo>
                <a:lnTo>
                  <a:pt x="4454" y="1455"/>
                </a:lnTo>
                <a:lnTo>
                  <a:pt x="4459" y="1454"/>
                </a:lnTo>
                <a:lnTo>
                  <a:pt x="4463" y="1454"/>
                </a:lnTo>
                <a:lnTo>
                  <a:pt x="4471" y="1456"/>
                </a:lnTo>
                <a:lnTo>
                  <a:pt x="4478" y="1461"/>
                </a:lnTo>
                <a:lnTo>
                  <a:pt x="4491" y="1467"/>
                </a:lnTo>
                <a:lnTo>
                  <a:pt x="4508" y="1470"/>
                </a:lnTo>
                <a:lnTo>
                  <a:pt x="4517" y="1473"/>
                </a:lnTo>
                <a:lnTo>
                  <a:pt x="4526" y="1475"/>
                </a:lnTo>
                <a:lnTo>
                  <a:pt x="4533" y="1478"/>
                </a:lnTo>
                <a:lnTo>
                  <a:pt x="4538" y="1482"/>
                </a:lnTo>
                <a:lnTo>
                  <a:pt x="4551" y="1492"/>
                </a:lnTo>
                <a:lnTo>
                  <a:pt x="4568" y="1502"/>
                </a:lnTo>
                <a:lnTo>
                  <a:pt x="4585" y="1514"/>
                </a:lnTo>
                <a:lnTo>
                  <a:pt x="4600" y="1525"/>
                </a:lnTo>
                <a:lnTo>
                  <a:pt x="4611" y="1538"/>
                </a:lnTo>
                <a:lnTo>
                  <a:pt x="4621" y="1551"/>
                </a:lnTo>
                <a:lnTo>
                  <a:pt x="4629" y="1564"/>
                </a:lnTo>
                <a:lnTo>
                  <a:pt x="4637" y="1572"/>
                </a:lnTo>
                <a:lnTo>
                  <a:pt x="4644" y="1577"/>
                </a:lnTo>
                <a:lnTo>
                  <a:pt x="4652" y="1582"/>
                </a:lnTo>
                <a:lnTo>
                  <a:pt x="4657" y="1584"/>
                </a:lnTo>
                <a:lnTo>
                  <a:pt x="4660" y="1587"/>
                </a:lnTo>
                <a:lnTo>
                  <a:pt x="4664" y="1591"/>
                </a:lnTo>
                <a:lnTo>
                  <a:pt x="4666" y="1595"/>
                </a:lnTo>
                <a:lnTo>
                  <a:pt x="4668" y="1601"/>
                </a:lnTo>
                <a:lnTo>
                  <a:pt x="4669" y="1606"/>
                </a:lnTo>
                <a:lnTo>
                  <a:pt x="4668" y="1611"/>
                </a:lnTo>
                <a:lnTo>
                  <a:pt x="4667" y="1616"/>
                </a:lnTo>
                <a:lnTo>
                  <a:pt x="4664" y="1626"/>
                </a:lnTo>
                <a:lnTo>
                  <a:pt x="4661" y="1635"/>
                </a:lnTo>
                <a:lnTo>
                  <a:pt x="4659" y="1639"/>
                </a:lnTo>
                <a:lnTo>
                  <a:pt x="4655" y="1645"/>
                </a:lnTo>
                <a:lnTo>
                  <a:pt x="4650" y="1651"/>
                </a:lnTo>
                <a:lnTo>
                  <a:pt x="4645" y="1656"/>
                </a:lnTo>
                <a:lnTo>
                  <a:pt x="4634" y="1667"/>
                </a:lnTo>
                <a:lnTo>
                  <a:pt x="4626" y="1672"/>
                </a:lnTo>
                <a:lnTo>
                  <a:pt x="4621" y="1675"/>
                </a:lnTo>
                <a:lnTo>
                  <a:pt x="4614" y="1678"/>
                </a:lnTo>
                <a:lnTo>
                  <a:pt x="4606" y="1680"/>
                </a:lnTo>
                <a:lnTo>
                  <a:pt x="4601" y="1680"/>
                </a:lnTo>
                <a:lnTo>
                  <a:pt x="4595" y="1678"/>
                </a:lnTo>
                <a:lnTo>
                  <a:pt x="4585" y="1676"/>
                </a:lnTo>
                <a:lnTo>
                  <a:pt x="4575" y="1673"/>
                </a:lnTo>
                <a:lnTo>
                  <a:pt x="4565" y="1669"/>
                </a:lnTo>
                <a:lnTo>
                  <a:pt x="4550" y="1662"/>
                </a:lnTo>
                <a:lnTo>
                  <a:pt x="4527" y="1655"/>
                </a:lnTo>
                <a:lnTo>
                  <a:pt x="4506" y="1650"/>
                </a:lnTo>
                <a:lnTo>
                  <a:pt x="4496" y="1647"/>
                </a:lnTo>
                <a:lnTo>
                  <a:pt x="4493" y="1647"/>
                </a:lnTo>
                <a:lnTo>
                  <a:pt x="4488" y="1648"/>
                </a:lnTo>
                <a:lnTo>
                  <a:pt x="4486" y="1649"/>
                </a:lnTo>
                <a:lnTo>
                  <a:pt x="4484" y="1651"/>
                </a:lnTo>
                <a:lnTo>
                  <a:pt x="4484" y="1654"/>
                </a:lnTo>
                <a:lnTo>
                  <a:pt x="4486" y="1658"/>
                </a:lnTo>
                <a:lnTo>
                  <a:pt x="4490" y="1664"/>
                </a:lnTo>
                <a:lnTo>
                  <a:pt x="4494" y="1668"/>
                </a:lnTo>
                <a:lnTo>
                  <a:pt x="4499" y="1672"/>
                </a:lnTo>
                <a:lnTo>
                  <a:pt x="4504" y="1674"/>
                </a:lnTo>
                <a:lnTo>
                  <a:pt x="4512" y="1678"/>
                </a:lnTo>
                <a:lnTo>
                  <a:pt x="4516" y="1680"/>
                </a:lnTo>
                <a:lnTo>
                  <a:pt x="4519" y="1679"/>
                </a:lnTo>
                <a:lnTo>
                  <a:pt x="4527" y="1680"/>
                </a:lnTo>
                <a:lnTo>
                  <a:pt x="4530" y="1681"/>
                </a:lnTo>
                <a:lnTo>
                  <a:pt x="4531" y="1684"/>
                </a:lnTo>
                <a:lnTo>
                  <a:pt x="4532" y="1689"/>
                </a:lnTo>
                <a:lnTo>
                  <a:pt x="4529" y="1694"/>
                </a:lnTo>
                <a:lnTo>
                  <a:pt x="4522" y="1704"/>
                </a:lnTo>
                <a:lnTo>
                  <a:pt x="4519" y="1711"/>
                </a:lnTo>
                <a:lnTo>
                  <a:pt x="4518" y="1713"/>
                </a:lnTo>
                <a:lnTo>
                  <a:pt x="4518" y="1716"/>
                </a:lnTo>
                <a:lnTo>
                  <a:pt x="4519" y="1718"/>
                </a:lnTo>
                <a:lnTo>
                  <a:pt x="4520" y="1721"/>
                </a:lnTo>
                <a:lnTo>
                  <a:pt x="4525" y="1736"/>
                </a:lnTo>
                <a:lnTo>
                  <a:pt x="4527" y="1749"/>
                </a:lnTo>
                <a:lnTo>
                  <a:pt x="4529" y="1754"/>
                </a:lnTo>
                <a:lnTo>
                  <a:pt x="4532" y="1758"/>
                </a:lnTo>
                <a:lnTo>
                  <a:pt x="4536" y="1762"/>
                </a:lnTo>
                <a:lnTo>
                  <a:pt x="4542" y="1767"/>
                </a:lnTo>
                <a:lnTo>
                  <a:pt x="4550" y="1771"/>
                </a:lnTo>
                <a:lnTo>
                  <a:pt x="4556" y="1775"/>
                </a:lnTo>
                <a:lnTo>
                  <a:pt x="4559" y="1776"/>
                </a:lnTo>
                <a:lnTo>
                  <a:pt x="4561" y="1778"/>
                </a:lnTo>
                <a:lnTo>
                  <a:pt x="4563" y="1780"/>
                </a:lnTo>
                <a:lnTo>
                  <a:pt x="4563" y="1783"/>
                </a:lnTo>
                <a:lnTo>
                  <a:pt x="4563" y="1786"/>
                </a:lnTo>
                <a:lnTo>
                  <a:pt x="4564" y="1788"/>
                </a:lnTo>
                <a:lnTo>
                  <a:pt x="4566" y="1790"/>
                </a:lnTo>
                <a:lnTo>
                  <a:pt x="4568" y="1791"/>
                </a:lnTo>
                <a:lnTo>
                  <a:pt x="4572" y="1793"/>
                </a:lnTo>
                <a:lnTo>
                  <a:pt x="4575" y="1793"/>
                </a:lnTo>
                <a:lnTo>
                  <a:pt x="4579" y="1789"/>
                </a:lnTo>
                <a:lnTo>
                  <a:pt x="4584" y="1781"/>
                </a:lnTo>
                <a:lnTo>
                  <a:pt x="4586" y="1776"/>
                </a:lnTo>
                <a:lnTo>
                  <a:pt x="4587" y="1771"/>
                </a:lnTo>
                <a:lnTo>
                  <a:pt x="4589" y="1768"/>
                </a:lnTo>
                <a:lnTo>
                  <a:pt x="4587" y="1766"/>
                </a:lnTo>
                <a:lnTo>
                  <a:pt x="4576" y="1761"/>
                </a:lnTo>
                <a:lnTo>
                  <a:pt x="4560" y="1754"/>
                </a:lnTo>
                <a:lnTo>
                  <a:pt x="4556" y="1752"/>
                </a:lnTo>
                <a:lnTo>
                  <a:pt x="4554" y="1748"/>
                </a:lnTo>
                <a:lnTo>
                  <a:pt x="4553" y="1746"/>
                </a:lnTo>
                <a:lnTo>
                  <a:pt x="4552" y="1744"/>
                </a:lnTo>
                <a:lnTo>
                  <a:pt x="4552" y="1738"/>
                </a:lnTo>
                <a:lnTo>
                  <a:pt x="4553" y="1733"/>
                </a:lnTo>
                <a:lnTo>
                  <a:pt x="4554" y="1730"/>
                </a:lnTo>
                <a:lnTo>
                  <a:pt x="4555" y="1725"/>
                </a:lnTo>
                <a:lnTo>
                  <a:pt x="4556" y="1722"/>
                </a:lnTo>
                <a:lnTo>
                  <a:pt x="4558" y="1719"/>
                </a:lnTo>
                <a:lnTo>
                  <a:pt x="4561" y="1718"/>
                </a:lnTo>
                <a:lnTo>
                  <a:pt x="4564" y="1717"/>
                </a:lnTo>
                <a:lnTo>
                  <a:pt x="4570" y="1719"/>
                </a:lnTo>
                <a:lnTo>
                  <a:pt x="4576" y="1723"/>
                </a:lnTo>
                <a:lnTo>
                  <a:pt x="4597" y="1738"/>
                </a:lnTo>
                <a:lnTo>
                  <a:pt x="4607" y="1745"/>
                </a:lnTo>
                <a:lnTo>
                  <a:pt x="4611" y="1753"/>
                </a:lnTo>
                <a:lnTo>
                  <a:pt x="4614" y="1761"/>
                </a:lnTo>
                <a:lnTo>
                  <a:pt x="4616" y="1764"/>
                </a:lnTo>
                <a:lnTo>
                  <a:pt x="4618" y="1766"/>
                </a:lnTo>
                <a:lnTo>
                  <a:pt x="4621" y="1766"/>
                </a:lnTo>
                <a:lnTo>
                  <a:pt x="4624" y="1763"/>
                </a:lnTo>
                <a:lnTo>
                  <a:pt x="4629" y="1756"/>
                </a:lnTo>
                <a:lnTo>
                  <a:pt x="4634" y="1748"/>
                </a:lnTo>
                <a:lnTo>
                  <a:pt x="4636" y="1744"/>
                </a:lnTo>
                <a:lnTo>
                  <a:pt x="4636" y="1741"/>
                </a:lnTo>
                <a:lnTo>
                  <a:pt x="4637" y="1737"/>
                </a:lnTo>
                <a:lnTo>
                  <a:pt x="4636" y="1734"/>
                </a:lnTo>
                <a:lnTo>
                  <a:pt x="4635" y="1730"/>
                </a:lnTo>
                <a:lnTo>
                  <a:pt x="4634" y="1727"/>
                </a:lnTo>
                <a:lnTo>
                  <a:pt x="4630" y="1724"/>
                </a:lnTo>
                <a:lnTo>
                  <a:pt x="4628" y="1722"/>
                </a:lnTo>
                <a:lnTo>
                  <a:pt x="4625" y="1720"/>
                </a:lnTo>
                <a:lnTo>
                  <a:pt x="4624" y="1717"/>
                </a:lnTo>
                <a:lnTo>
                  <a:pt x="4623" y="1715"/>
                </a:lnTo>
                <a:lnTo>
                  <a:pt x="4623" y="1712"/>
                </a:lnTo>
                <a:lnTo>
                  <a:pt x="4625" y="1708"/>
                </a:lnTo>
                <a:lnTo>
                  <a:pt x="4629" y="1702"/>
                </a:lnTo>
                <a:lnTo>
                  <a:pt x="4635" y="1697"/>
                </a:lnTo>
                <a:lnTo>
                  <a:pt x="4641" y="1691"/>
                </a:lnTo>
                <a:lnTo>
                  <a:pt x="4655" y="1679"/>
                </a:lnTo>
                <a:lnTo>
                  <a:pt x="4664" y="1672"/>
                </a:lnTo>
                <a:lnTo>
                  <a:pt x="4671" y="1664"/>
                </a:lnTo>
                <a:lnTo>
                  <a:pt x="4681" y="1649"/>
                </a:lnTo>
                <a:lnTo>
                  <a:pt x="4689" y="1635"/>
                </a:lnTo>
                <a:lnTo>
                  <a:pt x="4693" y="1628"/>
                </a:lnTo>
                <a:lnTo>
                  <a:pt x="4694" y="1626"/>
                </a:lnTo>
                <a:lnTo>
                  <a:pt x="4695" y="1625"/>
                </a:lnTo>
                <a:lnTo>
                  <a:pt x="4699" y="1624"/>
                </a:lnTo>
                <a:lnTo>
                  <a:pt x="4701" y="1623"/>
                </a:lnTo>
                <a:lnTo>
                  <a:pt x="4703" y="1624"/>
                </a:lnTo>
                <a:lnTo>
                  <a:pt x="4705" y="1627"/>
                </a:lnTo>
                <a:lnTo>
                  <a:pt x="4706" y="1631"/>
                </a:lnTo>
                <a:lnTo>
                  <a:pt x="4706" y="1637"/>
                </a:lnTo>
                <a:lnTo>
                  <a:pt x="4705" y="1649"/>
                </a:lnTo>
                <a:lnTo>
                  <a:pt x="4704" y="1655"/>
                </a:lnTo>
                <a:lnTo>
                  <a:pt x="4705" y="1657"/>
                </a:lnTo>
                <a:lnTo>
                  <a:pt x="4705" y="1658"/>
                </a:lnTo>
                <a:lnTo>
                  <a:pt x="4707" y="1660"/>
                </a:lnTo>
                <a:lnTo>
                  <a:pt x="4709" y="1661"/>
                </a:lnTo>
                <a:lnTo>
                  <a:pt x="4716" y="1672"/>
                </a:lnTo>
                <a:lnTo>
                  <a:pt x="4722" y="1679"/>
                </a:lnTo>
                <a:lnTo>
                  <a:pt x="4725" y="1675"/>
                </a:lnTo>
                <a:lnTo>
                  <a:pt x="4729" y="1666"/>
                </a:lnTo>
                <a:lnTo>
                  <a:pt x="4731" y="1659"/>
                </a:lnTo>
                <a:lnTo>
                  <a:pt x="4733" y="1654"/>
                </a:lnTo>
                <a:lnTo>
                  <a:pt x="4733" y="1649"/>
                </a:lnTo>
                <a:lnTo>
                  <a:pt x="4733" y="1645"/>
                </a:lnTo>
                <a:lnTo>
                  <a:pt x="4732" y="1638"/>
                </a:lnTo>
                <a:lnTo>
                  <a:pt x="4730" y="1632"/>
                </a:lnTo>
                <a:lnTo>
                  <a:pt x="4727" y="1628"/>
                </a:lnTo>
                <a:lnTo>
                  <a:pt x="4722" y="1623"/>
                </a:lnTo>
                <a:lnTo>
                  <a:pt x="4716" y="1620"/>
                </a:lnTo>
                <a:lnTo>
                  <a:pt x="4711" y="1616"/>
                </a:lnTo>
                <a:lnTo>
                  <a:pt x="4710" y="1614"/>
                </a:lnTo>
                <a:lnTo>
                  <a:pt x="4709" y="1611"/>
                </a:lnTo>
                <a:lnTo>
                  <a:pt x="4710" y="1608"/>
                </a:lnTo>
                <a:lnTo>
                  <a:pt x="4712" y="1603"/>
                </a:lnTo>
                <a:lnTo>
                  <a:pt x="4722" y="1586"/>
                </a:lnTo>
                <a:lnTo>
                  <a:pt x="4726" y="1579"/>
                </a:lnTo>
                <a:lnTo>
                  <a:pt x="4725" y="1572"/>
                </a:lnTo>
                <a:lnTo>
                  <a:pt x="4721" y="1557"/>
                </a:lnTo>
                <a:lnTo>
                  <a:pt x="4717" y="1548"/>
                </a:lnTo>
                <a:lnTo>
                  <a:pt x="4715" y="1542"/>
                </a:lnTo>
                <a:lnTo>
                  <a:pt x="4712" y="1537"/>
                </a:lnTo>
                <a:lnTo>
                  <a:pt x="4709" y="1531"/>
                </a:lnTo>
                <a:lnTo>
                  <a:pt x="4708" y="1530"/>
                </a:lnTo>
                <a:lnTo>
                  <a:pt x="4708" y="1529"/>
                </a:lnTo>
                <a:lnTo>
                  <a:pt x="4709" y="1528"/>
                </a:lnTo>
                <a:lnTo>
                  <a:pt x="4710" y="1528"/>
                </a:lnTo>
                <a:lnTo>
                  <a:pt x="4713" y="1527"/>
                </a:lnTo>
                <a:lnTo>
                  <a:pt x="4717" y="1526"/>
                </a:lnTo>
                <a:lnTo>
                  <a:pt x="4723" y="1527"/>
                </a:lnTo>
                <a:lnTo>
                  <a:pt x="4728" y="1527"/>
                </a:lnTo>
                <a:lnTo>
                  <a:pt x="4732" y="1528"/>
                </a:lnTo>
                <a:lnTo>
                  <a:pt x="4736" y="1530"/>
                </a:lnTo>
                <a:lnTo>
                  <a:pt x="4744" y="1534"/>
                </a:lnTo>
                <a:lnTo>
                  <a:pt x="4753" y="1538"/>
                </a:lnTo>
                <a:lnTo>
                  <a:pt x="4758" y="1539"/>
                </a:lnTo>
                <a:lnTo>
                  <a:pt x="4763" y="1541"/>
                </a:lnTo>
                <a:lnTo>
                  <a:pt x="4768" y="1544"/>
                </a:lnTo>
                <a:lnTo>
                  <a:pt x="4771" y="1547"/>
                </a:lnTo>
                <a:lnTo>
                  <a:pt x="4776" y="1553"/>
                </a:lnTo>
                <a:lnTo>
                  <a:pt x="4780" y="1560"/>
                </a:lnTo>
                <a:lnTo>
                  <a:pt x="4782" y="1563"/>
                </a:lnTo>
                <a:lnTo>
                  <a:pt x="4783" y="1567"/>
                </a:lnTo>
                <a:lnTo>
                  <a:pt x="4783" y="1570"/>
                </a:lnTo>
                <a:lnTo>
                  <a:pt x="4783" y="1572"/>
                </a:lnTo>
                <a:lnTo>
                  <a:pt x="4780" y="1578"/>
                </a:lnTo>
                <a:lnTo>
                  <a:pt x="4777" y="1582"/>
                </a:lnTo>
                <a:lnTo>
                  <a:pt x="4773" y="1586"/>
                </a:lnTo>
                <a:lnTo>
                  <a:pt x="4765" y="1591"/>
                </a:lnTo>
                <a:lnTo>
                  <a:pt x="4757" y="1595"/>
                </a:lnTo>
                <a:lnTo>
                  <a:pt x="4751" y="1598"/>
                </a:lnTo>
                <a:lnTo>
                  <a:pt x="4750" y="1599"/>
                </a:lnTo>
                <a:lnTo>
                  <a:pt x="4749" y="1600"/>
                </a:lnTo>
                <a:lnTo>
                  <a:pt x="4749" y="1602"/>
                </a:lnTo>
                <a:lnTo>
                  <a:pt x="4750" y="1604"/>
                </a:lnTo>
                <a:lnTo>
                  <a:pt x="4757" y="1611"/>
                </a:lnTo>
                <a:lnTo>
                  <a:pt x="4766" y="1621"/>
                </a:lnTo>
                <a:lnTo>
                  <a:pt x="4768" y="1623"/>
                </a:lnTo>
                <a:lnTo>
                  <a:pt x="4770" y="1624"/>
                </a:lnTo>
                <a:lnTo>
                  <a:pt x="4772" y="1625"/>
                </a:lnTo>
                <a:lnTo>
                  <a:pt x="4774" y="1626"/>
                </a:lnTo>
                <a:lnTo>
                  <a:pt x="4780" y="1626"/>
                </a:lnTo>
                <a:lnTo>
                  <a:pt x="4785" y="1625"/>
                </a:lnTo>
                <a:lnTo>
                  <a:pt x="4792" y="1622"/>
                </a:lnTo>
                <a:lnTo>
                  <a:pt x="4798" y="1617"/>
                </a:lnTo>
                <a:lnTo>
                  <a:pt x="4803" y="1611"/>
                </a:lnTo>
                <a:lnTo>
                  <a:pt x="4807" y="1605"/>
                </a:lnTo>
                <a:lnTo>
                  <a:pt x="4813" y="1594"/>
                </a:lnTo>
                <a:lnTo>
                  <a:pt x="4815" y="1588"/>
                </a:lnTo>
                <a:lnTo>
                  <a:pt x="4817" y="1585"/>
                </a:lnTo>
                <a:lnTo>
                  <a:pt x="4819" y="1582"/>
                </a:lnTo>
                <a:lnTo>
                  <a:pt x="4824" y="1579"/>
                </a:lnTo>
                <a:lnTo>
                  <a:pt x="4831" y="1574"/>
                </a:lnTo>
                <a:lnTo>
                  <a:pt x="4839" y="1569"/>
                </a:lnTo>
                <a:lnTo>
                  <a:pt x="4849" y="1561"/>
                </a:lnTo>
                <a:lnTo>
                  <a:pt x="4860" y="1551"/>
                </a:lnTo>
                <a:lnTo>
                  <a:pt x="4871" y="1541"/>
                </a:lnTo>
                <a:lnTo>
                  <a:pt x="4890" y="1523"/>
                </a:lnTo>
                <a:lnTo>
                  <a:pt x="4901" y="1514"/>
                </a:lnTo>
                <a:lnTo>
                  <a:pt x="4909" y="1511"/>
                </a:lnTo>
                <a:lnTo>
                  <a:pt x="4920" y="1508"/>
                </a:lnTo>
                <a:lnTo>
                  <a:pt x="4931" y="1506"/>
                </a:lnTo>
                <a:lnTo>
                  <a:pt x="4939" y="1506"/>
                </a:lnTo>
                <a:lnTo>
                  <a:pt x="4942" y="1516"/>
                </a:lnTo>
                <a:lnTo>
                  <a:pt x="4942" y="1528"/>
                </a:lnTo>
                <a:lnTo>
                  <a:pt x="4944" y="1530"/>
                </a:lnTo>
                <a:lnTo>
                  <a:pt x="4944" y="1534"/>
                </a:lnTo>
                <a:lnTo>
                  <a:pt x="4943" y="1536"/>
                </a:lnTo>
                <a:lnTo>
                  <a:pt x="4941" y="1539"/>
                </a:lnTo>
                <a:lnTo>
                  <a:pt x="4935" y="1544"/>
                </a:lnTo>
                <a:lnTo>
                  <a:pt x="4930" y="1548"/>
                </a:lnTo>
                <a:lnTo>
                  <a:pt x="4925" y="1551"/>
                </a:lnTo>
                <a:lnTo>
                  <a:pt x="4922" y="1552"/>
                </a:lnTo>
                <a:lnTo>
                  <a:pt x="4920" y="1555"/>
                </a:lnTo>
                <a:lnTo>
                  <a:pt x="4919" y="1558"/>
                </a:lnTo>
                <a:lnTo>
                  <a:pt x="4920" y="1560"/>
                </a:lnTo>
                <a:lnTo>
                  <a:pt x="4923" y="1561"/>
                </a:lnTo>
                <a:lnTo>
                  <a:pt x="4927" y="1562"/>
                </a:lnTo>
                <a:lnTo>
                  <a:pt x="4931" y="1562"/>
                </a:lnTo>
                <a:lnTo>
                  <a:pt x="4936" y="1562"/>
                </a:lnTo>
                <a:lnTo>
                  <a:pt x="4941" y="1561"/>
                </a:lnTo>
                <a:lnTo>
                  <a:pt x="4944" y="1560"/>
                </a:lnTo>
                <a:lnTo>
                  <a:pt x="4946" y="1558"/>
                </a:lnTo>
                <a:lnTo>
                  <a:pt x="4947" y="1555"/>
                </a:lnTo>
                <a:lnTo>
                  <a:pt x="4948" y="1551"/>
                </a:lnTo>
                <a:lnTo>
                  <a:pt x="4951" y="1547"/>
                </a:lnTo>
                <a:lnTo>
                  <a:pt x="4956" y="1542"/>
                </a:lnTo>
                <a:lnTo>
                  <a:pt x="4967" y="1531"/>
                </a:lnTo>
                <a:lnTo>
                  <a:pt x="4972" y="1528"/>
                </a:lnTo>
                <a:lnTo>
                  <a:pt x="4957" y="1514"/>
                </a:lnTo>
                <a:lnTo>
                  <a:pt x="4959" y="1512"/>
                </a:lnTo>
                <a:lnTo>
                  <a:pt x="4965" y="1506"/>
                </a:lnTo>
                <a:lnTo>
                  <a:pt x="4968" y="1504"/>
                </a:lnTo>
                <a:lnTo>
                  <a:pt x="4972" y="1502"/>
                </a:lnTo>
                <a:lnTo>
                  <a:pt x="4976" y="1502"/>
                </a:lnTo>
                <a:lnTo>
                  <a:pt x="4980" y="1504"/>
                </a:lnTo>
                <a:lnTo>
                  <a:pt x="4994" y="1514"/>
                </a:lnTo>
                <a:lnTo>
                  <a:pt x="5003" y="1519"/>
                </a:lnTo>
                <a:lnTo>
                  <a:pt x="5015" y="1520"/>
                </a:lnTo>
                <a:lnTo>
                  <a:pt x="5031" y="1520"/>
                </a:lnTo>
                <a:lnTo>
                  <a:pt x="5034" y="1520"/>
                </a:lnTo>
                <a:lnTo>
                  <a:pt x="5037" y="1520"/>
                </a:lnTo>
                <a:lnTo>
                  <a:pt x="5039" y="1520"/>
                </a:lnTo>
                <a:lnTo>
                  <a:pt x="5041" y="1518"/>
                </a:lnTo>
                <a:lnTo>
                  <a:pt x="5043" y="1515"/>
                </a:lnTo>
                <a:lnTo>
                  <a:pt x="5044" y="1511"/>
                </a:lnTo>
                <a:lnTo>
                  <a:pt x="5046" y="1505"/>
                </a:lnTo>
                <a:lnTo>
                  <a:pt x="5051" y="1500"/>
                </a:lnTo>
                <a:lnTo>
                  <a:pt x="5055" y="1495"/>
                </a:lnTo>
                <a:lnTo>
                  <a:pt x="5056" y="1493"/>
                </a:lnTo>
                <a:lnTo>
                  <a:pt x="5059" y="1513"/>
                </a:lnTo>
                <a:lnTo>
                  <a:pt x="5060" y="1515"/>
                </a:lnTo>
                <a:lnTo>
                  <a:pt x="5063" y="1519"/>
                </a:lnTo>
                <a:lnTo>
                  <a:pt x="5065" y="1521"/>
                </a:lnTo>
                <a:lnTo>
                  <a:pt x="5068" y="1523"/>
                </a:lnTo>
                <a:lnTo>
                  <a:pt x="5070" y="1524"/>
                </a:lnTo>
                <a:lnTo>
                  <a:pt x="5074" y="1525"/>
                </a:lnTo>
                <a:lnTo>
                  <a:pt x="5080" y="1527"/>
                </a:lnTo>
                <a:lnTo>
                  <a:pt x="5086" y="1528"/>
                </a:lnTo>
                <a:lnTo>
                  <a:pt x="5088" y="1528"/>
                </a:lnTo>
                <a:lnTo>
                  <a:pt x="5090" y="1525"/>
                </a:lnTo>
                <a:lnTo>
                  <a:pt x="5090" y="1521"/>
                </a:lnTo>
                <a:lnTo>
                  <a:pt x="5089" y="1513"/>
                </a:lnTo>
                <a:lnTo>
                  <a:pt x="5086" y="1499"/>
                </a:lnTo>
                <a:lnTo>
                  <a:pt x="5084" y="1491"/>
                </a:lnTo>
                <a:lnTo>
                  <a:pt x="5079" y="1484"/>
                </a:lnTo>
                <a:lnTo>
                  <a:pt x="5069" y="1474"/>
                </a:lnTo>
                <a:lnTo>
                  <a:pt x="5060" y="1462"/>
                </a:lnTo>
                <a:lnTo>
                  <a:pt x="5055" y="1455"/>
                </a:lnTo>
                <a:lnTo>
                  <a:pt x="5051" y="1450"/>
                </a:lnTo>
                <a:lnTo>
                  <a:pt x="5042" y="1443"/>
                </a:lnTo>
                <a:lnTo>
                  <a:pt x="5039" y="1442"/>
                </a:lnTo>
                <a:lnTo>
                  <a:pt x="5038" y="1439"/>
                </a:lnTo>
                <a:lnTo>
                  <a:pt x="5037" y="1437"/>
                </a:lnTo>
                <a:lnTo>
                  <a:pt x="5037" y="1435"/>
                </a:lnTo>
                <a:lnTo>
                  <a:pt x="5038" y="1430"/>
                </a:lnTo>
                <a:lnTo>
                  <a:pt x="5041" y="1425"/>
                </a:lnTo>
                <a:lnTo>
                  <a:pt x="5048" y="1415"/>
                </a:lnTo>
                <a:lnTo>
                  <a:pt x="5053" y="1412"/>
                </a:lnTo>
                <a:lnTo>
                  <a:pt x="5054" y="1416"/>
                </a:lnTo>
                <a:lnTo>
                  <a:pt x="5058" y="1425"/>
                </a:lnTo>
                <a:lnTo>
                  <a:pt x="5061" y="1430"/>
                </a:lnTo>
                <a:lnTo>
                  <a:pt x="5065" y="1435"/>
                </a:lnTo>
                <a:lnTo>
                  <a:pt x="5069" y="1439"/>
                </a:lnTo>
                <a:lnTo>
                  <a:pt x="5074" y="1442"/>
                </a:lnTo>
                <a:lnTo>
                  <a:pt x="5079" y="1446"/>
                </a:lnTo>
                <a:lnTo>
                  <a:pt x="5086" y="1448"/>
                </a:lnTo>
                <a:lnTo>
                  <a:pt x="5094" y="1450"/>
                </a:lnTo>
                <a:lnTo>
                  <a:pt x="5103" y="1451"/>
                </a:lnTo>
                <a:lnTo>
                  <a:pt x="5122" y="1455"/>
                </a:lnTo>
                <a:lnTo>
                  <a:pt x="5142" y="1459"/>
                </a:lnTo>
                <a:lnTo>
                  <a:pt x="5150" y="1462"/>
                </a:lnTo>
                <a:lnTo>
                  <a:pt x="5156" y="1465"/>
                </a:lnTo>
                <a:lnTo>
                  <a:pt x="5162" y="1469"/>
                </a:lnTo>
                <a:lnTo>
                  <a:pt x="5166" y="1472"/>
                </a:lnTo>
                <a:lnTo>
                  <a:pt x="5174" y="1480"/>
                </a:lnTo>
                <a:lnTo>
                  <a:pt x="5184" y="1491"/>
                </a:lnTo>
                <a:lnTo>
                  <a:pt x="5189" y="1500"/>
                </a:lnTo>
                <a:lnTo>
                  <a:pt x="5191" y="1505"/>
                </a:lnTo>
                <a:lnTo>
                  <a:pt x="5193" y="1507"/>
                </a:lnTo>
                <a:lnTo>
                  <a:pt x="5197" y="1511"/>
                </a:lnTo>
                <a:lnTo>
                  <a:pt x="5206" y="1516"/>
                </a:lnTo>
                <a:lnTo>
                  <a:pt x="5217" y="1522"/>
                </a:lnTo>
                <a:lnTo>
                  <a:pt x="5241" y="1534"/>
                </a:lnTo>
                <a:lnTo>
                  <a:pt x="5256" y="1541"/>
                </a:lnTo>
                <a:lnTo>
                  <a:pt x="5261" y="1543"/>
                </a:lnTo>
                <a:lnTo>
                  <a:pt x="5264" y="1546"/>
                </a:lnTo>
                <a:lnTo>
                  <a:pt x="5266" y="1549"/>
                </a:lnTo>
                <a:lnTo>
                  <a:pt x="5268" y="1552"/>
                </a:lnTo>
                <a:lnTo>
                  <a:pt x="5270" y="1556"/>
                </a:lnTo>
                <a:lnTo>
                  <a:pt x="5271" y="1556"/>
                </a:lnTo>
                <a:lnTo>
                  <a:pt x="5272" y="1553"/>
                </a:lnTo>
                <a:lnTo>
                  <a:pt x="5272" y="1550"/>
                </a:lnTo>
                <a:lnTo>
                  <a:pt x="5273" y="1541"/>
                </a:lnTo>
                <a:lnTo>
                  <a:pt x="5274" y="1530"/>
                </a:lnTo>
                <a:lnTo>
                  <a:pt x="5275" y="1523"/>
                </a:lnTo>
                <a:lnTo>
                  <a:pt x="5275" y="1518"/>
                </a:lnTo>
                <a:lnTo>
                  <a:pt x="5272" y="1514"/>
                </a:lnTo>
                <a:lnTo>
                  <a:pt x="5262" y="1505"/>
                </a:lnTo>
                <a:lnTo>
                  <a:pt x="5254" y="1497"/>
                </a:lnTo>
                <a:lnTo>
                  <a:pt x="5249" y="1493"/>
                </a:lnTo>
                <a:lnTo>
                  <a:pt x="5243" y="1487"/>
                </a:lnTo>
                <a:lnTo>
                  <a:pt x="5234" y="1478"/>
                </a:lnTo>
                <a:lnTo>
                  <a:pt x="5228" y="1472"/>
                </a:lnTo>
                <a:lnTo>
                  <a:pt x="5224" y="1467"/>
                </a:lnTo>
                <a:lnTo>
                  <a:pt x="5222" y="1462"/>
                </a:lnTo>
                <a:lnTo>
                  <a:pt x="5221" y="1457"/>
                </a:lnTo>
                <a:lnTo>
                  <a:pt x="5220" y="1446"/>
                </a:lnTo>
                <a:lnTo>
                  <a:pt x="5220" y="1432"/>
                </a:lnTo>
                <a:lnTo>
                  <a:pt x="5219" y="1425"/>
                </a:lnTo>
                <a:lnTo>
                  <a:pt x="5218" y="1418"/>
                </a:lnTo>
                <a:lnTo>
                  <a:pt x="5216" y="1413"/>
                </a:lnTo>
                <a:lnTo>
                  <a:pt x="5215" y="1410"/>
                </a:lnTo>
                <a:lnTo>
                  <a:pt x="5211" y="1405"/>
                </a:lnTo>
                <a:lnTo>
                  <a:pt x="5208" y="1399"/>
                </a:lnTo>
                <a:lnTo>
                  <a:pt x="5207" y="1397"/>
                </a:lnTo>
                <a:lnTo>
                  <a:pt x="5207" y="1395"/>
                </a:lnTo>
                <a:lnTo>
                  <a:pt x="5207" y="1394"/>
                </a:lnTo>
                <a:lnTo>
                  <a:pt x="5208" y="1392"/>
                </a:lnTo>
                <a:lnTo>
                  <a:pt x="5213" y="1386"/>
                </a:lnTo>
                <a:lnTo>
                  <a:pt x="5221" y="1376"/>
                </a:lnTo>
                <a:lnTo>
                  <a:pt x="5232" y="1365"/>
                </a:lnTo>
                <a:lnTo>
                  <a:pt x="5241" y="1354"/>
                </a:lnTo>
                <a:lnTo>
                  <a:pt x="5245" y="1350"/>
                </a:lnTo>
                <a:lnTo>
                  <a:pt x="5249" y="1346"/>
                </a:lnTo>
                <a:lnTo>
                  <a:pt x="5252" y="1342"/>
                </a:lnTo>
                <a:lnTo>
                  <a:pt x="5253" y="1338"/>
                </a:lnTo>
                <a:lnTo>
                  <a:pt x="5256" y="1325"/>
                </a:lnTo>
                <a:lnTo>
                  <a:pt x="5259" y="1307"/>
                </a:lnTo>
                <a:lnTo>
                  <a:pt x="5263" y="1289"/>
                </a:lnTo>
                <a:lnTo>
                  <a:pt x="5266" y="1273"/>
                </a:lnTo>
                <a:lnTo>
                  <a:pt x="5268" y="1260"/>
                </a:lnTo>
                <a:lnTo>
                  <a:pt x="5271" y="1252"/>
                </a:lnTo>
                <a:lnTo>
                  <a:pt x="5273" y="1248"/>
                </a:lnTo>
                <a:lnTo>
                  <a:pt x="5275" y="1244"/>
                </a:lnTo>
                <a:lnTo>
                  <a:pt x="5279" y="1241"/>
                </a:lnTo>
                <a:lnTo>
                  <a:pt x="5284" y="1238"/>
                </a:lnTo>
                <a:lnTo>
                  <a:pt x="5294" y="1232"/>
                </a:lnTo>
                <a:lnTo>
                  <a:pt x="5301" y="1227"/>
                </a:lnTo>
                <a:lnTo>
                  <a:pt x="5304" y="1225"/>
                </a:lnTo>
                <a:lnTo>
                  <a:pt x="5305" y="1222"/>
                </a:lnTo>
                <a:lnTo>
                  <a:pt x="5306" y="1219"/>
                </a:lnTo>
                <a:lnTo>
                  <a:pt x="5306" y="1217"/>
                </a:lnTo>
                <a:lnTo>
                  <a:pt x="5306" y="1215"/>
                </a:lnTo>
                <a:lnTo>
                  <a:pt x="5307" y="1212"/>
                </a:lnTo>
                <a:lnTo>
                  <a:pt x="5309" y="1210"/>
                </a:lnTo>
                <a:lnTo>
                  <a:pt x="5311" y="1208"/>
                </a:lnTo>
                <a:lnTo>
                  <a:pt x="5315" y="1208"/>
                </a:lnTo>
                <a:lnTo>
                  <a:pt x="5317" y="1208"/>
                </a:lnTo>
                <a:lnTo>
                  <a:pt x="5320" y="1210"/>
                </a:lnTo>
                <a:lnTo>
                  <a:pt x="5323" y="1214"/>
                </a:lnTo>
                <a:lnTo>
                  <a:pt x="5328" y="1223"/>
                </a:lnTo>
                <a:lnTo>
                  <a:pt x="5333" y="1230"/>
                </a:lnTo>
                <a:lnTo>
                  <a:pt x="5336" y="1233"/>
                </a:lnTo>
                <a:lnTo>
                  <a:pt x="5337" y="1235"/>
                </a:lnTo>
                <a:lnTo>
                  <a:pt x="5337" y="1237"/>
                </a:lnTo>
                <a:lnTo>
                  <a:pt x="5336" y="1239"/>
                </a:lnTo>
                <a:lnTo>
                  <a:pt x="5332" y="1243"/>
                </a:lnTo>
                <a:lnTo>
                  <a:pt x="5330" y="1248"/>
                </a:lnTo>
                <a:lnTo>
                  <a:pt x="5330" y="1249"/>
                </a:lnTo>
                <a:lnTo>
                  <a:pt x="5331" y="1251"/>
                </a:lnTo>
                <a:lnTo>
                  <a:pt x="5332" y="1252"/>
                </a:lnTo>
                <a:lnTo>
                  <a:pt x="5334" y="1253"/>
                </a:lnTo>
                <a:lnTo>
                  <a:pt x="5340" y="1254"/>
                </a:lnTo>
                <a:lnTo>
                  <a:pt x="5347" y="1253"/>
                </a:lnTo>
                <a:lnTo>
                  <a:pt x="5350" y="1253"/>
                </a:lnTo>
                <a:lnTo>
                  <a:pt x="5352" y="1254"/>
                </a:lnTo>
                <a:lnTo>
                  <a:pt x="5354" y="1256"/>
                </a:lnTo>
                <a:lnTo>
                  <a:pt x="5354" y="1259"/>
                </a:lnTo>
                <a:lnTo>
                  <a:pt x="5355" y="1269"/>
                </a:lnTo>
                <a:lnTo>
                  <a:pt x="5355" y="1278"/>
                </a:lnTo>
                <a:lnTo>
                  <a:pt x="5355" y="1289"/>
                </a:lnTo>
                <a:lnTo>
                  <a:pt x="5354" y="1300"/>
                </a:lnTo>
                <a:lnTo>
                  <a:pt x="5352" y="1314"/>
                </a:lnTo>
                <a:lnTo>
                  <a:pt x="5349" y="1326"/>
                </a:lnTo>
                <a:lnTo>
                  <a:pt x="5346" y="1337"/>
                </a:lnTo>
                <a:lnTo>
                  <a:pt x="5344" y="1341"/>
                </a:lnTo>
                <a:lnTo>
                  <a:pt x="5343" y="1342"/>
                </a:lnTo>
                <a:lnTo>
                  <a:pt x="5341" y="1345"/>
                </a:lnTo>
                <a:lnTo>
                  <a:pt x="5340" y="1348"/>
                </a:lnTo>
                <a:lnTo>
                  <a:pt x="5340" y="1352"/>
                </a:lnTo>
                <a:lnTo>
                  <a:pt x="5341" y="1357"/>
                </a:lnTo>
                <a:lnTo>
                  <a:pt x="5343" y="1363"/>
                </a:lnTo>
                <a:lnTo>
                  <a:pt x="5346" y="1374"/>
                </a:lnTo>
                <a:lnTo>
                  <a:pt x="5348" y="1382"/>
                </a:lnTo>
                <a:lnTo>
                  <a:pt x="5349" y="1390"/>
                </a:lnTo>
                <a:lnTo>
                  <a:pt x="5351" y="1402"/>
                </a:lnTo>
                <a:lnTo>
                  <a:pt x="5354" y="1413"/>
                </a:lnTo>
                <a:lnTo>
                  <a:pt x="5354" y="1421"/>
                </a:lnTo>
                <a:lnTo>
                  <a:pt x="5352" y="1429"/>
                </a:lnTo>
                <a:lnTo>
                  <a:pt x="5349" y="1437"/>
                </a:lnTo>
                <a:lnTo>
                  <a:pt x="5348" y="1442"/>
                </a:lnTo>
                <a:lnTo>
                  <a:pt x="5348" y="1449"/>
                </a:lnTo>
                <a:lnTo>
                  <a:pt x="5348" y="1455"/>
                </a:lnTo>
                <a:lnTo>
                  <a:pt x="5349" y="1461"/>
                </a:lnTo>
                <a:lnTo>
                  <a:pt x="5351" y="1473"/>
                </a:lnTo>
                <a:lnTo>
                  <a:pt x="5352" y="1480"/>
                </a:lnTo>
                <a:lnTo>
                  <a:pt x="5355" y="1484"/>
                </a:lnTo>
                <a:lnTo>
                  <a:pt x="5360" y="1489"/>
                </a:lnTo>
                <a:lnTo>
                  <a:pt x="5362" y="1491"/>
                </a:lnTo>
                <a:lnTo>
                  <a:pt x="5363" y="1494"/>
                </a:lnTo>
                <a:lnTo>
                  <a:pt x="5362" y="1497"/>
                </a:lnTo>
                <a:lnTo>
                  <a:pt x="5359" y="1501"/>
                </a:lnTo>
                <a:lnTo>
                  <a:pt x="5355" y="1506"/>
                </a:lnTo>
                <a:lnTo>
                  <a:pt x="5354" y="1511"/>
                </a:lnTo>
                <a:lnTo>
                  <a:pt x="5353" y="1515"/>
                </a:lnTo>
                <a:lnTo>
                  <a:pt x="5354" y="1519"/>
                </a:lnTo>
                <a:lnTo>
                  <a:pt x="5357" y="1526"/>
                </a:lnTo>
                <a:lnTo>
                  <a:pt x="5360" y="1534"/>
                </a:lnTo>
                <a:lnTo>
                  <a:pt x="5362" y="1540"/>
                </a:lnTo>
                <a:lnTo>
                  <a:pt x="5364" y="1547"/>
                </a:lnTo>
                <a:lnTo>
                  <a:pt x="5365" y="1551"/>
                </a:lnTo>
                <a:lnTo>
                  <a:pt x="5365" y="1555"/>
                </a:lnTo>
                <a:lnTo>
                  <a:pt x="5364" y="1559"/>
                </a:lnTo>
                <a:lnTo>
                  <a:pt x="5363" y="1562"/>
                </a:lnTo>
                <a:lnTo>
                  <a:pt x="5362" y="1569"/>
                </a:lnTo>
                <a:lnTo>
                  <a:pt x="5362" y="1578"/>
                </a:lnTo>
                <a:lnTo>
                  <a:pt x="5362" y="1582"/>
                </a:lnTo>
                <a:lnTo>
                  <a:pt x="5362" y="1587"/>
                </a:lnTo>
                <a:lnTo>
                  <a:pt x="5361" y="1591"/>
                </a:lnTo>
                <a:lnTo>
                  <a:pt x="5359" y="1596"/>
                </a:lnTo>
                <a:lnTo>
                  <a:pt x="5354" y="1608"/>
                </a:lnTo>
                <a:lnTo>
                  <a:pt x="5351" y="1618"/>
                </a:lnTo>
                <a:lnTo>
                  <a:pt x="5349" y="1623"/>
                </a:lnTo>
                <a:lnTo>
                  <a:pt x="5347" y="1627"/>
                </a:lnTo>
                <a:lnTo>
                  <a:pt x="5345" y="1630"/>
                </a:lnTo>
                <a:lnTo>
                  <a:pt x="5342" y="1633"/>
                </a:lnTo>
                <a:lnTo>
                  <a:pt x="5328" y="1636"/>
                </a:lnTo>
                <a:lnTo>
                  <a:pt x="5309" y="1640"/>
                </a:lnTo>
                <a:lnTo>
                  <a:pt x="5293" y="1643"/>
                </a:lnTo>
                <a:lnTo>
                  <a:pt x="5285" y="1644"/>
                </a:lnTo>
                <a:lnTo>
                  <a:pt x="5282" y="1644"/>
                </a:lnTo>
                <a:lnTo>
                  <a:pt x="5277" y="1643"/>
                </a:lnTo>
                <a:lnTo>
                  <a:pt x="5275" y="1642"/>
                </a:lnTo>
                <a:lnTo>
                  <a:pt x="5273" y="1643"/>
                </a:lnTo>
                <a:lnTo>
                  <a:pt x="5271" y="1645"/>
                </a:lnTo>
                <a:lnTo>
                  <a:pt x="5271" y="1647"/>
                </a:lnTo>
                <a:lnTo>
                  <a:pt x="5272" y="1651"/>
                </a:lnTo>
                <a:lnTo>
                  <a:pt x="5275" y="1654"/>
                </a:lnTo>
                <a:lnTo>
                  <a:pt x="5279" y="1657"/>
                </a:lnTo>
                <a:lnTo>
                  <a:pt x="5283" y="1659"/>
                </a:lnTo>
                <a:lnTo>
                  <a:pt x="5290" y="1664"/>
                </a:lnTo>
                <a:lnTo>
                  <a:pt x="5295" y="1666"/>
                </a:lnTo>
                <a:lnTo>
                  <a:pt x="5301" y="1666"/>
                </a:lnTo>
                <a:lnTo>
                  <a:pt x="5315" y="1666"/>
                </a:lnTo>
                <a:lnTo>
                  <a:pt x="5323" y="1666"/>
                </a:lnTo>
                <a:lnTo>
                  <a:pt x="5329" y="1665"/>
                </a:lnTo>
                <a:lnTo>
                  <a:pt x="5336" y="1664"/>
                </a:lnTo>
                <a:lnTo>
                  <a:pt x="5339" y="1662"/>
                </a:lnTo>
                <a:lnTo>
                  <a:pt x="5349" y="1651"/>
                </a:lnTo>
                <a:lnTo>
                  <a:pt x="5360" y="1640"/>
                </a:lnTo>
                <a:lnTo>
                  <a:pt x="5365" y="1638"/>
                </a:lnTo>
                <a:lnTo>
                  <a:pt x="5372" y="1637"/>
                </a:lnTo>
                <a:lnTo>
                  <a:pt x="5376" y="1636"/>
                </a:lnTo>
                <a:lnTo>
                  <a:pt x="5380" y="1634"/>
                </a:lnTo>
                <a:lnTo>
                  <a:pt x="5382" y="1632"/>
                </a:lnTo>
                <a:lnTo>
                  <a:pt x="5384" y="1629"/>
                </a:lnTo>
                <a:lnTo>
                  <a:pt x="5385" y="1618"/>
                </a:lnTo>
                <a:lnTo>
                  <a:pt x="5387" y="1605"/>
                </a:lnTo>
                <a:lnTo>
                  <a:pt x="5389" y="1593"/>
                </a:lnTo>
                <a:lnTo>
                  <a:pt x="5392" y="1585"/>
                </a:lnTo>
                <a:lnTo>
                  <a:pt x="5397" y="1581"/>
                </a:lnTo>
                <a:lnTo>
                  <a:pt x="5404" y="1577"/>
                </a:lnTo>
                <a:lnTo>
                  <a:pt x="5407" y="1574"/>
                </a:lnTo>
                <a:lnTo>
                  <a:pt x="5408" y="1571"/>
                </a:lnTo>
                <a:lnTo>
                  <a:pt x="5407" y="1567"/>
                </a:lnTo>
                <a:lnTo>
                  <a:pt x="5404" y="1562"/>
                </a:lnTo>
                <a:lnTo>
                  <a:pt x="5395" y="1550"/>
                </a:lnTo>
                <a:lnTo>
                  <a:pt x="5387" y="1542"/>
                </a:lnTo>
                <a:lnTo>
                  <a:pt x="5384" y="1539"/>
                </a:lnTo>
                <a:lnTo>
                  <a:pt x="5382" y="1537"/>
                </a:lnTo>
                <a:lnTo>
                  <a:pt x="5381" y="1535"/>
                </a:lnTo>
                <a:lnTo>
                  <a:pt x="5382" y="1533"/>
                </a:lnTo>
                <a:lnTo>
                  <a:pt x="5384" y="1530"/>
                </a:lnTo>
                <a:lnTo>
                  <a:pt x="5390" y="1527"/>
                </a:lnTo>
                <a:lnTo>
                  <a:pt x="5396" y="1525"/>
                </a:lnTo>
                <a:lnTo>
                  <a:pt x="5405" y="1522"/>
                </a:lnTo>
                <a:lnTo>
                  <a:pt x="5419" y="1518"/>
                </a:lnTo>
                <a:lnTo>
                  <a:pt x="5426" y="1516"/>
                </a:lnTo>
                <a:lnTo>
                  <a:pt x="5424" y="1515"/>
                </a:lnTo>
                <a:lnTo>
                  <a:pt x="5419" y="1511"/>
                </a:lnTo>
                <a:lnTo>
                  <a:pt x="5415" y="1509"/>
                </a:lnTo>
                <a:lnTo>
                  <a:pt x="5410" y="1507"/>
                </a:lnTo>
                <a:lnTo>
                  <a:pt x="5404" y="1506"/>
                </a:lnTo>
                <a:lnTo>
                  <a:pt x="5395" y="1505"/>
                </a:lnTo>
                <a:lnTo>
                  <a:pt x="5384" y="1504"/>
                </a:lnTo>
                <a:lnTo>
                  <a:pt x="5379" y="1503"/>
                </a:lnTo>
                <a:lnTo>
                  <a:pt x="5377" y="1500"/>
                </a:lnTo>
                <a:lnTo>
                  <a:pt x="5377" y="1494"/>
                </a:lnTo>
                <a:lnTo>
                  <a:pt x="5375" y="1481"/>
                </a:lnTo>
                <a:lnTo>
                  <a:pt x="5372" y="1460"/>
                </a:lnTo>
                <a:lnTo>
                  <a:pt x="5370" y="1450"/>
                </a:lnTo>
                <a:lnTo>
                  <a:pt x="5369" y="1440"/>
                </a:lnTo>
                <a:lnTo>
                  <a:pt x="5369" y="1433"/>
                </a:lnTo>
                <a:lnTo>
                  <a:pt x="5370" y="1429"/>
                </a:lnTo>
                <a:lnTo>
                  <a:pt x="5375" y="1425"/>
                </a:lnTo>
                <a:lnTo>
                  <a:pt x="5381" y="1423"/>
                </a:lnTo>
                <a:lnTo>
                  <a:pt x="5383" y="1420"/>
                </a:lnTo>
                <a:lnTo>
                  <a:pt x="5383" y="1417"/>
                </a:lnTo>
                <a:lnTo>
                  <a:pt x="5382" y="1413"/>
                </a:lnTo>
                <a:lnTo>
                  <a:pt x="5379" y="1407"/>
                </a:lnTo>
                <a:lnTo>
                  <a:pt x="5370" y="1395"/>
                </a:lnTo>
                <a:lnTo>
                  <a:pt x="5366" y="1386"/>
                </a:lnTo>
                <a:lnTo>
                  <a:pt x="5365" y="1381"/>
                </a:lnTo>
                <a:lnTo>
                  <a:pt x="5364" y="1374"/>
                </a:lnTo>
                <a:lnTo>
                  <a:pt x="5365" y="1367"/>
                </a:lnTo>
                <a:lnTo>
                  <a:pt x="5365" y="1358"/>
                </a:lnTo>
                <a:lnTo>
                  <a:pt x="5366" y="1348"/>
                </a:lnTo>
                <a:lnTo>
                  <a:pt x="5369" y="1339"/>
                </a:lnTo>
                <a:lnTo>
                  <a:pt x="5372" y="1330"/>
                </a:lnTo>
                <a:lnTo>
                  <a:pt x="5375" y="1323"/>
                </a:lnTo>
                <a:lnTo>
                  <a:pt x="5382" y="1314"/>
                </a:lnTo>
                <a:lnTo>
                  <a:pt x="5385" y="1309"/>
                </a:lnTo>
                <a:lnTo>
                  <a:pt x="5386" y="1307"/>
                </a:lnTo>
                <a:lnTo>
                  <a:pt x="5390" y="1300"/>
                </a:lnTo>
                <a:lnTo>
                  <a:pt x="5394" y="1292"/>
                </a:lnTo>
                <a:lnTo>
                  <a:pt x="5395" y="1283"/>
                </a:lnTo>
                <a:lnTo>
                  <a:pt x="5398" y="1270"/>
                </a:lnTo>
                <a:lnTo>
                  <a:pt x="5403" y="1252"/>
                </a:lnTo>
                <a:lnTo>
                  <a:pt x="5406" y="1243"/>
                </a:lnTo>
                <a:lnTo>
                  <a:pt x="5408" y="1238"/>
                </a:lnTo>
                <a:lnTo>
                  <a:pt x="5409" y="1236"/>
                </a:lnTo>
                <a:lnTo>
                  <a:pt x="5410" y="1235"/>
                </a:lnTo>
                <a:lnTo>
                  <a:pt x="5411" y="1235"/>
                </a:lnTo>
                <a:lnTo>
                  <a:pt x="5411" y="1237"/>
                </a:lnTo>
                <a:lnTo>
                  <a:pt x="5414" y="1248"/>
                </a:lnTo>
                <a:lnTo>
                  <a:pt x="5418" y="1261"/>
                </a:lnTo>
                <a:lnTo>
                  <a:pt x="5420" y="1267"/>
                </a:lnTo>
                <a:lnTo>
                  <a:pt x="5423" y="1275"/>
                </a:lnTo>
                <a:lnTo>
                  <a:pt x="5423" y="1281"/>
                </a:lnTo>
                <a:lnTo>
                  <a:pt x="5421" y="1287"/>
                </a:lnTo>
                <a:lnTo>
                  <a:pt x="5418" y="1298"/>
                </a:lnTo>
                <a:lnTo>
                  <a:pt x="5416" y="1308"/>
                </a:lnTo>
                <a:lnTo>
                  <a:pt x="5415" y="1320"/>
                </a:lnTo>
                <a:lnTo>
                  <a:pt x="5413" y="1331"/>
                </a:lnTo>
                <a:lnTo>
                  <a:pt x="5413" y="1336"/>
                </a:lnTo>
                <a:lnTo>
                  <a:pt x="5414" y="1338"/>
                </a:lnTo>
                <a:lnTo>
                  <a:pt x="5416" y="1339"/>
                </a:lnTo>
                <a:lnTo>
                  <a:pt x="5418" y="1338"/>
                </a:lnTo>
                <a:lnTo>
                  <a:pt x="5424" y="1335"/>
                </a:lnTo>
                <a:lnTo>
                  <a:pt x="5427" y="1332"/>
                </a:lnTo>
                <a:lnTo>
                  <a:pt x="5434" y="1293"/>
                </a:lnTo>
                <a:lnTo>
                  <a:pt x="5436" y="1287"/>
                </a:lnTo>
                <a:lnTo>
                  <a:pt x="5442" y="1278"/>
                </a:lnTo>
                <a:lnTo>
                  <a:pt x="5447" y="1273"/>
                </a:lnTo>
                <a:lnTo>
                  <a:pt x="5450" y="1270"/>
                </a:lnTo>
                <a:lnTo>
                  <a:pt x="5452" y="1267"/>
                </a:lnTo>
                <a:lnTo>
                  <a:pt x="5453" y="1267"/>
                </a:lnTo>
                <a:lnTo>
                  <a:pt x="5454" y="1267"/>
                </a:lnTo>
                <a:lnTo>
                  <a:pt x="5455" y="1267"/>
                </a:lnTo>
                <a:lnTo>
                  <a:pt x="5463" y="1273"/>
                </a:lnTo>
                <a:lnTo>
                  <a:pt x="5477" y="1281"/>
                </a:lnTo>
                <a:lnTo>
                  <a:pt x="5491" y="1289"/>
                </a:lnTo>
                <a:lnTo>
                  <a:pt x="5501" y="1297"/>
                </a:lnTo>
                <a:lnTo>
                  <a:pt x="5511" y="1304"/>
                </a:lnTo>
                <a:lnTo>
                  <a:pt x="5523" y="1310"/>
                </a:lnTo>
                <a:lnTo>
                  <a:pt x="5529" y="1315"/>
                </a:lnTo>
                <a:lnTo>
                  <a:pt x="5536" y="1318"/>
                </a:lnTo>
                <a:lnTo>
                  <a:pt x="5540" y="1322"/>
                </a:lnTo>
                <a:lnTo>
                  <a:pt x="5544" y="1326"/>
                </a:lnTo>
                <a:lnTo>
                  <a:pt x="5547" y="1329"/>
                </a:lnTo>
                <a:lnTo>
                  <a:pt x="5551" y="1331"/>
                </a:lnTo>
                <a:lnTo>
                  <a:pt x="5557" y="1332"/>
                </a:lnTo>
                <a:lnTo>
                  <a:pt x="5562" y="1333"/>
                </a:lnTo>
                <a:lnTo>
                  <a:pt x="5566" y="1335"/>
                </a:lnTo>
                <a:lnTo>
                  <a:pt x="5570" y="1337"/>
                </a:lnTo>
                <a:lnTo>
                  <a:pt x="5573" y="1339"/>
                </a:lnTo>
                <a:lnTo>
                  <a:pt x="5574" y="1343"/>
                </a:lnTo>
                <a:lnTo>
                  <a:pt x="5574" y="1351"/>
                </a:lnTo>
                <a:lnTo>
                  <a:pt x="5575" y="1358"/>
                </a:lnTo>
                <a:lnTo>
                  <a:pt x="5574" y="1364"/>
                </a:lnTo>
                <a:lnTo>
                  <a:pt x="5571" y="1372"/>
                </a:lnTo>
                <a:lnTo>
                  <a:pt x="5569" y="1377"/>
                </a:lnTo>
                <a:lnTo>
                  <a:pt x="5567" y="1382"/>
                </a:lnTo>
                <a:lnTo>
                  <a:pt x="5567" y="1387"/>
                </a:lnTo>
                <a:lnTo>
                  <a:pt x="5566" y="1391"/>
                </a:lnTo>
                <a:lnTo>
                  <a:pt x="5567" y="1396"/>
                </a:lnTo>
                <a:lnTo>
                  <a:pt x="5568" y="1402"/>
                </a:lnTo>
                <a:lnTo>
                  <a:pt x="5570" y="1408"/>
                </a:lnTo>
                <a:lnTo>
                  <a:pt x="5573" y="1414"/>
                </a:lnTo>
                <a:lnTo>
                  <a:pt x="5578" y="1420"/>
                </a:lnTo>
                <a:lnTo>
                  <a:pt x="5582" y="1425"/>
                </a:lnTo>
                <a:lnTo>
                  <a:pt x="5586" y="1428"/>
                </a:lnTo>
                <a:lnTo>
                  <a:pt x="5590" y="1428"/>
                </a:lnTo>
                <a:lnTo>
                  <a:pt x="5594" y="1428"/>
                </a:lnTo>
                <a:lnTo>
                  <a:pt x="5597" y="1425"/>
                </a:lnTo>
                <a:lnTo>
                  <a:pt x="5599" y="1420"/>
                </a:lnTo>
                <a:lnTo>
                  <a:pt x="5600" y="1415"/>
                </a:lnTo>
                <a:lnTo>
                  <a:pt x="5597" y="1399"/>
                </a:lnTo>
                <a:lnTo>
                  <a:pt x="5596" y="1383"/>
                </a:lnTo>
                <a:lnTo>
                  <a:pt x="5595" y="1368"/>
                </a:lnTo>
                <a:lnTo>
                  <a:pt x="5593" y="1359"/>
                </a:lnTo>
                <a:lnTo>
                  <a:pt x="5584" y="1348"/>
                </a:lnTo>
                <a:lnTo>
                  <a:pt x="5574" y="1336"/>
                </a:lnTo>
                <a:lnTo>
                  <a:pt x="5571" y="1326"/>
                </a:lnTo>
                <a:lnTo>
                  <a:pt x="5566" y="1315"/>
                </a:lnTo>
                <a:lnTo>
                  <a:pt x="5564" y="1311"/>
                </a:lnTo>
                <a:lnTo>
                  <a:pt x="5560" y="1308"/>
                </a:lnTo>
                <a:lnTo>
                  <a:pt x="5557" y="1305"/>
                </a:lnTo>
                <a:lnTo>
                  <a:pt x="5551" y="1302"/>
                </a:lnTo>
                <a:lnTo>
                  <a:pt x="5543" y="1296"/>
                </a:lnTo>
                <a:lnTo>
                  <a:pt x="5535" y="1288"/>
                </a:lnTo>
                <a:lnTo>
                  <a:pt x="5533" y="1282"/>
                </a:lnTo>
                <a:lnTo>
                  <a:pt x="5531" y="1276"/>
                </a:lnTo>
                <a:lnTo>
                  <a:pt x="5531" y="1267"/>
                </a:lnTo>
                <a:lnTo>
                  <a:pt x="5533" y="1260"/>
                </a:lnTo>
                <a:lnTo>
                  <a:pt x="5534" y="1253"/>
                </a:lnTo>
                <a:lnTo>
                  <a:pt x="5535" y="1247"/>
                </a:lnTo>
                <a:lnTo>
                  <a:pt x="5535" y="1241"/>
                </a:lnTo>
                <a:lnTo>
                  <a:pt x="5534" y="1237"/>
                </a:lnTo>
                <a:lnTo>
                  <a:pt x="5529" y="1232"/>
                </a:lnTo>
                <a:lnTo>
                  <a:pt x="5526" y="1227"/>
                </a:lnTo>
                <a:lnTo>
                  <a:pt x="5524" y="1221"/>
                </a:lnTo>
                <a:lnTo>
                  <a:pt x="5524" y="1218"/>
                </a:lnTo>
                <a:lnTo>
                  <a:pt x="5541" y="1212"/>
                </a:lnTo>
                <a:lnTo>
                  <a:pt x="5578" y="1201"/>
                </a:lnTo>
                <a:lnTo>
                  <a:pt x="5597" y="1196"/>
                </a:lnTo>
                <a:lnTo>
                  <a:pt x="5615" y="1193"/>
                </a:lnTo>
                <a:lnTo>
                  <a:pt x="5622" y="1192"/>
                </a:lnTo>
                <a:lnTo>
                  <a:pt x="5628" y="1191"/>
                </a:lnTo>
                <a:lnTo>
                  <a:pt x="5631" y="1191"/>
                </a:lnTo>
                <a:lnTo>
                  <a:pt x="5633" y="1192"/>
                </a:lnTo>
                <a:lnTo>
                  <a:pt x="5634" y="1194"/>
                </a:lnTo>
                <a:lnTo>
                  <a:pt x="5638" y="1197"/>
                </a:lnTo>
                <a:lnTo>
                  <a:pt x="5643" y="1199"/>
                </a:lnTo>
                <a:lnTo>
                  <a:pt x="5648" y="1201"/>
                </a:lnTo>
                <a:lnTo>
                  <a:pt x="5653" y="1204"/>
                </a:lnTo>
                <a:lnTo>
                  <a:pt x="5658" y="1205"/>
                </a:lnTo>
                <a:lnTo>
                  <a:pt x="5662" y="1205"/>
                </a:lnTo>
                <a:lnTo>
                  <a:pt x="5665" y="1203"/>
                </a:lnTo>
                <a:lnTo>
                  <a:pt x="5669" y="1198"/>
                </a:lnTo>
                <a:lnTo>
                  <a:pt x="5675" y="1192"/>
                </a:lnTo>
                <a:lnTo>
                  <a:pt x="5676" y="1187"/>
                </a:lnTo>
                <a:lnTo>
                  <a:pt x="5676" y="1180"/>
                </a:lnTo>
                <a:lnTo>
                  <a:pt x="5674" y="1172"/>
                </a:lnTo>
                <a:lnTo>
                  <a:pt x="5669" y="1161"/>
                </a:lnTo>
                <a:lnTo>
                  <a:pt x="5656" y="1141"/>
                </a:lnTo>
                <a:lnTo>
                  <a:pt x="5647" y="1127"/>
                </a:lnTo>
                <a:lnTo>
                  <a:pt x="5646" y="1124"/>
                </a:lnTo>
                <a:lnTo>
                  <a:pt x="5646" y="1121"/>
                </a:lnTo>
                <a:lnTo>
                  <a:pt x="5646" y="1119"/>
                </a:lnTo>
                <a:lnTo>
                  <a:pt x="5646" y="1116"/>
                </a:lnTo>
                <a:lnTo>
                  <a:pt x="5648" y="1112"/>
                </a:lnTo>
                <a:lnTo>
                  <a:pt x="5650" y="1108"/>
                </a:lnTo>
                <a:lnTo>
                  <a:pt x="5654" y="1105"/>
                </a:lnTo>
                <a:lnTo>
                  <a:pt x="5658" y="1101"/>
                </a:lnTo>
                <a:lnTo>
                  <a:pt x="5679" y="1082"/>
                </a:lnTo>
                <a:lnTo>
                  <a:pt x="5700" y="1062"/>
                </a:lnTo>
                <a:lnTo>
                  <a:pt x="5719" y="1044"/>
                </a:lnTo>
                <a:lnTo>
                  <a:pt x="5735" y="1030"/>
                </a:lnTo>
                <a:lnTo>
                  <a:pt x="5739" y="1026"/>
                </a:lnTo>
                <a:lnTo>
                  <a:pt x="5744" y="1024"/>
                </a:lnTo>
                <a:lnTo>
                  <a:pt x="5750" y="1022"/>
                </a:lnTo>
                <a:lnTo>
                  <a:pt x="5758" y="1021"/>
                </a:lnTo>
                <a:lnTo>
                  <a:pt x="5772" y="1018"/>
                </a:lnTo>
                <a:lnTo>
                  <a:pt x="5788" y="1016"/>
                </a:lnTo>
                <a:lnTo>
                  <a:pt x="5804" y="1014"/>
                </a:lnTo>
                <a:lnTo>
                  <a:pt x="5818" y="1011"/>
                </a:lnTo>
                <a:lnTo>
                  <a:pt x="5824" y="1010"/>
                </a:lnTo>
                <a:lnTo>
                  <a:pt x="5828" y="1008"/>
                </a:lnTo>
                <a:lnTo>
                  <a:pt x="5831" y="1004"/>
                </a:lnTo>
                <a:lnTo>
                  <a:pt x="5833" y="1002"/>
                </a:lnTo>
                <a:lnTo>
                  <a:pt x="5836" y="995"/>
                </a:lnTo>
                <a:lnTo>
                  <a:pt x="5837" y="988"/>
                </a:lnTo>
                <a:lnTo>
                  <a:pt x="5838" y="980"/>
                </a:lnTo>
                <a:lnTo>
                  <a:pt x="5838" y="973"/>
                </a:lnTo>
                <a:lnTo>
                  <a:pt x="5838" y="960"/>
                </a:lnTo>
                <a:lnTo>
                  <a:pt x="5837" y="956"/>
                </a:lnTo>
                <a:lnTo>
                  <a:pt x="5837" y="951"/>
                </a:lnTo>
                <a:lnTo>
                  <a:pt x="5836" y="940"/>
                </a:lnTo>
                <a:lnTo>
                  <a:pt x="5836" y="933"/>
                </a:lnTo>
                <a:lnTo>
                  <a:pt x="5836" y="928"/>
                </a:lnTo>
                <a:lnTo>
                  <a:pt x="5837" y="926"/>
                </a:lnTo>
                <a:lnTo>
                  <a:pt x="5838" y="925"/>
                </a:lnTo>
                <a:lnTo>
                  <a:pt x="5841" y="924"/>
                </a:lnTo>
                <a:lnTo>
                  <a:pt x="5842" y="923"/>
                </a:lnTo>
                <a:lnTo>
                  <a:pt x="5850" y="922"/>
                </a:lnTo>
                <a:lnTo>
                  <a:pt x="5859" y="919"/>
                </a:lnTo>
                <a:lnTo>
                  <a:pt x="5863" y="916"/>
                </a:lnTo>
                <a:lnTo>
                  <a:pt x="5865" y="914"/>
                </a:lnTo>
                <a:lnTo>
                  <a:pt x="5866" y="912"/>
                </a:lnTo>
                <a:lnTo>
                  <a:pt x="5866" y="910"/>
                </a:lnTo>
                <a:lnTo>
                  <a:pt x="5865" y="908"/>
                </a:lnTo>
                <a:lnTo>
                  <a:pt x="5865" y="904"/>
                </a:lnTo>
                <a:lnTo>
                  <a:pt x="5866" y="899"/>
                </a:lnTo>
                <a:lnTo>
                  <a:pt x="5868" y="894"/>
                </a:lnTo>
                <a:lnTo>
                  <a:pt x="5870" y="891"/>
                </a:lnTo>
                <a:lnTo>
                  <a:pt x="5873" y="889"/>
                </a:lnTo>
                <a:lnTo>
                  <a:pt x="5874" y="889"/>
                </a:lnTo>
                <a:lnTo>
                  <a:pt x="5875" y="890"/>
                </a:lnTo>
                <a:lnTo>
                  <a:pt x="5876" y="891"/>
                </a:lnTo>
                <a:lnTo>
                  <a:pt x="5877" y="894"/>
                </a:lnTo>
                <a:lnTo>
                  <a:pt x="5881" y="904"/>
                </a:lnTo>
                <a:lnTo>
                  <a:pt x="5882" y="910"/>
                </a:lnTo>
                <a:lnTo>
                  <a:pt x="5882" y="915"/>
                </a:lnTo>
                <a:lnTo>
                  <a:pt x="5880" y="921"/>
                </a:lnTo>
                <a:lnTo>
                  <a:pt x="5887" y="929"/>
                </a:lnTo>
                <a:lnTo>
                  <a:pt x="5894" y="941"/>
                </a:lnTo>
                <a:lnTo>
                  <a:pt x="5894" y="944"/>
                </a:lnTo>
                <a:lnTo>
                  <a:pt x="5892" y="947"/>
                </a:lnTo>
                <a:lnTo>
                  <a:pt x="5889" y="948"/>
                </a:lnTo>
                <a:lnTo>
                  <a:pt x="5885" y="949"/>
                </a:lnTo>
                <a:lnTo>
                  <a:pt x="5880" y="948"/>
                </a:lnTo>
                <a:lnTo>
                  <a:pt x="5876" y="947"/>
                </a:lnTo>
                <a:lnTo>
                  <a:pt x="5872" y="945"/>
                </a:lnTo>
                <a:lnTo>
                  <a:pt x="5868" y="942"/>
                </a:lnTo>
                <a:lnTo>
                  <a:pt x="5864" y="938"/>
                </a:lnTo>
                <a:lnTo>
                  <a:pt x="5858" y="935"/>
                </a:lnTo>
                <a:lnTo>
                  <a:pt x="5854" y="934"/>
                </a:lnTo>
                <a:lnTo>
                  <a:pt x="5850" y="932"/>
                </a:lnTo>
                <a:lnTo>
                  <a:pt x="5846" y="932"/>
                </a:lnTo>
                <a:lnTo>
                  <a:pt x="5843" y="932"/>
                </a:lnTo>
                <a:lnTo>
                  <a:pt x="5842" y="933"/>
                </a:lnTo>
                <a:lnTo>
                  <a:pt x="5842" y="935"/>
                </a:lnTo>
                <a:lnTo>
                  <a:pt x="5847" y="940"/>
                </a:lnTo>
                <a:lnTo>
                  <a:pt x="5853" y="944"/>
                </a:lnTo>
                <a:lnTo>
                  <a:pt x="5859" y="947"/>
                </a:lnTo>
                <a:lnTo>
                  <a:pt x="5863" y="948"/>
                </a:lnTo>
                <a:lnTo>
                  <a:pt x="5860" y="951"/>
                </a:lnTo>
                <a:lnTo>
                  <a:pt x="5857" y="962"/>
                </a:lnTo>
                <a:lnTo>
                  <a:pt x="5857" y="965"/>
                </a:lnTo>
                <a:lnTo>
                  <a:pt x="5857" y="967"/>
                </a:lnTo>
                <a:lnTo>
                  <a:pt x="5859" y="968"/>
                </a:lnTo>
                <a:lnTo>
                  <a:pt x="5863" y="968"/>
                </a:lnTo>
                <a:lnTo>
                  <a:pt x="5869" y="966"/>
                </a:lnTo>
                <a:lnTo>
                  <a:pt x="5875" y="962"/>
                </a:lnTo>
                <a:lnTo>
                  <a:pt x="5877" y="960"/>
                </a:lnTo>
                <a:lnTo>
                  <a:pt x="5880" y="960"/>
                </a:lnTo>
                <a:lnTo>
                  <a:pt x="5885" y="962"/>
                </a:lnTo>
                <a:lnTo>
                  <a:pt x="5888" y="964"/>
                </a:lnTo>
                <a:lnTo>
                  <a:pt x="5891" y="966"/>
                </a:lnTo>
                <a:lnTo>
                  <a:pt x="5892" y="969"/>
                </a:lnTo>
                <a:lnTo>
                  <a:pt x="5893" y="973"/>
                </a:lnTo>
                <a:lnTo>
                  <a:pt x="5892" y="977"/>
                </a:lnTo>
                <a:lnTo>
                  <a:pt x="5889" y="987"/>
                </a:lnTo>
                <a:lnTo>
                  <a:pt x="5886" y="995"/>
                </a:lnTo>
                <a:lnTo>
                  <a:pt x="5886" y="997"/>
                </a:lnTo>
                <a:lnTo>
                  <a:pt x="5887" y="999"/>
                </a:lnTo>
                <a:lnTo>
                  <a:pt x="5890" y="999"/>
                </a:lnTo>
                <a:lnTo>
                  <a:pt x="5893" y="997"/>
                </a:lnTo>
                <a:lnTo>
                  <a:pt x="5902" y="993"/>
                </a:lnTo>
                <a:lnTo>
                  <a:pt x="5912" y="991"/>
                </a:lnTo>
                <a:lnTo>
                  <a:pt x="5915" y="990"/>
                </a:lnTo>
                <a:lnTo>
                  <a:pt x="5918" y="988"/>
                </a:lnTo>
                <a:lnTo>
                  <a:pt x="5920" y="984"/>
                </a:lnTo>
                <a:lnTo>
                  <a:pt x="5922" y="978"/>
                </a:lnTo>
                <a:lnTo>
                  <a:pt x="5921" y="972"/>
                </a:lnTo>
                <a:lnTo>
                  <a:pt x="5920" y="966"/>
                </a:lnTo>
                <a:lnTo>
                  <a:pt x="5918" y="960"/>
                </a:lnTo>
                <a:lnTo>
                  <a:pt x="5916" y="955"/>
                </a:lnTo>
                <a:lnTo>
                  <a:pt x="5916" y="953"/>
                </a:lnTo>
                <a:lnTo>
                  <a:pt x="5916" y="951"/>
                </a:lnTo>
                <a:lnTo>
                  <a:pt x="5916" y="950"/>
                </a:lnTo>
                <a:lnTo>
                  <a:pt x="5917" y="948"/>
                </a:lnTo>
                <a:lnTo>
                  <a:pt x="5922" y="946"/>
                </a:lnTo>
                <a:lnTo>
                  <a:pt x="5930" y="946"/>
                </a:lnTo>
                <a:lnTo>
                  <a:pt x="5953" y="948"/>
                </a:lnTo>
                <a:lnTo>
                  <a:pt x="5974" y="950"/>
                </a:lnTo>
                <a:lnTo>
                  <a:pt x="5983" y="950"/>
                </a:lnTo>
                <a:lnTo>
                  <a:pt x="5989" y="949"/>
                </a:lnTo>
                <a:lnTo>
                  <a:pt x="5991" y="947"/>
                </a:lnTo>
                <a:lnTo>
                  <a:pt x="5992" y="945"/>
                </a:lnTo>
                <a:lnTo>
                  <a:pt x="5994" y="942"/>
                </a:lnTo>
                <a:lnTo>
                  <a:pt x="5992" y="938"/>
                </a:lnTo>
                <a:lnTo>
                  <a:pt x="5986" y="922"/>
                </a:lnTo>
                <a:lnTo>
                  <a:pt x="5980" y="905"/>
                </a:lnTo>
                <a:lnTo>
                  <a:pt x="5977" y="897"/>
                </a:lnTo>
                <a:lnTo>
                  <a:pt x="5976" y="890"/>
                </a:lnTo>
                <a:lnTo>
                  <a:pt x="5975" y="887"/>
                </a:lnTo>
                <a:lnTo>
                  <a:pt x="5976" y="884"/>
                </a:lnTo>
                <a:lnTo>
                  <a:pt x="5976" y="881"/>
                </a:lnTo>
                <a:lnTo>
                  <a:pt x="5977" y="879"/>
                </a:lnTo>
                <a:lnTo>
                  <a:pt x="5986" y="870"/>
                </a:lnTo>
                <a:lnTo>
                  <a:pt x="5998" y="862"/>
                </a:lnTo>
                <a:lnTo>
                  <a:pt x="6009" y="854"/>
                </a:lnTo>
                <a:lnTo>
                  <a:pt x="6021" y="848"/>
                </a:lnTo>
                <a:lnTo>
                  <a:pt x="6027" y="846"/>
                </a:lnTo>
                <a:lnTo>
                  <a:pt x="6035" y="845"/>
                </a:lnTo>
                <a:lnTo>
                  <a:pt x="6047" y="844"/>
                </a:lnTo>
                <a:lnTo>
                  <a:pt x="6058" y="844"/>
                </a:lnTo>
                <a:lnTo>
                  <a:pt x="6080" y="845"/>
                </a:lnTo>
                <a:lnTo>
                  <a:pt x="6092" y="847"/>
                </a:lnTo>
                <a:lnTo>
                  <a:pt x="6094" y="849"/>
                </a:lnTo>
                <a:lnTo>
                  <a:pt x="6095" y="853"/>
                </a:lnTo>
                <a:lnTo>
                  <a:pt x="6095" y="857"/>
                </a:lnTo>
                <a:lnTo>
                  <a:pt x="6095" y="862"/>
                </a:lnTo>
                <a:lnTo>
                  <a:pt x="6094" y="866"/>
                </a:lnTo>
                <a:lnTo>
                  <a:pt x="6092" y="871"/>
                </a:lnTo>
                <a:lnTo>
                  <a:pt x="6091" y="876"/>
                </a:lnTo>
                <a:lnTo>
                  <a:pt x="6088" y="878"/>
                </a:lnTo>
                <a:lnTo>
                  <a:pt x="6086" y="880"/>
                </a:lnTo>
                <a:lnTo>
                  <a:pt x="6085" y="882"/>
                </a:lnTo>
                <a:lnTo>
                  <a:pt x="6085" y="885"/>
                </a:lnTo>
                <a:lnTo>
                  <a:pt x="6086" y="887"/>
                </a:lnTo>
                <a:lnTo>
                  <a:pt x="6091" y="893"/>
                </a:lnTo>
                <a:lnTo>
                  <a:pt x="6099" y="901"/>
                </a:lnTo>
                <a:lnTo>
                  <a:pt x="6105" y="904"/>
                </a:lnTo>
                <a:lnTo>
                  <a:pt x="6110" y="905"/>
                </a:lnTo>
                <a:lnTo>
                  <a:pt x="6114" y="906"/>
                </a:lnTo>
                <a:lnTo>
                  <a:pt x="6117" y="907"/>
                </a:lnTo>
                <a:lnTo>
                  <a:pt x="6120" y="908"/>
                </a:lnTo>
                <a:lnTo>
                  <a:pt x="6122" y="909"/>
                </a:lnTo>
                <a:lnTo>
                  <a:pt x="6123" y="913"/>
                </a:lnTo>
                <a:lnTo>
                  <a:pt x="6122" y="919"/>
                </a:lnTo>
                <a:lnTo>
                  <a:pt x="6120" y="931"/>
                </a:lnTo>
                <a:lnTo>
                  <a:pt x="6118" y="941"/>
                </a:lnTo>
                <a:lnTo>
                  <a:pt x="6117" y="944"/>
                </a:lnTo>
                <a:lnTo>
                  <a:pt x="6118" y="947"/>
                </a:lnTo>
                <a:lnTo>
                  <a:pt x="6119" y="949"/>
                </a:lnTo>
                <a:lnTo>
                  <a:pt x="6121" y="950"/>
                </a:lnTo>
                <a:lnTo>
                  <a:pt x="6126" y="950"/>
                </a:lnTo>
                <a:lnTo>
                  <a:pt x="6129" y="948"/>
                </a:lnTo>
                <a:lnTo>
                  <a:pt x="6132" y="946"/>
                </a:lnTo>
                <a:lnTo>
                  <a:pt x="6135" y="942"/>
                </a:lnTo>
                <a:lnTo>
                  <a:pt x="6141" y="934"/>
                </a:lnTo>
                <a:lnTo>
                  <a:pt x="6150" y="929"/>
                </a:lnTo>
                <a:lnTo>
                  <a:pt x="6155" y="928"/>
                </a:lnTo>
                <a:lnTo>
                  <a:pt x="6160" y="927"/>
                </a:lnTo>
                <a:lnTo>
                  <a:pt x="6167" y="926"/>
                </a:lnTo>
                <a:lnTo>
                  <a:pt x="6174" y="927"/>
                </a:lnTo>
                <a:lnTo>
                  <a:pt x="6181" y="927"/>
                </a:lnTo>
                <a:lnTo>
                  <a:pt x="6187" y="928"/>
                </a:lnTo>
                <a:lnTo>
                  <a:pt x="6194" y="930"/>
                </a:lnTo>
                <a:lnTo>
                  <a:pt x="6198" y="932"/>
                </a:lnTo>
                <a:lnTo>
                  <a:pt x="6204" y="934"/>
                </a:lnTo>
                <a:lnTo>
                  <a:pt x="6209" y="934"/>
                </a:lnTo>
                <a:lnTo>
                  <a:pt x="6211" y="935"/>
                </a:lnTo>
                <a:lnTo>
                  <a:pt x="6216" y="937"/>
                </a:lnTo>
                <a:lnTo>
                  <a:pt x="6219" y="943"/>
                </a:lnTo>
                <a:lnTo>
                  <a:pt x="6224" y="950"/>
                </a:lnTo>
                <a:lnTo>
                  <a:pt x="6229" y="957"/>
                </a:lnTo>
                <a:lnTo>
                  <a:pt x="6235" y="962"/>
                </a:lnTo>
                <a:lnTo>
                  <a:pt x="6238" y="965"/>
                </a:lnTo>
                <a:lnTo>
                  <a:pt x="6242" y="967"/>
                </a:lnTo>
                <a:lnTo>
                  <a:pt x="6244" y="969"/>
                </a:lnTo>
                <a:lnTo>
                  <a:pt x="6247" y="970"/>
                </a:lnTo>
                <a:lnTo>
                  <a:pt x="6249" y="973"/>
                </a:lnTo>
                <a:lnTo>
                  <a:pt x="6252" y="977"/>
                </a:lnTo>
                <a:lnTo>
                  <a:pt x="6257" y="988"/>
                </a:lnTo>
                <a:lnTo>
                  <a:pt x="6259" y="999"/>
                </a:lnTo>
                <a:lnTo>
                  <a:pt x="6260" y="1009"/>
                </a:lnTo>
                <a:lnTo>
                  <a:pt x="6259" y="1016"/>
                </a:lnTo>
                <a:lnTo>
                  <a:pt x="6259" y="1024"/>
                </a:lnTo>
                <a:lnTo>
                  <a:pt x="6260" y="1034"/>
                </a:lnTo>
                <a:lnTo>
                  <a:pt x="6261" y="1039"/>
                </a:lnTo>
                <a:lnTo>
                  <a:pt x="6261" y="1045"/>
                </a:lnTo>
                <a:lnTo>
                  <a:pt x="6260" y="1051"/>
                </a:lnTo>
                <a:lnTo>
                  <a:pt x="6259" y="1057"/>
                </a:lnTo>
                <a:lnTo>
                  <a:pt x="6254" y="1068"/>
                </a:lnTo>
                <a:lnTo>
                  <a:pt x="6249" y="1078"/>
                </a:lnTo>
                <a:lnTo>
                  <a:pt x="6247" y="1082"/>
                </a:lnTo>
                <a:lnTo>
                  <a:pt x="6243" y="1085"/>
                </a:lnTo>
                <a:lnTo>
                  <a:pt x="6239" y="1088"/>
                </a:lnTo>
                <a:lnTo>
                  <a:pt x="6233" y="1092"/>
                </a:lnTo>
                <a:lnTo>
                  <a:pt x="6219" y="1102"/>
                </a:lnTo>
                <a:lnTo>
                  <a:pt x="6205" y="1112"/>
                </a:lnTo>
                <a:lnTo>
                  <a:pt x="6201" y="1116"/>
                </a:lnTo>
                <a:lnTo>
                  <a:pt x="6199" y="1117"/>
                </a:lnTo>
                <a:lnTo>
                  <a:pt x="6198" y="1116"/>
                </a:lnTo>
                <a:lnTo>
                  <a:pt x="6198" y="1114"/>
                </a:lnTo>
                <a:lnTo>
                  <a:pt x="6196" y="1116"/>
                </a:lnTo>
                <a:lnTo>
                  <a:pt x="6188" y="1124"/>
                </a:lnTo>
                <a:lnTo>
                  <a:pt x="6182" y="1133"/>
                </a:lnTo>
                <a:lnTo>
                  <a:pt x="6181" y="1135"/>
                </a:lnTo>
                <a:lnTo>
                  <a:pt x="6177" y="1141"/>
                </a:lnTo>
                <a:lnTo>
                  <a:pt x="6162" y="1155"/>
                </a:lnTo>
                <a:lnTo>
                  <a:pt x="6144" y="1174"/>
                </a:lnTo>
                <a:lnTo>
                  <a:pt x="6134" y="1186"/>
                </a:lnTo>
                <a:lnTo>
                  <a:pt x="6128" y="1193"/>
                </a:lnTo>
                <a:lnTo>
                  <a:pt x="6122" y="1200"/>
                </a:lnTo>
                <a:lnTo>
                  <a:pt x="6117" y="1209"/>
                </a:lnTo>
                <a:lnTo>
                  <a:pt x="6111" y="1216"/>
                </a:lnTo>
                <a:lnTo>
                  <a:pt x="6105" y="1225"/>
                </a:lnTo>
                <a:lnTo>
                  <a:pt x="6095" y="1238"/>
                </a:lnTo>
                <a:lnTo>
                  <a:pt x="6090" y="1245"/>
                </a:lnTo>
                <a:lnTo>
                  <a:pt x="6087" y="1252"/>
                </a:lnTo>
                <a:lnTo>
                  <a:pt x="6085" y="1258"/>
                </a:lnTo>
                <a:lnTo>
                  <a:pt x="6083" y="1262"/>
                </a:lnTo>
                <a:lnTo>
                  <a:pt x="6083" y="1265"/>
                </a:lnTo>
                <a:lnTo>
                  <a:pt x="6084" y="1267"/>
                </a:lnTo>
                <a:lnTo>
                  <a:pt x="6085" y="1267"/>
                </a:lnTo>
                <a:lnTo>
                  <a:pt x="6088" y="1265"/>
                </a:lnTo>
                <a:lnTo>
                  <a:pt x="6104" y="1254"/>
                </a:lnTo>
                <a:lnTo>
                  <a:pt x="6129" y="1236"/>
                </a:lnTo>
                <a:lnTo>
                  <a:pt x="6153" y="1219"/>
                </a:lnTo>
                <a:lnTo>
                  <a:pt x="6163" y="1212"/>
                </a:lnTo>
                <a:lnTo>
                  <a:pt x="6165" y="1211"/>
                </a:lnTo>
                <a:lnTo>
                  <a:pt x="6172" y="1208"/>
                </a:lnTo>
                <a:lnTo>
                  <a:pt x="6175" y="1205"/>
                </a:lnTo>
                <a:lnTo>
                  <a:pt x="6178" y="1201"/>
                </a:lnTo>
                <a:lnTo>
                  <a:pt x="6180" y="1195"/>
                </a:lnTo>
                <a:lnTo>
                  <a:pt x="6181" y="1189"/>
                </a:lnTo>
                <a:lnTo>
                  <a:pt x="6182" y="1182"/>
                </a:lnTo>
                <a:lnTo>
                  <a:pt x="6185" y="1174"/>
                </a:lnTo>
                <a:lnTo>
                  <a:pt x="6188" y="1167"/>
                </a:lnTo>
                <a:lnTo>
                  <a:pt x="6193" y="1162"/>
                </a:lnTo>
                <a:lnTo>
                  <a:pt x="6200" y="1153"/>
                </a:lnTo>
                <a:lnTo>
                  <a:pt x="6203" y="1150"/>
                </a:lnTo>
                <a:lnTo>
                  <a:pt x="6202" y="1154"/>
                </a:lnTo>
                <a:lnTo>
                  <a:pt x="6201" y="1165"/>
                </a:lnTo>
                <a:lnTo>
                  <a:pt x="6200" y="1171"/>
                </a:lnTo>
                <a:lnTo>
                  <a:pt x="6200" y="1176"/>
                </a:lnTo>
                <a:lnTo>
                  <a:pt x="6201" y="1180"/>
                </a:lnTo>
                <a:lnTo>
                  <a:pt x="6203" y="1183"/>
                </a:lnTo>
                <a:lnTo>
                  <a:pt x="6214" y="1185"/>
                </a:lnTo>
                <a:lnTo>
                  <a:pt x="6220" y="1186"/>
                </a:lnTo>
                <a:lnTo>
                  <a:pt x="6221" y="1182"/>
                </a:lnTo>
                <a:lnTo>
                  <a:pt x="6224" y="1173"/>
                </a:lnTo>
                <a:lnTo>
                  <a:pt x="6225" y="1163"/>
                </a:lnTo>
                <a:lnTo>
                  <a:pt x="6224" y="1155"/>
                </a:lnTo>
                <a:lnTo>
                  <a:pt x="6224" y="1152"/>
                </a:lnTo>
                <a:lnTo>
                  <a:pt x="6225" y="1148"/>
                </a:lnTo>
                <a:lnTo>
                  <a:pt x="6226" y="1142"/>
                </a:lnTo>
                <a:lnTo>
                  <a:pt x="6229" y="1136"/>
                </a:lnTo>
                <a:lnTo>
                  <a:pt x="6232" y="1132"/>
                </a:lnTo>
                <a:lnTo>
                  <a:pt x="6237" y="1129"/>
                </a:lnTo>
                <a:lnTo>
                  <a:pt x="6239" y="1128"/>
                </a:lnTo>
                <a:lnTo>
                  <a:pt x="6242" y="1128"/>
                </a:lnTo>
                <a:lnTo>
                  <a:pt x="6244" y="1129"/>
                </a:lnTo>
                <a:lnTo>
                  <a:pt x="6246" y="1131"/>
                </a:lnTo>
                <a:lnTo>
                  <a:pt x="6255" y="1139"/>
                </a:lnTo>
                <a:lnTo>
                  <a:pt x="6263" y="1143"/>
                </a:lnTo>
                <a:lnTo>
                  <a:pt x="6265" y="1146"/>
                </a:lnTo>
                <a:lnTo>
                  <a:pt x="6266" y="1148"/>
                </a:lnTo>
                <a:lnTo>
                  <a:pt x="6265" y="1152"/>
                </a:lnTo>
                <a:lnTo>
                  <a:pt x="6263" y="1157"/>
                </a:lnTo>
                <a:lnTo>
                  <a:pt x="6261" y="1161"/>
                </a:lnTo>
                <a:lnTo>
                  <a:pt x="6260" y="1164"/>
                </a:lnTo>
                <a:lnTo>
                  <a:pt x="6259" y="1167"/>
                </a:lnTo>
                <a:lnTo>
                  <a:pt x="6259" y="1170"/>
                </a:lnTo>
                <a:lnTo>
                  <a:pt x="6261" y="1175"/>
                </a:lnTo>
                <a:lnTo>
                  <a:pt x="6263" y="1179"/>
                </a:lnTo>
                <a:lnTo>
                  <a:pt x="6268" y="1186"/>
                </a:lnTo>
                <a:lnTo>
                  <a:pt x="6271" y="1189"/>
                </a:lnTo>
                <a:lnTo>
                  <a:pt x="6272" y="1188"/>
                </a:lnTo>
                <a:lnTo>
                  <a:pt x="6276" y="1188"/>
                </a:lnTo>
                <a:lnTo>
                  <a:pt x="6282" y="1188"/>
                </a:lnTo>
                <a:lnTo>
                  <a:pt x="6291" y="1191"/>
                </a:lnTo>
                <a:lnTo>
                  <a:pt x="6301" y="1194"/>
                </a:lnTo>
                <a:lnTo>
                  <a:pt x="6309" y="1196"/>
                </a:lnTo>
                <a:lnTo>
                  <a:pt x="6317" y="1197"/>
                </a:lnTo>
                <a:lnTo>
                  <a:pt x="6327" y="1198"/>
                </a:lnTo>
                <a:lnTo>
                  <a:pt x="6338" y="1198"/>
                </a:lnTo>
                <a:lnTo>
                  <a:pt x="6347" y="1199"/>
                </a:lnTo>
                <a:lnTo>
                  <a:pt x="6351" y="1200"/>
                </a:lnTo>
                <a:lnTo>
                  <a:pt x="6354" y="1203"/>
                </a:lnTo>
                <a:lnTo>
                  <a:pt x="6357" y="1205"/>
                </a:lnTo>
                <a:lnTo>
                  <a:pt x="6360" y="1207"/>
                </a:lnTo>
                <a:lnTo>
                  <a:pt x="6372" y="1217"/>
                </a:lnTo>
                <a:lnTo>
                  <a:pt x="6380" y="1225"/>
                </a:lnTo>
                <a:lnTo>
                  <a:pt x="6383" y="1227"/>
                </a:lnTo>
                <a:lnTo>
                  <a:pt x="6392" y="1230"/>
                </a:lnTo>
                <a:lnTo>
                  <a:pt x="6402" y="1232"/>
                </a:lnTo>
                <a:lnTo>
                  <a:pt x="6415" y="1235"/>
                </a:lnTo>
                <a:lnTo>
                  <a:pt x="6438" y="1239"/>
                </a:lnTo>
                <a:lnTo>
                  <a:pt x="6448" y="1241"/>
                </a:lnTo>
                <a:lnTo>
                  <a:pt x="6455" y="1241"/>
                </a:lnTo>
                <a:lnTo>
                  <a:pt x="6467" y="1241"/>
                </a:lnTo>
                <a:lnTo>
                  <a:pt x="6474" y="1240"/>
                </a:lnTo>
                <a:lnTo>
                  <a:pt x="6479" y="1238"/>
                </a:lnTo>
                <a:lnTo>
                  <a:pt x="6480" y="1237"/>
                </a:lnTo>
                <a:lnTo>
                  <a:pt x="6481" y="1235"/>
                </a:lnTo>
                <a:lnTo>
                  <a:pt x="6481" y="1233"/>
                </a:lnTo>
                <a:lnTo>
                  <a:pt x="6479" y="1230"/>
                </a:lnTo>
                <a:lnTo>
                  <a:pt x="6474" y="1223"/>
                </a:lnTo>
                <a:lnTo>
                  <a:pt x="6471" y="1217"/>
                </a:lnTo>
                <a:lnTo>
                  <a:pt x="6468" y="1211"/>
                </a:lnTo>
                <a:lnTo>
                  <a:pt x="6466" y="1205"/>
                </a:lnTo>
                <a:lnTo>
                  <a:pt x="6465" y="1199"/>
                </a:lnTo>
                <a:lnTo>
                  <a:pt x="6466" y="1195"/>
                </a:lnTo>
                <a:lnTo>
                  <a:pt x="6467" y="1194"/>
                </a:lnTo>
                <a:lnTo>
                  <a:pt x="6468" y="1193"/>
                </a:lnTo>
                <a:lnTo>
                  <a:pt x="6469" y="1192"/>
                </a:lnTo>
                <a:lnTo>
                  <a:pt x="6471" y="1192"/>
                </a:lnTo>
                <a:lnTo>
                  <a:pt x="6480" y="1191"/>
                </a:lnTo>
                <a:lnTo>
                  <a:pt x="6486" y="1192"/>
                </a:lnTo>
                <a:lnTo>
                  <a:pt x="6490" y="1192"/>
                </a:lnTo>
                <a:lnTo>
                  <a:pt x="6494" y="1194"/>
                </a:lnTo>
                <a:lnTo>
                  <a:pt x="6499" y="1196"/>
                </a:lnTo>
                <a:lnTo>
                  <a:pt x="6505" y="1200"/>
                </a:lnTo>
                <a:lnTo>
                  <a:pt x="6511" y="1204"/>
                </a:lnTo>
                <a:lnTo>
                  <a:pt x="6517" y="1206"/>
                </a:lnTo>
                <a:lnTo>
                  <a:pt x="6525" y="1208"/>
                </a:lnTo>
                <a:lnTo>
                  <a:pt x="6532" y="1208"/>
                </a:lnTo>
                <a:lnTo>
                  <a:pt x="6547" y="1209"/>
                </a:lnTo>
                <a:lnTo>
                  <a:pt x="6559" y="1209"/>
                </a:lnTo>
                <a:lnTo>
                  <a:pt x="6572" y="1211"/>
                </a:lnTo>
                <a:lnTo>
                  <a:pt x="6583" y="1213"/>
                </a:lnTo>
                <a:lnTo>
                  <a:pt x="6588" y="1216"/>
                </a:lnTo>
                <a:lnTo>
                  <a:pt x="6593" y="1219"/>
                </a:lnTo>
                <a:lnTo>
                  <a:pt x="6596" y="1225"/>
                </a:lnTo>
                <a:lnTo>
                  <a:pt x="6599" y="1232"/>
                </a:lnTo>
                <a:lnTo>
                  <a:pt x="6603" y="1247"/>
                </a:lnTo>
                <a:lnTo>
                  <a:pt x="6605" y="1260"/>
                </a:lnTo>
                <a:lnTo>
                  <a:pt x="6605" y="1266"/>
                </a:lnTo>
                <a:lnTo>
                  <a:pt x="6604" y="1271"/>
                </a:lnTo>
                <a:lnTo>
                  <a:pt x="6603" y="1276"/>
                </a:lnTo>
                <a:lnTo>
                  <a:pt x="6601" y="1279"/>
                </a:lnTo>
                <a:lnTo>
                  <a:pt x="6593" y="1283"/>
                </a:lnTo>
                <a:lnTo>
                  <a:pt x="6586" y="1287"/>
                </a:lnTo>
                <a:lnTo>
                  <a:pt x="6582" y="1291"/>
                </a:lnTo>
                <a:lnTo>
                  <a:pt x="6581" y="1294"/>
                </a:lnTo>
                <a:lnTo>
                  <a:pt x="6582" y="1299"/>
                </a:lnTo>
                <a:lnTo>
                  <a:pt x="6586" y="1305"/>
                </a:lnTo>
                <a:lnTo>
                  <a:pt x="6591" y="1311"/>
                </a:lnTo>
                <a:lnTo>
                  <a:pt x="6595" y="1317"/>
                </a:lnTo>
                <a:lnTo>
                  <a:pt x="6599" y="1320"/>
                </a:lnTo>
                <a:lnTo>
                  <a:pt x="6603" y="1322"/>
                </a:lnTo>
                <a:lnTo>
                  <a:pt x="6606" y="1324"/>
                </a:lnTo>
                <a:lnTo>
                  <a:pt x="6610" y="1327"/>
                </a:lnTo>
                <a:lnTo>
                  <a:pt x="6612" y="1331"/>
                </a:lnTo>
                <a:lnTo>
                  <a:pt x="6613" y="1339"/>
                </a:lnTo>
                <a:lnTo>
                  <a:pt x="6615" y="1346"/>
                </a:lnTo>
                <a:lnTo>
                  <a:pt x="6617" y="1354"/>
                </a:lnTo>
                <a:lnTo>
                  <a:pt x="6620" y="1364"/>
                </a:lnTo>
                <a:lnTo>
                  <a:pt x="6624" y="1371"/>
                </a:lnTo>
                <a:lnTo>
                  <a:pt x="6628" y="1380"/>
                </a:lnTo>
                <a:lnTo>
                  <a:pt x="6633" y="1386"/>
                </a:lnTo>
                <a:lnTo>
                  <a:pt x="6638" y="1392"/>
                </a:lnTo>
                <a:lnTo>
                  <a:pt x="6643" y="1395"/>
                </a:lnTo>
                <a:lnTo>
                  <a:pt x="6647" y="1398"/>
                </a:lnTo>
                <a:lnTo>
                  <a:pt x="6653" y="1399"/>
                </a:lnTo>
                <a:lnTo>
                  <a:pt x="6657" y="1401"/>
                </a:lnTo>
                <a:lnTo>
                  <a:pt x="6660" y="1399"/>
                </a:lnTo>
                <a:lnTo>
                  <a:pt x="6663" y="1396"/>
                </a:lnTo>
                <a:lnTo>
                  <a:pt x="6666" y="1392"/>
                </a:lnTo>
                <a:lnTo>
                  <a:pt x="6667" y="1387"/>
                </a:lnTo>
                <a:lnTo>
                  <a:pt x="6668" y="1380"/>
                </a:lnTo>
                <a:lnTo>
                  <a:pt x="6669" y="1361"/>
                </a:lnTo>
                <a:lnTo>
                  <a:pt x="6670" y="1343"/>
                </a:lnTo>
                <a:lnTo>
                  <a:pt x="6671" y="1335"/>
                </a:lnTo>
                <a:lnTo>
                  <a:pt x="6672" y="1328"/>
                </a:lnTo>
                <a:lnTo>
                  <a:pt x="6674" y="1324"/>
                </a:lnTo>
                <a:lnTo>
                  <a:pt x="6676" y="1323"/>
                </a:lnTo>
                <a:lnTo>
                  <a:pt x="6679" y="1324"/>
                </a:lnTo>
                <a:lnTo>
                  <a:pt x="6682" y="1326"/>
                </a:lnTo>
                <a:lnTo>
                  <a:pt x="6685" y="1329"/>
                </a:lnTo>
                <a:lnTo>
                  <a:pt x="6689" y="1333"/>
                </a:lnTo>
                <a:lnTo>
                  <a:pt x="6696" y="1341"/>
                </a:lnTo>
                <a:lnTo>
                  <a:pt x="6700" y="1347"/>
                </a:lnTo>
                <a:lnTo>
                  <a:pt x="6701" y="1350"/>
                </a:lnTo>
                <a:lnTo>
                  <a:pt x="6702" y="1352"/>
                </a:lnTo>
                <a:lnTo>
                  <a:pt x="6705" y="1354"/>
                </a:lnTo>
                <a:lnTo>
                  <a:pt x="6708" y="1357"/>
                </a:lnTo>
                <a:lnTo>
                  <a:pt x="6712" y="1358"/>
                </a:lnTo>
                <a:lnTo>
                  <a:pt x="6719" y="1358"/>
                </a:lnTo>
                <a:lnTo>
                  <a:pt x="6725" y="1358"/>
                </a:lnTo>
                <a:lnTo>
                  <a:pt x="6732" y="1357"/>
                </a:lnTo>
                <a:lnTo>
                  <a:pt x="6738" y="1354"/>
                </a:lnTo>
                <a:lnTo>
                  <a:pt x="6744" y="1352"/>
                </a:lnTo>
                <a:lnTo>
                  <a:pt x="6747" y="1350"/>
                </a:lnTo>
                <a:lnTo>
                  <a:pt x="6749" y="1348"/>
                </a:lnTo>
                <a:lnTo>
                  <a:pt x="6751" y="1347"/>
                </a:lnTo>
                <a:lnTo>
                  <a:pt x="6754" y="1347"/>
                </a:lnTo>
                <a:lnTo>
                  <a:pt x="6758" y="1348"/>
                </a:lnTo>
                <a:lnTo>
                  <a:pt x="6764" y="1351"/>
                </a:lnTo>
                <a:lnTo>
                  <a:pt x="6775" y="1362"/>
                </a:lnTo>
                <a:lnTo>
                  <a:pt x="6782" y="1370"/>
                </a:lnTo>
                <a:lnTo>
                  <a:pt x="6786" y="1373"/>
                </a:lnTo>
                <a:lnTo>
                  <a:pt x="6789" y="1374"/>
                </a:lnTo>
                <a:lnTo>
                  <a:pt x="6793" y="1375"/>
                </a:lnTo>
                <a:lnTo>
                  <a:pt x="6797" y="1373"/>
                </a:lnTo>
                <a:lnTo>
                  <a:pt x="6806" y="1369"/>
                </a:lnTo>
                <a:lnTo>
                  <a:pt x="6812" y="1365"/>
                </a:lnTo>
                <a:lnTo>
                  <a:pt x="6815" y="1363"/>
                </a:lnTo>
                <a:lnTo>
                  <a:pt x="6818" y="1359"/>
                </a:lnTo>
                <a:lnTo>
                  <a:pt x="6821" y="1353"/>
                </a:lnTo>
                <a:lnTo>
                  <a:pt x="6823" y="1346"/>
                </a:lnTo>
                <a:lnTo>
                  <a:pt x="6824" y="1339"/>
                </a:lnTo>
                <a:lnTo>
                  <a:pt x="6824" y="1330"/>
                </a:lnTo>
                <a:lnTo>
                  <a:pt x="6823" y="1322"/>
                </a:lnTo>
                <a:lnTo>
                  <a:pt x="6821" y="1314"/>
                </a:lnTo>
                <a:lnTo>
                  <a:pt x="6820" y="1305"/>
                </a:lnTo>
                <a:lnTo>
                  <a:pt x="6819" y="1298"/>
                </a:lnTo>
                <a:lnTo>
                  <a:pt x="6819" y="1292"/>
                </a:lnTo>
                <a:lnTo>
                  <a:pt x="6821" y="1286"/>
                </a:lnTo>
                <a:lnTo>
                  <a:pt x="6826" y="1281"/>
                </a:lnTo>
                <a:lnTo>
                  <a:pt x="6834" y="1275"/>
                </a:lnTo>
                <a:lnTo>
                  <a:pt x="6842" y="1270"/>
                </a:lnTo>
                <a:lnTo>
                  <a:pt x="6852" y="1264"/>
                </a:lnTo>
                <a:lnTo>
                  <a:pt x="6869" y="1256"/>
                </a:lnTo>
                <a:lnTo>
                  <a:pt x="6877" y="1252"/>
                </a:lnTo>
                <a:lnTo>
                  <a:pt x="6887" y="1253"/>
                </a:lnTo>
                <a:lnTo>
                  <a:pt x="6909" y="1257"/>
                </a:lnTo>
                <a:lnTo>
                  <a:pt x="6921" y="1260"/>
                </a:lnTo>
                <a:lnTo>
                  <a:pt x="6931" y="1265"/>
                </a:lnTo>
                <a:lnTo>
                  <a:pt x="6935" y="1267"/>
                </a:lnTo>
                <a:lnTo>
                  <a:pt x="6938" y="1271"/>
                </a:lnTo>
                <a:lnTo>
                  <a:pt x="6940" y="1275"/>
                </a:lnTo>
                <a:lnTo>
                  <a:pt x="6940" y="1278"/>
                </a:lnTo>
                <a:lnTo>
                  <a:pt x="6939" y="1285"/>
                </a:lnTo>
                <a:lnTo>
                  <a:pt x="6937" y="1289"/>
                </a:lnTo>
                <a:lnTo>
                  <a:pt x="6933" y="1293"/>
                </a:lnTo>
                <a:lnTo>
                  <a:pt x="6931" y="1296"/>
                </a:lnTo>
                <a:lnTo>
                  <a:pt x="6929" y="1298"/>
                </a:lnTo>
                <a:lnTo>
                  <a:pt x="6928" y="1301"/>
                </a:lnTo>
                <a:lnTo>
                  <a:pt x="6929" y="1304"/>
                </a:lnTo>
                <a:lnTo>
                  <a:pt x="6932" y="1309"/>
                </a:lnTo>
                <a:lnTo>
                  <a:pt x="6940" y="1320"/>
                </a:lnTo>
                <a:lnTo>
                  <a:pt x="6945" y="1327"/>
                </a:lnTo>
                <a:lnTo>
                  <a:pt x="6946" y="1332"/>
                </a:lnTo>
                <a:lnTo>
                  <a:pt x="6947" y="1337"/>
                </a:lnTo>
                <a:lnTo>
                  <a:pt x="6947" y="1339"/>
                </a:lnTo>
                <a:lnTo>
                  <a:pt x="6948" y="1341"/>
                </a:lnTo>
                <a:lnTo>
                  <a:pt x="6950" y="1344"/>
                </a:lnTo>
                <a:lnTo>
                  <a:pt x="6952" y="1346"/>
                </a:lnTo>
                <a:lnTo>
                  <a:pt x="6956" y="1346"/>
                </a:lnTo>
                <a:lnTo>
                  <a:pt x="6961" y="1346"/>
                </a:lnTo>
                <a:lnTo>
                  <a:pt x="6965" y="1343"/>
                </a:lnTo>
                <a:lnTo>
                  <a:pt x="6971" y="1337"/>
                </a:lnTo>
                <a:lnTo>
                  <a:pt x="6982" y="1321"/>
                </a:lnTo>
                <a:lnTo>
                  <a:pt x="6993" y="1303"/>
                </a:lnTo>
                <a:lnTo>
                  <a:pt x="6998" y="1296"/>
                </a:lnTo>
                <a:lnTo>
                  <a:pt x="7004" y="1291"/>
                </a:lnTo>
                <a:lnTo>
                  <a:pt x="7007" y="1289"/>
                </a:lnTo>
                <a:lnTo>
                  <a:pt x="7009" y="1288"/>
                </a:lnTo>
                <a:lnTo>
                  <a:pt x="7012" y="1288"/>
                </a:lnTo>
                <a:lnTo>
                  <a:pt x="7015" y="1289"/>
                </a:lnTo>
                <a:lnTo>
                  <a:pt x="7031" y="1299"/>
                </a:lnTo>
                <a:lnTo>
                  <a:pt x="7049" y="1310"/>
                </a:lnTo>
                <a:lnTo>
                  <a:pt x="7056" y="1317"/>
                </a:lnTo>
                <a:lnTo>
                  <a:pt x="7062" y="1323"/>
                </a:lnTo>
                <a:lnTo>
                  <a:pt x="7065" y="1326"/>
                </a:lnTo>
                <a:lnTo>
                  <a:pt x="7066" y="1329"/>
                </a:lnTo>
                <a:lnTo>
                  <a:pt x="7067" y="1331"/>
                </a:lnTo>
                <a:lnTo>
                  <a:pt x="7067" y="1335"/>
                </a:lnTo>
                <a:lnTo>
                  <a:pt x="7067" y="1337"/>
                </a:lnTo>
                <a:lnTo>
                  <a:pt x="7067" y="1339"/>
                </a:lnTo>
                <a:lnTo>
                  <a:pt x="7070" y="1341"/>
                </a:lnTo>
                <a:lnTo>
                  <a:pt x="7072" y="1344"/>
                </a:lnTo>
                <a:lnTo>
                  <a:pt x="7077" y="1349"/>
                </a:lnTo>
                <a:lnTo>
                  <a:pt x="7084" y="1354"/>
                </a:lnTo>
                <a:lnTo>
                  <a:pt x="7100" y="1365"/>
                </a:lnTo>
                <a:lnTo>
                  <a:pt x="7110" y="1374"/>
                </a:lnTo>
                <a:lnTo>
                  <a:pt x="7116" y="1383"/>
                </a:lnTo>
                <a:lnTo>
                  <a:pt x="7119" y="1392"/>
                </a:lnTo>
                <a:lnTo>
                  <a:pt x="7121" y="1396"/>
                </a:lnTo>
                <a:lnTo>
                  <a:pt x="7123" y="1399"/>
                </a:lnTo>
                <a:lnTo>
                  <a:pt x="7126" y="1401"/>
                </a:lnTo>
                <a:lnTo>
                  <a:pt x="7129" y="1401"/>
                </a:lnTo>
                <a:lnTo>
                  <a:pt x="7139" y="1398"/>
                </a:lnTo>
                <a:lnTo>
                  <a:pt x="7151" y="1393"/>
                </a:lnTo>
                <a:lnTo>
                  <a:pt x="7163" y="1389"/>
                </a:lnTo>
                <a:lnTo>
                  <a:pt x="7169" y="1386"/>
                </a:lnTo>
                <a:lnTo>
                  <a:pt x="7184" y="1388"/>
                </a:lnTo>
                <a:lnTo>
                  <a:pt x="7211" y="1394"/>
                </a:lnTo>
                <a:lnTo>
                  <a:pt x="7225" y="1398"/>
                </a:lnTo>
                <a:lnTo>
                  <a:pt x="7237" y="1403"/>
                </a:lnTo>
                <a:lnTo>
                  <a:pt x="7247" y="1406"/>
                </a:lnTo>
                <a:lnTo>
                  <a:pt x="7251" y="1408"/>
                </a:lnTo>
                <a:lnTo>
                  <a:pt x="7259" y="1409"/>
                </a:lnTo>
                <a:lnTo>
                  <a:pt x="7273" y="1409"/>
                </a:lnTo>
                <a:lnTo>
                  <a:pt x="7279" y="1409"/>
                </a:lnTo>
                <a:lnTo>
                  <a:pt x="7285" y="1411"/>
                </a:lnTo>
                <a:lnTo>
                  <a:pt x="7288" y="1413"/>
                </a:lnTo>
                <a:lnTo>
                  <a:pt x="7290" y="1416"/>
                </a:lnTo>
                <a:lnTo>
                  <a:pt x="7291" y="1419"/>
                </a:lnTo>
                <a:lnTo>
                  <a:pt x="7291" y="1424"/>
                </a:lnTo>
                <a:lnTo>
                  <a:pt x="7291" y="1432"/>
                </a:lnTo>
                <a:lnTo>
                  <a:pt x="7290" y="1439"/>
                </a:lnTo>
                <a:lnTo>
                  <a:pt x="7288" y="1446"/>
                </a:lnTo>
                <a:lnTo>
                  <a:pt x="7285" y="1451"/>
                </a:lnTo>
                <a:lnTo>
                  <a:pt x="7282" y="1459"/>
                </a:lnTo>
                <a:lnTo>
                  <a:pt x="7281" y="1467"/>
                </a:lnTo>
                <a:lnTo>
                  <a:pt x="7292" y="1481"/>
                </a:lnTo>
                <a:lnTo>
                  <a:pt x="7302" y="1495"/>
                </a:lnTo>
                <a:lnTo>
                  <a:pt x="7301" y="1505"/>
                </a:lnTo>
                <a:lnTo>
                  <a:pt x="7299" y="1518"/>
                </a:lnTo>
                <a:lnTo>
                  <a:pt x="7297" y="1528"/>
                </a:lnTo>
                <a:lnTo>
                  <a:pt x="7296" y="1533"/>
                </a:lnTo>
                <a:lnTo>
                  <a:pt x="7299" y="1530"/>
                </a:lnTo>
                <a:lnTo>
                  <a:pt x="7306" y="1525"/>
                </a:lnTo>
                <a:lnTo>
                  <a:pt x="7311" y="1521"/>
                </a:lnTo>
                <a:lnTo>
                  <a:pt x="7315" y="1516"/>
                </a:lnTo>
                <a:lnTo>
                  <a:pt x="7318" y="1508"/>
                </a:lnTo>
                <a:lnTo>
                  <a:pt x="7320" y="1500"/>
                </a:lnTo>
                <a:lnTo>
                  <a:pt x="7321" y="1492"/>
                </a:lnTo>
                <a:lnTo>
                  <a:pt x="7324" y="1484"/>
                </a:lnTo>
                <a:lnTo>
                  <a:pt x="7327" y="1479"/>
                </a:lnTo>
                <a:lnTo>
                  <a:pt x="7330" y="1474"/>
                </a:lnTo>
                <a:lnTo>
                  <a:pt x="7335" y="1471"/>
                </a:lnTo>
                <a:lnTo>
                  <a:pt x="7339" y="1468"/>
                </a:lnTo>
                <a:lnTo>
                  <a:pt x="7342" y="1467"/>
                </a:lnTo>
                <a:lnTo>
                  <a:pt x="7344" y="1465"/>
                </a:lnTo>
                <a:lnTo>
                  <a:pt x="7349" y="1463"/>
                </a:lnTo>
                <a:lnTo>
                  <a:pt x="7359" y="1462"/>
                </a:lnTo>
                <a:lnTo>
                  <a:pt x="7365" y="1462"/>
                </a:lnTo>
                <a:lnTo>
                  <a:pt x="7373" y="1463"/>
                </a:lnTo>
                <a:lnTo>
                  <a:pt x="7383" y="1467"/>
                </a:lnTo>
                <a:lnTo>
                  <a:pt x="7395" y="1472"/>
                </a:lnTo>
                <a:lnTo>
                  <a:pt x="7403" y="1474"/>
                </a:lnTo>
                <a:lnTo>
                  <a:pt x="7408" y="1476"/>
                </a:lnTo>
                <a:lnTo>
                  <a:pt x="7414" y="1476"/>
                </a:lnTo>
                <a:lnTo>
                  <a:pt x="7418" y="1476"/>
                </a:lnTo>
                <a:lnTo>
                  <a:pt x="7428" y="1473"/>
                </a:lnTo>
                <a:lnTo>
                  <a:pt x="7435" y="1469"/>
                </a:lnTo>
                <a:lnTo>
                  <a:pt x="7442" y="1465"/>
                </a:lnTo>
                <a:lnTo>
                  <a:pt x="7447" y="1462"/>
                </a:lnTo>
                <a:lnTo>
                  <a:pt x="7449" y="1461"/>
                </a:lnTo>
                <a:lnTo>
                  <a:pt x="7451" y="1462"/>
                </a:lnTo>
                <a:lnTo>
                  <a:pt x="7453" y="1463"/>
                </a:lnTo>
                <a:lnTo>
                  <a:pt x="7455" y="1465"/>
                </a:lnTo>
                <a:lnTo>
                  <a:pt x="7464" y="1476"/>
                </a:lnTo>
                <a:lnTo>
                  <a:pt x="7471" y="1486"/>
                </a:lnTo>
                <a:lnTo>
                  <a:pt x="7476" y="1496"/>
                </a:lnTo>
                <a:lnTo>
                  <a:pt x="7479" y="1505"/>
                </a:lnTo>
                <a:lnTo>
                  <a:pt x="7482" y="1511"/>
                </a:lnTo>
                <a:lnTo>
                  <a:pt x="7487" y="1516"/>
                </a:lnTo>
                <a:lnTo>
                  <a:pt x="7493" y="1520"/>
                </a:lnTo>
                <a:lnTo>
                  <a:pt x="7499" y="1523"/>
                </a:lnTo>
                <a:lnTo>
                  <a:pt x="7505" y="1524"/>
                </a:lnTo>
                <a:lnTo>
                  <a:pt x="7512" y="1525"/>
                </a:lnTo>
                <a:lnTo>
                  <a:pt x="7514" y="1524"/>
                </a:lnTo>
                <a:lnTo>
                  <a:pt x="7516" y="1522"/>
                </a:lnTo>
                <a:lnTo>
                  <a:pt x="7518" y="1521"/>
                </a:lnTo>
                <a:lnTo>
                  <a:pt x="7519" y="1518"/>
                </a:lnTo>
                <a:lnTo>
                  <a:pt x="7522" y="1507"/>
                </a:lnTo>
                <a:lnTo>
                  <a:pt x="7524" y="1500"/>
                </a:lnTo>
                <a:lnTo>
                  <a:pt x="7524" y="1497"/>
                </a:lnTo>
                <a:lnTo>
                  <a:pt x="7523" y="1494"/>
                </a:lnTo>
                <a:lnTo>
                  <a:pt x="7520" y="1490"/>
                </a:lnTo>
                <a:lnTo>
                  <a:pt x="7515" y="1484"/>
                </a:lnTo>
                <a:lnTo>
                  <a:pt x="7510" y="1478"/>
                </a:lnTo>
                <a:lnTo>
                  <a:pt x="7505" y="1473"/>
                </a:lnTo>
                <a:lnTo>
                  <a:pt x="7504" y="1468"/>
                </a:lnTo>
                <a:lnTo>
                  <a:pt x="7504" y="1463"/>
                </a:lnTo>
                <a:lnTo>
                  <a:pt x="7505" y="1460"/>
                </a:lnTo>
                <a:lnTo>
                  <a:pt x="7506" y="1457"/>
                </a:lnTo>
                <a:lnTo>
                  <a:pt x="7510" y="1455"/>
                </a:lnTo>
                <a:lnTo>
                  <a:pt x="7512" y="1454"/>
                </a:lnTo>
                <a:lnTo>
                  <a:pt x="7518" y="1452"/>
                </a:lnTo>
                <a:lnTo>
                  <a:pt x="7530" y="1447"/>
                </a:lnTo>
                <a:lnTo>
                  <a:pt x="7536" y="1446"/>
                </a:lnTo>
                <a:lnTo>
                  <a:pt x="7543" y="1445"/>
                </a:lnTo>
                <a:lnTo>
                  <a:pt x="7550" y="1446"/>
                </a:lnTo>
                <a:lnTo>
                  <a:pt x="7558" y="1448"/>
                </a:lnTo>
                <a:lnTo>
                  <a:pt x="7566" y="1452"/>
                </a:lnTo>
                <a:lnTo>
                  <a:pt x="7576" y="1455"/>
                </a:lnTo>
                <a:lnTo>
                  <a:pt x="7587" y="1457"/>
                </a:lnTo>
                <a:lnTo>
                  <a:pt x="7598" y="1459"/>
                </a:lnTo>
                <a:lnTo>
                  <a:pt x="7619" y="1462"/>
                </a:lnTo>
                <a:lnTo>
                  <a:pt x="7633" y="1465"/>
                </a:lnTo>
                <a:lnTo>
                  <a:pt x="7645" y="1472"/>
                </a:lnTo>
                <a:lnTo>
                  <a:pt x="7665" y="1484"/>
                </a:lnTo>
                <a:lnTo>
                  <a:pt x="7690" y="1502"/>
                </a:lnTo>
                <a:lnTo>
                  <a:pt x="7719" y="1523"/>
                </a:lnTo>
                <a:lnTo>
                  <a:pt x="7749" y="1545"/>
                </a:lnTo>
                <a:lnTo>
                  <a:pt x="7775" y="1566"/>
                </a:lnTo>
                <a:lnTo>
                  <a:pt x="7797" y="1584"/>
                </a:lnTo>
                <a:lnTo>
                  <a:pt x="7810" y="1596"/>
                </a:lnTo>
                <a:lnTo>
                  <a:pt x="7818" y="1604"/>
                </a:lnTo>
                <a:lnTo>
                  <a:pt x="7824" y="1608"/>
                </a:lnTo>
                <a:lnTo>
                  <a:pt x="7829" y="1611"/>
                </a:lnTo>
                <a:lnTo>
                  <a:pt x="7833" y="1613"/>
                </a:lnTo>
                <a:lnTo>
                  <a:pt x="7837" y="1616"/>
                </a:lnTo>
                <a:lnTo>
                  <a:pt x="7839" y="1621"/>
                </a:lnTo>
                <a:lnTo>
                  <a:pt x="7841" y="1629"/>
                </a:lnTo>
                <a:lnTo>
                  <a:pt x="7841" y="1640"/>
                </a:lnTo>
                <a:lnTo>
                  <a:pt x="7841" y="1654"/>
                </a:lnTo>
                <a:lnTo>
                  <a:pt x="7842" y="1664"/>
                </a:lnTo>
                <a:lnTo>
                  <a:pt x="7843" y="1670"/>
                </a:lnTo>
                <a:lnTo>
                  <a:pt x="7844" y="1673"/>
                </a:lnTo>
                <a:lnTo>
                  <a:pt x="7846" y="1675"/>
                </a:lnTo>
                <a:lnTo>
                  <a:pt x="7848" y="1674"/>
                </a:lnTo>
                <a:lnTo>
                  <a:pt x="7849" y="1672"/>
                </a:lnTo>
                <a:lnTo>
                  <a:pt x="7851" y="1670"/>
                </a:lnTo>
                <a:lnTo>
                  <a:pt x="7852" y="1660"/>
                </a:lnTo>
                <a:lnTo>
                  <a:pt x="7851" y="1650"/>
                </a:lnTo>
                <a:lnTo>
                  <a:pt x="7851" y="1645"/>
                </a:lnTo>
                <a:lnTo>
                  <a:pt x="7853" y="1639"/>
                </a:lnTo>
                <a:lnTo>
                  <a:pt x="7854" y="1638"/>
                </a:lnTo>
                <a:lnTo>
                  <a:pt x="7856" y="1637"/>
                </a:lnTo>
                <a:lnTo>
                  <a:pt x="7859" y="1636"/>
                </a:lnTo>
                <a:lnTo>
                  <a:pt x="7863" y="1636"/>
                </a:lnTo>
                <a:lnTo>
                  <a:pt x="7869" y="1636"/>
                </a:lnTo>
                <a:lnTo>
                  <a:pt x="7876" y="1638"/>
                </a:lnTo>
                <a:lnTo>
                  <a:pt x="7883" y="1640"/>
                </a:lnTo>
                <a:lnTo>
                  <a:pt x="7889" y="1645"/>
                </a:lnTo>
                <a:lnTo>
                  <a:pt x="7900" y="1652"/>
                </a:lnTo>
                <a:lnTo>
                  <a:pt x="7911" y="1660"/>
                </a:lnTo>
                <a:lnTo>
                  <a:pt x="7922" y="1666"/>
                </a:lnTo>
                <a:lnTo>
                  <a:pt x="7935" y="1669"/>
                </a:lnTo>
                <a:lnTo>
                  <a:pt x="7937" y="1670"/>
                </a:lnTo>
                <a:lnTo>
                  <a:pt x="7939" y="1672"/>
                </a:lnTo>
                <a:lnTo>
                  <a:pt x="7941" y="1674"/>
                </a:lnTo>
                <a:lnTo>
                  <a:pt x="7941" y="1676"/>
                </a:lnTo>
                <a:lnTo>
                  <a:pt x="7941" y="1679"/>
                </a:lnTo>
                <a:lnTo>
                  <a:pt x="7941" y="1682"/>
                </a:lnTo>
                <a:lnTo>
                  <a:pt x="7939" y="1687"/>
                </a:lnTo>
                <a:lnTo>
                  <a:pt x="7936" y="1692"/>
                </a:lnTo>
                <a:lnTo>
                  <a:pt x="7929" y="1701"/>
                </a:lnTo>
                <a:lnTo>
                  <a:pt x="7922" y="1709"/>
                </a:lnTo>
                <a:lnTo>
                  <a:pt x="7916" y="1714"/>
                </a:lnTo>
                <a:lnTo>
                  <a:pt x="7910" y="1717"/>
                </a:lnTo>
                <a:lnTo>
                  <a:pt x="7905" y="1720"/>
                </a:lnTo>
                <a:lnTo>
                  <a:pt x="7900" y="1722"/>
                </a:lnTo>
                <a:lnTo>
                  <a:pt x="7897" y="1725"/>
                </a:lnTo>
                <a:lnTo>
                  <a:pt x="7896" y="1731"/>
                </a:lnTo>
                <a:lnTo>
                  <a:pt x="7896" y="1743"/>
                </a:lnTo>
                <a:lnTo>
                  <a:pt x="7896" y="1757"/>
                </a:lnTo>
                <a:lnTo>
                  <a:pt x="7895" y="1764"/>
                </a:lnTo>
                <a:lnTo>
                  <a:pt x="7894" y="1769"/>
                </a:lnTo>
                <a:lnTo>
                  <a:pt x="7892" y="1775"/>
                </a:lnTo>
                <a:lnTo>
                  <a:pt x="7889" y="1778"/>
                </a:lnTo>
                <a:lnTo>
                  <a:pt x="7885" y="1779"/>
                </a:lnTo>
                <a:lnTo>
                  <a:pt x="7878" y="1779"/>
                </a:lnTo>
                <a:lnTo>
                  <a:pt x="7872" y="1778"/>
                </a:lnTo>
                <a:lnTo>
                  <a:pt x="7867" y="1777"/>
                </a:lnTo>
                <a:lnTo>
                  <a:pt x="7861" y="1775"/>
                </a:lnTo>
                <a:lnTo>
                  <a:pt x="7855" y="1772"/>
                </a:lnTo>
                <a:lnTo>
                  <a:pt x="7850" y="1769"/>
                </a:lnTo>
                <a:lnTo>
                  <a:pt x="7847" y="1766"/>
                </a:lnTo>
                <a:lnTo>
                  <a:pt x="7839" y="1756"/>
                </a:lnTo>
                <a:lnTo>
                  <a:pt x="7827" y="1741"/>
                </a:lnTo>
                <a:lnTo>
                  <a:pt x="7821" y="1734"/>
                </a:lnTo>
                <a:lnTo>
                  <a:pt x="7815" y="1726"/>
                </a:lnTo>
                <a:lnTo>
                  <a:pt x="7808" y="1721"/>
                </a:lnTo>
                <a:lnTo>
                  <a:pt x="7803" y="1718"/>
                </a:lnTo>
                <a:lnTo>
                  <a:pt x="7797" y="1717"/>
                </a:lnTo>
                <a:lnTo>
                  <a:pt x="7791" y="1717"/>
                </a:lnTo>
                <a:lnTo>
                  <a:pt x="7785" y="1718"/>
                </a:lnTo>
                <a:lnTo>
                  <a:pt x="7779" y="1720"/>
                </a:lnTo>
                <a:lnTo>
                  <a:pt x="7774" y="1721"/>
                </a:lnTo>
                <a:lnTo>
                  <a:pt x="7768" y="1722"/>
                </a:lnTo>
                <a:lnTo>
                  <a:pt x="7764" y="1722"/>
                </a:lnTo>
                <a:lnTo>
                  <a:pt x="7762" y="1721"/>
                </a:lnTo>
                <a:lnTo>
                  <a:pt x="7758" y="1710"/>
                </a:lnTo>
                <a:lnTo>
                  <a:pt x="7754" y="1691"/>
                </a:lnTo>
                <a:lnTo>
                  <a:pt x="7751" y="1682"/>
                </a:lnTo>
                <a:lnTo>
                  <a:pt x="7749" y="1675"/>
                </a:lnTo>
                <a:lnTo>
                  <a:pt x="7746" y="1672"/>
                </a:lnTo>
                <a:lnTo>
                  <a:pt x="7745" y="1671"/>
                </a:lnTo>
                <a:lnTo>
                  <a:pt x="7743" y="1670"/>
                </a:lnTo>
                <a:lnTo>
                  <a:pt x="7741" y="1671"/>
                </a:lnTo>
                <a:lnTo>
                  <a:pt x="7733" y="1675"/>
                </a:lnTo>
                <a:lnTo>
                  <a:pt x="7724" y="1680"/>
                </a:lnTo>
                <a:lnTo>
                  <a:pt x="7721" y="1682"/>
                </a:lnTo>
                <a:lnTo>
                  <a:pt x="7719" y="1686"/>
                </a:lnTo>
                <a:lnTo>
                  <a:pt x="7718" y="1689"/>
                </a:lnTo>
                <a:lnTo>
                  <a:pt x="7720" y="1692"/>
                </a:lnTo>
                <a:lnTo>
                  <a:pt x="7725" y="1698"/>
                </a:lnTo>
                <a:lnTo>
                  <a:pt x="7731" y="1703"/>
                </a:lnTo>
                <a:lnTo>
                  <a:pt x="7733" y="1706"/>
                </a:lnTo>
                <a:lnTo>
                  <a:pt x="7734" y="1710"/>
                </a:lnTo>
                <a:lnTo>
                  <a:pt x="7734" y="1713"/>
                </a:lnTo>
                <a:lnTo>
                  <a:pt x="7732" y="1717"/>
                </a:lnTo>
                <a:lnTo>
                  <a:pt x="7728" y="1724"/>
                </a:lnTo>
                <a:lnTo>
                  <a:pt x="7724" y="1728"/>
                </a:lnTo>
                <a:lnTo>
                  <a:pt x="7719" y="1734"/>
                </a:lnTo>
                <a:lnTo>
                  <a:pt x="7713" y="1742"/>
                </a:lnTo>
                <a:lnTo>
                  <a:pt x="7706" y="1753"/>
                </a:lnTo>
                <a:lnTo>
                  <a:pt x="7700" y="1759"/>
                </a:lnTo>
                <a:lnTo>
                  <a:pt x="7698" y="1761"/>
                </a:lnTo>
                <a:lnTo>
                  <a:pt x="7696" y="1762"/>
                </a:lnTo>
                <a:lnTo>
                  <a:pt x="7693" y="1761"/>
                </a:lnTo>
                <a:lnTo>
                  <a:pt x="7689" y="1760"/>
                </a:lnTo>
                <a:lnTo>
                  <a:pt x="7681" y="1754"/>
                </a:lnTo>
                <a:lnTo>
                  <a:pt x="7673" y="1746"/>
                </a:lnTo>
                <a:lnTo>
                  <a:pt x="7670" y="1744"/>
                </a:lnTo>
                <a:lnTo>
                  <a:pt x="7666" y="1742"/>
                </a:lnTo>
                <a:lnTo>
                  <a:pt x="7664" y="1743"/>
                </a:lnTo>
                <a:lnTo>
                  <a:pt x="7662" y="1743"/>
                </a:lnTo>
                <a:lnTo>
                  <a:pt x="7659" y="1744"/>
                </a:lnTo>
                <a:lnTo>
                  <a:pt x="7657" y="1746"/>
                </a:lnTo>
                <a:lnTo>
                  <a:pt x="7654" y="1750"/>
                </a:lnTo>
                <a:lnTo>
                  <a:pt x="7653" y="1754"/>
                </a:lnTo>
                <a:lnTo>
                  <a:pt x="7654" y="1757"/>
                </a:lnTo>
                <a:lnTo>
                  <a:pt x="7657" y="1760"/>
                </a:lnTo>
                <a:lnTo>
                  <a:pt x="7668" y="1769"/>
                </a:lnTo>
                <a:lnTo>
                  <a:pt x="7683" y="1784"/>
                </a:lnTo>
                <a:lnTo>
                  <a:pt x="7690" y="1794"/>
                </a:lnTo>
                <a:lnTo>
                  <a:pt x="7696" y="1803"/>
                </a:lnTo>
                <a:lnTo>
                  <a:pt x="7700" y="1810"/>
                </a:lnTo>
                <a:lnTo>
                  <a:pt x="7702" y="1816"/>
                </a:lnTo>
                <a:lnTo>
                  <a:pt x="7707" y="1828"/>
                </a:lnTo>
                <a:lnTo>
                  <a:pt x="7708" y="1835"/>
                </a:lnTo>
                <a:lnTo>
                  <a:pt x="7707" y="1846"/>
                </a:lnTo>
                <a:lnTo>
                  <a:pt x="7702" y="1857"/>
                </a:lnTo>
                <a:lnTo>
                  <a:pt x="7699" y="1868"/>
                </a:lnTo>
                <a:lnTo>
                  <a:pt x="7697" y="1873"/>
                </a:lnTo>
                <a:lnTo>
                  <a:pt x="7693" y="1867"/>
                </a:lnTo>
                <a:lnTo>
                  <a:pt x="7684" y="1856"/>
                </a:lnTo>
                <a:lnTo>
                  <a:pt x="7677" y="1851"/>
                </a:lnTo>
                <a:lnTo>
                  <a:pt x="7671" y="1848"/>
                </a:lnTo>
                <a:lnTo>
                  <a:pt x="7668" y="1848"/>
                </a:lnTo>
                <a:lnTo>
                  <a:pt x="7665" y="1848"/>
                </a:lnTo>
                <a:lnTo>
                  <a:pt x="7662" y="1850"/>
                </a:lnTo>
                <a:lnTo>
                  <a:pt x="7658" y="1852"/>
                </a:lnTo>
                <a:lnTo>
                  <a:pt x="7648" y="1862"/>
                </a:lnTo>
                <a:lnTo>
                  <a:pt x="7631" y="1874"/>
                </a:lnTo>
                <a:lnTo>
                  <a:pt x="7609" y="1890"/>
                </a:lnTo>
                <a:lnTo>
                  <a:pt x="7586" y="1907"/>
                </a:lnTo>
                <a:lnTo>
                  <a:pt x="7543" y="1936"/>
                </a:lnTo>
                <a:lnTo>
                  <a:pt x="7522" y="1953"/>
                </a:lnTo>
                <a:lnTo>
                  <a:pt x="7516" y="1961"/>
                </a:lnTo>
                <a:lnTo>
                  <a:pt x="7509" y="1973"/>
                </a:lnTo>
                <a:lnTo>
                  <a:pt x="7501" y="1983"/>
                </a:lnTo>
                <a:lnTo>
                  <a:pt x="7498" y="1987"/>
                </a:lnTo>
                <a:lnTo>
                  <a:pt x="7498" y="1984"/>
                </a:lnTo>
                <a:lnTo>
                  <a:pt x="7496" y="1977"/>
                </a:lnTo>
                <a:lnTo>
                  <a:pt x="7494" y="1972"/>
                </a:lnTo>
                <a:lnTo>
                  <a:pt x="7490" y="1966"/>
                </a:lnTo>
                <a:lnTo>
                  <a:pt x="7484" y="1961"/>
                </a:lnTo>
                <a:lnTo>
                  <a:pt x="7477" y="1957"/>
                </a:lnTo>
                <a:lnTo>
                  <a:pt x="7469" y="1954"/>
                </a:lnTo>
                <a:lnTo>
                  <a:pt x="7462" y="1952"/>
                </a:lnTo>
                <a:lnTo>
                  <a:pt x="7458" y="1953"/>
                </a:lnTo>
                <a:lnTo>
                  <a:pt x="7453" y="1954"/>
                </a:lnTo>
                <a:lnTo>
                  <a:pt x="7445" y="1962"/>
                </a:lnTo>
                <a:lnTo>
                  <a:pt x="7434" y="1974"/>
                </a:lnTo>
                <a:lnTo>
                  <a:pt x="7424" y="1985"/>
                </a:lnTo>
                <a:lnTo>
                  <a:pt x="7415" y="1993"/>
                </a:lnTo>
                <a:lnTo>
                  <a:pt x="7412" y="1995"/>
                </a:lnTo>
                <a:lnTo>
                  <a:pt x="7408" y="1995"/>
                </a:lnTo>
                <a:lnTo>
                  <a:pt x="7405" y="1994"/>
                </a:lnTo>
                <a:lnTo>
                  <a:pt x="7402" y="1989"/>
                </a:lnTo>
                <a:lnTo>
                  <a:pt x="7398" y="1986"/>
                </a:lnTo>
                <a:lnTo>
                  <a:pt x="7392" y="1984"/>
                </a:lnTo>
                <a:lnTo>
                  <a:pt x="7387" y="1983"/>
                </a:lnTo>
                <a:lnTo>
                  <a:pt x="7382" y="1983"/>
                </a:lnTo>
                <a:lnTo>
                  <a:pt x="7372" y="1985"/>
                </a:lnTo>
                <a:lnTo>
                  <a:pt x="7369" y="1986"/>
                </a:lnTo>
                <a:lnTo>
                  <a:pt x="7368" y="1985"/>
                </a:lnTo>
                <a:lnTo>
                  <a:pt x="7364" y="1985"/>
                </a:lnTo>
                <a:lnTo>
                  <a:pt x="7362" y="1986"/>
                </a:lnTo>
                <a:lnTo>
                  <a:pt x="7360" y="1988"/>
                </a:lnTo>
                <a:lnTo>
                  <a:pt x="7357" y="1991"/>
                </a:lnTo>
                <a:lnTo>
                  <a:pt x="7354" y="1997"/>
                </a:lnTo>
                <a:lnTo>
                  <a:pt x="7347" y="2010"/>
                </a:lnTo>
                <a:lnTo>
                  <a:pt x="7342" y="2024"/>
                </a:lnTo>
                <a:lnTo>
                  <a:pt x="7339" y="2033"/>
                </a:lnTo>
                <a:lnTo>
                  <a:pt x="7337" y="2038"/>
                </a:lnTo>
                <a:lnTo>
                  <a:pt x="7334" y="2038"/>
                </a:lnTo>
                <a:lnTo>
                  <a:pt x="7326" y="2040"/>
                </a:lnTo>
                <a:lnTo>
                  <a:pt x="7324" y="2042"/>
                </a:lnTo>
                <a:lnTo>
                  <a:pt x="7322" y="2045"/>
                </a:lnTo>
                <a:lnTo>
                  <a:pt x="7323" y="2049"/>
                </a:lnTo>
                <a:lnTo>
                  <a:pt x="7328" y="2054"/>
                </a:lnTo>
                <a:lnTo>
                  <a:pt x="7340" y="2064"/>
                </a:lnTo>
                <a:lnTo>
                  <a:pt x="7348" y="2069"/>
                </a:lnTo>
                <a:lnTo>
                  <a:pt x="7351" y="2071"/>
                </a:lnTo>
                <a:lnTo>
                  <a:pt x="7354" y="2073"/>
                </a:lnTo>
                <a:lnTo>
                  <a:pt x="7355" y="2074"/>
                </a:lnTo>
                <a:lnTo>
                  <a:pt x="7354" y="2076"/>
                </a:lnTo>
                <a:lnTo>
                  <a:pt x="7349" y="2082"/>
                </a:lnTo>
                <a:lnTo>
                  <a:pt x="7345" y="2086"/>
                </a:lnTo>
                <a:lnTo>
                  <a:pt x="7342" y="2089"/>
                </a:lnTo>
                <a:lnTo>
                  <a:pt x="7341" y="2092"/>
                </a:lnTo>
                <a:lnTo>
                  <a:pt x="7340" y="2095"/>
                </a:lnTo>
                <a:lnTo>
                  <a:pt x="7340" y="2099"/>
                </a:lnTo>
                <a:lnTo>
                  <a:pt x="7343" y="2108"/>
                </a:lnTo>
                <a:lnTo>
                  <a:pt x="7347" y="2116"/>
                </a:lnTo>
                <a:lnTo>
                  <a:pt x="7351" y="2121"/>
                </a:lnTo>
                <a:lnTo>
                  <a:pt x="7352" y="2123"/>
                </a:lnTo>
                <a:lnTo>
                  <a:pt x="7354" y="2126"/>
                </a:lnTo>
                <a:lnTo>
                  <a:pt x="7354" y="2131"/>
                </a:lnTo>
                <a:lnTo>
                  <a:pt x="7354" y="2134"/>
                </a:lnTo>
                <a:lnTo>
                  <a:pt x="7352" y="2137"/>
                </a:lnTo>
                <a:lnTo>
                  <a:pt x="7349" y="2140"/>
                </a:lnTo>
                <a:lnTo>
                  <a:pt x="7345" y="2143"/>
                </a:lnTo>
                <a:lnTo>
                  <a:pt x="7326" y="2153"/>
                </a:lnTo>
                <a:lnTo>
                  <a:pt x="7318" y="2157"/>
                </a:lnTo>
                <a:lnTo>
                  <a:pt x="7317" y="2166"/>
                </a:lnTo>
                <a:lnTo>
                  <a:pt x="7318" y="2179"/>
                </a:lnTo>
                <a:lnTo>
                  <a:pt x="7318" y="2185"/>
                </a:lnTo>
                <a:lnTo>
                  <a:pt x="7317" y="2193"/>
                </a:lnTo>
                <a:lnTo>
                  <a:pt x="7316" y="2197"/>
                </a:lnTo>
                <a:lnTo>
                  <a:pt x="7314" y="2200"/>
                </a:lnTo>
                <a:lnTo>
                  <a:pt x="7312" y="2203"/>
                </a:lnTo>
                <a:lnTo>
                  <a:pt x="7310" y="2205"/>
                </a:lnTo>
                <a:lnTo>
                  <a:pt x="7303" y="2210"/>
                </a:lnTo>
                <a:lnTo>
                  <a:pt x="7291" y="2224"/>
                </a:lnTo>
                <a:lnTo>
                  <a:pt x="7274" y="2243"/>
                </a:lnTo>
                <a:lnTo>
                  <a:pt x="7255" y="2265"/>
                </a:lnTo>
                <a:lnTo>
                  <a:pt x="7236" y="2288"/>
                </a:lnTo>
                <a:lnTo>
                  <a:pt x="7218" y="2310"/>
                </a:lnTo>
                <a:lnTo>
                  <a:pt x="7204" y="2329"/>
                </a:lnTo>
                <a:lnTo>
                  <a:pt x="7195" y="2342"/>
                </a:lnTo>
                <a:lnTo>
                  <a:pt x="7190" y="2352"/>
                </a:lnTo>
                <a:lnTo>
                  <a:pt x="7184" y="2360"/>
                </a:lnTo>
                <a:lnTo>
                  <a:pt x="7177" y="2368"/>
                </a:lnTo>
                <a:lnTo>
                  <a:pt x="7172" y="2373"/>
                </a:lnTo>
                <a:lnTo>
                  <a:pt x="7164" y="2381"/>
                </a:lnTo>
                <a:lnTo>
                  <a:pt x="7161" y="2383"/>
                </a:lnTo>
                <a:lnTo>
                  <a:pt x="7144" y="2423"/>
                </a:lnTo>
                <a:lnTo>
                  <a:pt x="7141" y="2427"/>
                </a:lnTo>
                <a:lnTo>
                  <a:pt x="7132" y="2438"/>
                </a:lnTo>
                <a:lnTo>
                  <a:pt x="7127" y="2444"/>
                </a:lnTo>
                <a:lnTo>
                  <a:pt x="7122" y="2448"/>
                </a:lnTo>
                <a:lnTo>
                  <a:pt x="7118" y="2452"/>
                </a:lnTo>
                <a:lnTo>
                  <a:pt x="7114" y="2454"/>
                </a:lnTo>
                <a:lnTo>
                  <a:pt x="7111" y="2454"/>
                </a:lnTo>
                <a:lnTo>
                  <a:pt x="7110" y="2452"/>
                </a:lnTo>
                <a:lnTo>
                  <a:pt x="7109" y="2451"/>
                </a:lnTo>
                <a:lnTo>
                  <a:pt x="7109" y="2450"/>
                </a:lnTo>
                <a:lnTo>
                  <a:pt x="7110" y="2446"/>
                </a:lnTo>
                <a:lnTo>
                  <a:pt x="7111" y="2442"/>
                </a:lnTo>
                <a:lnTo>
                  <a:pt x="7116" y="2435"/>
                </a:lnTo>
                <a:lnTo>
                  <a:pt x="7118" y="2430"/>
                </a:lnTo>
                <a:lnTo>
                  <a:pt x="7144" y="2402"/>
                </a:lnTo>
                <a:lnTo>
                  <a:pt x="7146" y="2370"/>
                </a:lnTo>
                <a:lnTo>
                  <a:pt x="7171" y="2366"/>
                </a:lnTo>
                <a:lnTo>
                  <a:pt x="7174" y="2361"/>
                </a:lnTo>
                <a:lnTo>
                  <a:pt x="7182" y="2353"/>
                </a:lnTo>
                <a:lnTo>
                  <a:pt x="7186" y="2348"/>
                </a:lnTo>
                <a:lnTo>
                  <a:pt x="7188" y="2341"/>
                </a:lnTo>
                <a:lnTo>
                  <a:pt x="7189" y="2339"/>
                </a:lnTo>
                <a:lnTo>
                  <a:pt x="7189" y="2337"/>
                </a:lnTo>
                <a:lnTo>
                  <a:pt x="7188" y="2334"/>
                </a:lnTo>
                <a:lnTo>
                  <a:pt x="7187" y="2332"/>
                </a:lnTo>
                <a:lnTo>
                  <a:pt x="7185" y="2328"/>
                </a:lnTo>
                <a:lnTo>
                  <a:pt x="7185" y="2324"/>
                </a:lnTo>
                <a:lnTo>
                  <a:pt x="7187" y="2318"/>
                </a:lnTo>
                <a:lnTo>
                  <a:pt x="7189" y="2313"/>
                </a:lnTo>
                <a:lnTo>
                  <a:pt x="7194" y="2305"/>
                </a:lnTo>
                <a:lnTo>
                  <a:pt x="7197" y="2302"/>
                </a:lnTo>
                <a:lnTo>
                  <a:pt x="7198" y="2299"/>
                </a:lnTo>
                <a:lnTo>
                  <a:pt x="7198" y="2293"/>
                </a:lnTo>
                <a:lnTo>
                  <a:pt x="7198" y="2289"/>
                </a:lnTo>
                <a:lnTo>
                  <a:pt x="7198" y="2284"/>
                </a:lnTo>
                <a:lnTo>
                  <a:pt x="7197" y="2280"/>
                </a:lnTo>
                <a:lnTo>
                  <a:pt x="7195" y="2274"/>
                </a:lnTo>
                <a:lnTo>
                  <a:pt x="7191" y="2266"/>
                </a:lnTo>
                <a:lnTo>
                  <a:pt x="7187" y="2258"/>
                </a:lnTo>
                <a:lnTo>
                  <a:pt x="7185" y="2252"/>
                </a:lnTo>
                <a:lnTo>
                  <a:pt x="7184" y="2247"/>
                </a:lnTo>
                <a:lnTo>
                  <a:pt x="7184" y="2241"/>
                </a:lnTo>
                <a:lnTo>
                  <a:pt x="7183" y="2233"/>
                </a:lnTo>
                <a:lnTo>
                  <a:pt x="7180" y="2210"/>
                </a:lnTo>
                <a:lnTo>
                  <a:pt x="7175" y="2176"/>
                </a:lnTo>
                <a:lnTo>
                  <a:pt x="7174" y="2167"/>
                </a:lnTo>
                <a:lnTo>
                  <a:pt x="7174" y="2158"/>
                </a:lnTo>
                <a:lnTo>
                  <a:pt x="7175" y="2150"/>
                </a:lnTo>
                <a:lnTo>
                  <a:pt x="7176" y="2141"/>
                </a:lnTo>
                <a:lnTo>
                  <a:pt x="7177" y="2133"/>
                </a:lnTo>
                <a:lnTo>
                  <a:pt x="7181" y="2126"/>
                </a:lnTo>
                <a:lnTo>
                  <a:pt x="7185" y="2118"/>
                </a:lnTo>
                <a:lnTo>
                  <a:pt x="7189" y="2113"/>
                </a:lnTo>
                <a:lnTo>
                  <a:pt x="7214" y="2086"/>
                </a:lnTo>
                <a:lnTo>
                  <a:pt x="7240" y="2055"/>
                </a:lnTo>
                <a:lnTo>
                  <a:pt x="7262" y="2027"/>
                </a:lnTo>
                <a:lnTo>
                  <a:pt x="7276" y="2010"/>
                </a:lnTo>
                <a:lnTo>
                  <a:pt x="7293" y="1994"/>
                </a:lnTo>
                <a:lnTo>
                  <a:pt x="7323" y="1969"/>
                </a:lnTo>
                <a:lnTo>
                  <a:pt x="7339" y="1956"/>
                </a:lnTo>
                <a:lnTo>
                  <a:pt x="7352" y="1943"/>
                </a:lnTo>
                <a:lnTo>
                  <a:pt x="7359" y="1937"/>
                </a:lnTo>
                <a:lnTo>
                  <a:pt x="7363" y="1932"/>
                </a:lnTo>
                <a:lnTo>
                  <a:pt x="7366" y="1928"/>
                </a:lnTo>
                <a:lnTo>
                  <a:pt x="7368" y="1923"/>
                </a:lnTo>
                <a:lnTo>
                  <a:pt x="7369" y="1909"/>
                </a:lnTo>
                <a:lnTo>
                  <a:pt x="7369" y="1892"/>
                </a:lnTo>
                <a:lnTo>
                  <a:pt x="7369" y="1884"/>
                </a:lnTo>
                <a:lnTo>
                  <a:pt x="7371" y="1876"/>
                </a:lnTo>
                <a:lnTo>
                  <a:pt x="7372" y="1873"/>
                </a:lnTo>
                <a:lnTo>
                  <a:pt x="7373" y="1870"/>
                </a:lnTo>
                <a:lnTo>
                  <a:pt x="7376" y="1867"/>
                </a:lnTo>
                <a:lnTo>
                  <a:pt x="7379" y="1864"/>
                </a:lnTo>
                <a:lnTo>
                  <a:pt x="7383" y="1859"/>
                </a:lnTo>
                <a:lnTo>
                  <a:pt x="7385" y="1853"/>
                </a:lnTo>
                <a:lnTo>
                  <a:pt x="7386" y="1848"/>
                </a:lnTo>
                <a:lnTo>
                  <a:pt x="7385" y="1844"/>
                </a:lnTo>
                <a:lnTo>
                  <a:pt x="7384" y="1842"/>
                </a:lnTo>
                <a:lnTo>
                  <a:pt x="7383" y="1841"/>
                </a:lnTo>
                <a:lnTo>
                  <a:pt x="7381" y="1840"/>
                </a:lnTo>
                <a:lnTo>
                  <a:pt x="7379" y="1838"/>
                </a:lnTo>
                <a:lnTo>
                  <a:pt x="7376" y="1840"/>
                </a:lnTo>
                <a:lnTo>
                  <a:pt x="7372" y="1841"/>
                </a:lnTo>
                <a:lnTo>
                  <a:pt x="7369" y="1843"/>
                </a:lnTo>
                <a:lnTo>
                  <a:pt x="7366" y="1846"/>
                </a:lnTo>
                <a:lnTo>
                  <a:pt x="7350" y="1862"/>
                </a:lnTo>
                <a:lnTo>
                  <a:pt x="7337" y="1877"/>
                </a:lnTo>
                <a:lnTo>
                  <a:pt x="7326" y="1890"/>
                </a:lnTo>
                <a:lnTo>
                  <a:pt x="7323" y="1895"/>
                </a:lnTo>
                <a:lnTo>
                  <a:pt x="7288" y="1940"/>
                </a:lnTo>
                <a:lnTo>
                  <a:pt x="7285" y="1938"/>
                </a:lnTo>
                <a:lnTo>
                  <a:pt x="7279" y="1932"/>
                </a:lnTo>
                <a:lnTo>
                  <a:pt x="7276" y="1928"/>
                </a:lnTo>
                <a:lnTo>
                  <a:pt x="7272" y="1921"/>
                </a:lnTo>
                <a:lnTo>
                  <a:pt x="7270" y="1914"/>
                </a:lnTo>
                <a:lnTo>
                  <a:pt x="7268" y="1906"/>
                </a:lnTo>
                <a:lnTo>
                  <a:pt x="7266" y="1889"/>
                </a:lnTo>
                <a:lnTo>
                  <a:pt x="7263" y="1876"/>
                </a:lnTo>
                <a:lnTo>
                  <a:pt x="7262" y="1875"/>
                </a:lnTo>
                <a:lnTo>
                  <a:pt x="7261" y="1874"/>
                </a:lnTo>
                <a:lnTo>
                  <a:pt x="7260" y="1873"/>
                </a:lnTo>
                <a:lnTo>
                  <a:pt x="7258" y="1873"/>
                </a:lnTo>
                <a:lnTo>
                  <a:pt x="7253" y="1875"/>
                </a:lnTo>
                <a:lnTo>
                  <a:pt x="7245" y="1880"/>
                </a:lnTo>
                <a:lnTo>
                  <a:pt x="7236" y="1886"/>
                </a:lnTo>
                <a:lnTo>
                  <a:pt x="7230" y="1890"/>
                </a:lnTo>
                <a:lnTo>
                  <a:pt x="7224" y="1892"/>
                </a:lnTo>
                <a:lnTo>
                  <a:pt x="7219" y="1893"/>
                </a:lnTo>
                <a:lnTo>
                  <a:pt x="7215" y="1895"/>
                </a:lnTo>
                <a:lnTo>
                  <a:pt x="7211" y="1898"/>
                </a:lnTo>
                <a:lnTo>
                  <a:pt x="7207" y="1902"/>
                </a:lnTo>
                <a:lnTo>
                  <a:pt x="7202" y="1910"/>
                </a:lnTo>
                <a:lnTo>
                  <a:pt x="7189" y="1928"/>
                </a:lnTo>
                <a:lnTo>
                  <a:pt x="7175" y="1947"/>
                </a:lnTo>
                <a:lnTo>
                  <a:pt x="7169" y="1957"/>
                </a:lnTo>
                <a:lnTo>
                  <a:pt x="7163" y="1966"/>
                </a:lnTo>
                <a:lnTo>
                  <a:pt x="7159" y="1975"/>
                </a:lnTo>
                <a:lnTo>
                  <a:pt x="7157" y="1981"/>
                </a:lnTo>
                <a:lnTo>
                  <a:pt x="7154" y="1995"/>
                </a:lnTo>
                <a:lnTo>
                  <a:pt x="7154" y="2007"/>
                </a:lnTo>
                <a:lnTo>
                  <a:pt x="7155" y="2017"/>
                </a:lnTo>
                <a:lnTo>
                  <a:pt x="7157" y="2020"/>
                </a:lnTo>
                <a:lnTo>
                  <a:pt x="7155" y="2021"/>
                </a:lnTo>
                <a:lnTo>
                  <a:pt x="7150" y="2022"/>
                </a:lnTo>
                <a:lnTo>
                  <a:pt x="7140" y="2025"/>
                </a:lnTo>
                <a:lnTo>
                  <a:pt x="7121" y="2028"/>
                </a:lnTo>
                <a:lnTo>
                  <a:pt x="7109" y="2030"/>
                </a:lnTo>
                <a:lnTo>
                  <a:pt x="7099" y="2029"/>
                </a:lnTo>
                <a:lnTo>
                  <a:pt x="7088" y="2028"/>
                </a:lnTo>
                <a:lnTo>
                  <a:pt x="7078" y="2025"/>
                </a:lnTo>
                <a:lnTo>
                  <a:pt x="7070" y="2022"/>
                </a:lnTo>
                <a:lnTo>
                  <a:pt x="7062" y="2018"/>
                </a:lnTo>
                <a:lnTo>
                  <a:pt x="7057" y="2013"/>
                </a:lnTo>
                <a:lnTo>
                  <a:pt x="7054" y="2010"/>
                </a:lnTo>
                <a:lnTo>
                  <a:pt x="7051" y="2006"/>
                </a:lnTo>
                <a:lnTo>
                  <a:pt x="7048" y="2004"/>
                </a:lnTo>
                <a:lnTo>
                  <a:pt x="7043" y="2003"/>
                </a:lnTo>
                <a:lnTo>
                  <a:pt x="7040" y="2002"/>
                </a:lnTo>
                <a:lnTo>
                  <a:pt x="7035" y="2002"/>
                </a:lnTo>
                <a:lnTo>
                  <a:pt x="7031" y="2003"/>
                </a:lnTo>
                <a:lnTo>
                  <a:pt x="7027" y="2005"/>
                </a:lnTo>
                <a:lnTo>
                  <a:pt x="7022" y="2008"/>
                </a:lnTo>
                <a:lnTo>
                  <a:pt x="7018" y="2010"/>
                </a:lnTo>
                <a:lnTo>
                  <a:pt x="7012" y="2011"/>
                </a:lnTo>
                <a:lnTo>
                  <a:pt x="7004" y="2011"/>
                </a:lnTo>
                <a:lnTo>
                  <a:pt x="6996" y="2011"/>
                </a:lnTo>
                <a:lnTo>
                  <a:pt x="6988" y="2010"/>
                </a:lnTo>
                <a:lnTo>
                  <a:pt x="6979" y="2008"/>
                </a:lnTo>
                <a:lnTo>
                  <a:pt x="6973" y="2006"/>
                </a:lnTo>
                <a:lnTo>
                  <a:pt x="6967" y="2004"/>
                </a:lnTo>
                <a:lnTo>
                  <a:pt x="6957" y="1999"/>
                </a:lnTo>
                <a:lnTo>
                  <a:pt x="6947" y="1994"/>
                </a:lnTo>
                <a:lnTo>
                  <a:pt x="6943" y="1993"/>
                </a:lnTo>
                <a:lnTo>
                  <a:pt x="6938" y="1991"/>
                </a:lnTo>
                <a:lnTo>
                  <a:pt x="6933" y="1993"/>
                </a:lnTo>
                <a:lnTo>
                  <a:pt x="6930" y="1996"/>
                </a:lnTo>
                <a:lnTo>
                  <a:pt x="6927" y="1999"/>
                </a:lnTo>
                <a:lnTo>
                  <a:pt x="6924" y="2000"/>
                </a:lnTo>
                <a:lnTo>
                  <a:pt x="6921" y="2001"/>
                </a:lnTo>
                <a:lnTo>
                  <a:pt x="6917" y="2002"/>
                </a:lnTo>
                <a:lnTo>
                  <a:pt x="6913" y="2003"/>
                </a:lnTo>
                <a:lnTo>
                  <a:pt x="6908" y="2006"/>
                </a:lnTo>
                <a:lnTo>
                  <a:pt x="6903" y="2009"/>
                </a:lnTo>
                <a:lnTo>
                  <a:pt x="6898" y="2016"/>
                </a:lnTo>
                <a:lnTo>
                  <a:pt x="6887" y="2028"/>
                </a:lnTo>
                <a:lnTo>
                  <a:pt x="6879" y="2035"/>
                </a:lnTo>
                <a:lnTo>
                  <a:pt x="6869" y="2044"/>
                </a:lnTo>
                <a:lnTo>
                  <a:pt x="6857" y="2060"/>
                </a:lnTo>
                <a:lnTo>
                  <a:pt x="6843" y="2075"/>
                </a:lnTo>
                <a:lnTo>
                  <a:pt x="6833" y="2084"/>
                </a:lnTo>
                <a:lnTo>
                  <a:pt x="6825" y="2091"/>
                </a:lnTo>
                <a:lnTo>
                  <a:pt x="6817" y="2098"/>
                </a:lnTo>
                <a:lnTo>
                  <a:pt x="6809" y="2109"/>
                </a:lnTo>
                <a:lnTo>
                  <a:pt x="6798" y="2121"/>
                </a:lnTo>
                <a:lnTo>
                  <a:pt x="6788" y="2135"/>
                </a:lnTo>
                <a:lnTo>
                  <a:pt x="6778" y="2145"/>
                </a:lnTo>
                <a:lnTo>
                  <a:pt x="6762" y="2163"/>
                </a:lnTo>
                <a:lnTo>
                  <a:pt x="6752" y="2172"/>
                </a:lnTo>
                <a:lnTo>
                  <a:pt x="6764" y="2203"/>
                </a:lnTo>
                <a:lnTo>
                  <a:pt x="6766" y="2198"/>
                </a:lnTo>
                <a:lnTo>
                  <a:pt x="6771" y="2188"/>
                </a:lnTo>
                <a:lnTo>
                  <a:pt x="6774" y="2185"/>
                </a:lnTo>
                <a:lnTo>
                  <a:pt x="6778" y="2183"/>
                </a:lnTo>
                <a:lnTo>
                  <a:pt x="6779" y="2183"/>
                </a:lnTo>
                <a:lnTo>
                  <a:pt x="6781" y="2184"/>
                </a:lnTo>
                <a:lnTo>
                  <a:pt x="6782" y="2185"/>
                </a:lnTo>
                <a:lnTo>
                  <a:pt x="6785" y="2188"/>
                </a:lnTo>
                <a:lnTo>
                  <a:pt x="6789" y="2201"/>
                </a:lnTo>
                <a:lnTo>
                  <a:pt x="6792" y="2210"/>
                </a:lnTo>
                <a:lnTo>
                  <a:pt x="6793" y="2217"/>
                </a:lnTo>
                <a:lnTo>
                  <a:pt x="6793" y="2220"/>
                </a:lnTo>
                <a:lnTo>
                  <a:pt x="6830" y="2205"/>
                </a:lnTo>
                <a:lnTo>
                  <a:pt x="6860" y="2227"/>
                </a:lnTo>
                <a:lnTo>
                  <a:pt x="6862" y="2233"/>
                </a:lnTo>
                <a:lnTo>
                  <a:pt x="6864" y="2246"/>
                </a:lnTo>
                <a:lnTo>
                  <a:pt x="6864" y="2253"/>
                </a:lnTo>
                <a:lnTo>
                  <a:pt x="6865" y="2262"/>
                </a:lnTo>
                <a:lnTo>
                  <a:pt x="6864" y="2269"/>
                </a:lnTo>
                <a:lnTo>
                  <a:pt x="6862" y="2274"/>
                </a:lnTo>
                <a:lnTo>
                  <a:pt x="6861" y="2280"/>
                </a:lnTo>
                <a:lnTo>
                  <a:pt x="6861" y="2285"/>
                </a:lnTo>
                <a:lnTo>
                  <a:pt x="6862" y="2290"/>
                </a:lnTo>
                <a:lnTo>
                  <a:pt x="6864" y="2295"/>
                </a:lnTo>
                <a:lnTo>
                  <a:pt x="6865" y="2303"/>
                </a:lnTo>
                <a:lnTo>
                  <a:pt x="6865" y="2310"/>
                </a:lnTo>
                <a:lnTo>
                  <a:pt x="6864" y="2319"/>
                </a:lnTo>
                <a:lnTo>
                  <a:pt x="6860" y="2330"/>
                </a:lnTo>
                <a:lnTo>
                  <a:pt x="6852" y="2360"/>
                </a:lnTo>
                <a:lnTo>
                  <a:pt x="6842" y="2396"/>
                </a:lnTo>
                <a:lnTo>
                  <a:pt x="6837" y="2413"/>
                </a:lnTo>
                <a:lnTo>
                  <a:pt x="6832" y="2427"/>
                </a:lnTo>
                <a:lnTo>
                  <a:pt x="6830" y="2433"/>
                </a:lnTo>
                <a:lnTo>
                  <a:pt x="6826" y="2438"/>
                </a:lnTo>
                <a:lnTo>
                  <a:pt x="6824" y="2442"/>
                </a:lnTo>
                <a:lnTo>
                  <a:pt x="6821" y="2445"/>
                </a:lnTo>
                <a:lnTo>
                  <a:pt x="6816" y="2451"/>
                </a:lnTo>
                <a:lnTo>
                  <a:pt x="6810" y="2462"/>
                </a:lnTo>
                <a:lnTo>
                  <a:pt x="6802" y="2473"/>
                </a:lnTo>
                <a:lnTo>
                  <a:pt x="6794" y="2487"/>
                </a:lnTo>
                <a:lnTo>
                  <a:pt x="6786" y="2501"/>
                </a:lnTo>
                <a:lnTo>
                  <a:pt x="6777" y="2514"/>
                </a:lnTo>
                <a:lnTo>
                  <a:pt x="6768" y="2527"/>
                </a:lnTo>
                <a:lnTo>
                  <a:pt x="6757" y="2537"/>
                </a:lnTo>
                <a:lnTo>
                  <a:pt x="6737" y="2556"/>
                </a:lnTo>
                <a:lnTo>
                  <a:pt x="6716" y="2572"/>
                </a:lnTo>
                <a:lnTo>
                  <a:pt x="6702" y="2582"/>
                </a:lnTo>
                <a:lnTo>
                  <a:pt x="6697" y="2587"/>
                </a:lnTo>
                <a:lnTo>
                  <a:pt x="6689" y="2584"/>
                </a:lnTo>
                <a:lnTo>
                  <a:pt x="6674" y="2579"/>
                </a:lnTo>
                <a:lnTo>
                  <a:pt x="6664" y="2578"/>
                </a:lnTo>
                <a:lnTo>
                  <a:pt x="6654" y="2579"/>
                </a:lnTo>
                <a:lnTo>
                  <a:pt x="6649" y="2580"/>
                </a:lnTo>
                <a:lnTo>
                  <a:pt x="6644" y="2582"/>
                </a:lnTo>
                <a:lnTo>
                  <a:pt x="6640" y="2586"/>
                </a:lnTo>
                <a:lnTo>
                  <a:pt x="6637" y="2589"/>
                </a:lnTo>
                <a:lnTo>
                  <a:pt x="6634" y="2594"/>
                </a:lnTo>
                <a:lnTo>
                  <a:pt x="6632" y="2598"/>
                </a:lnTo>
                <a:lnTo>
                  <a:pt x="6630" y="2602"/>
                </a:lnTo>
                <a:lnTo>
                  <a:pt x="6628" y="2608"/>
                </a:lnTo>
                <a:lnTo>
                  <a:pt x="6627" y="2617"/>
                </a:lnTo>
                <a:lnTo>
                  <a:pt x="6627" y="2626"/>
                </a:lnTo>
                <a:lnTo>
                  <a:pt x="6626" y="2635"/>
                </a:lnTo>
                <a:lnTo>
                  <a:pt x="6625" y="2642"/>
                </a:lnTo>
                <a:lnTo>
                  <a:pt x="6624" y="2646"/>
                </a:lnTo>
                <a:lnTo>
                  <a:pt x="6622" y="2648"/>
                </a:lnTo>
                <a:lnTo>
                  <a:pt x="6619" y="2650"/>
                </a:lnTo>
                <a:lnTo>
                  <a:pt x="6616" y="2653"/>
                </a:lnTo>
                <a:lnTo>
                  <a:pt x="6600" y="2659"/>
                </a:lnTo>
                <a:lnTo>
                  <a:pt x="6587" y="2664"/>
                </a:lnTo>
                <a:lnTo>
                  <a:pt x="6581" y="2668"/>
                </a:lnTo>
                <a:lnTo>
                  <a:pt x="6577" y="2671"/>
                </a:lnTo>
                <a:lnTo>
                  <a:pt x="6574" y="2676"/>
                </a:lnTo>
                <a:lnTo>
                  <a:pt x="6573" y="2680"/>
                </a:lnTo>
                <a:lnTo>
                  <a:pt x="6574" y="2686"/>
                </a:lnTo>
                <a:lnTo>
                  <a:pt x="6578" y="2696"/>
                </a:lnTo>
                <a:lnTo>
                  <a:pt x="6582" y="2707"/>
                </a:lnTo>
                <a:lnTo>
                  <a:pt x="6589" y="2719"/>
                </a:lnTo>
                <a:lnTo>
                  <a:pt x="6599" y="2741"/>
                </a:lnTo>
                <a:lnTo>
                  <a:pt x="6603" y="2749"/>
                </a:lnTo>
                <a:lnTo>
                  <a:pt x="6588" y="2783"/>
                </a:lnTo>
                <a:lnTo>
                  <a:pt x="6589" y="2787"/>
                </a:lnTo>
                <a:lnTo>
                  <a:pt x="6589" y="2798"/>
                </a:lnTo>
                <a:lnTo>
                  <a:pt x="6589" y="2805"/>
                </a:lnTo>
                <a:lnTo>
                  <a:pt x="6588" y="2811"/>
                </a:lnTo>
                <a:lnTo>
                  <a:pt x="6584" y="2816"/>
                </a:lnTo>
                <a:lnTo>
                  <a:pt x="6581" y="2819"/>
                </a:lnTo>
                <a:lnTo>
                  <a:pt x="6572" y="2825"/>
                </a:lnTo>
                <a:lnTo>
                  <a:pt x="6564" y="2832"/>
                </a:lnTo>
                <a:lnTo>
                  <a:pt x="6559" y="2834"/>
                </a:lnTo>
                <a:lnTo>
                  <a:pt x="6557" y="2836"/>
                </a:lnTo>
                <a:lnTo>
                  <a:pt x="6554" y="2837"/>
                </a:lnTo>
                <a:lnTo>
                  <a:pt x="6553" y="2836"/>
                </a:lnTo>
                <a:lnTo>
                  <a:pt x="6550" y="2828"/>
                </a:lnTo>
                <a:lnTo>
                  <a:pt x="6546" y="2812"/>
                </a:lnTo>
                <a:lnTo>
                  <a:pt x="6543" y="2793"/>
                </a:lnTo>
                <a:lnTo>
                  <a:pt x="6540" y="2778"/>
                </a:lnTo>
                <a:lnTo>
                  <a:pt x="6539" y="2771"/>
                </a:lnTo>
                <a:lnTo>
                  <a:pt x="6536" y="2764"/>
                </a:lnTo>
                <a:lnTo>
                  <a:pt x="6532" y="2755"/>
                </a:lnTo>
                <a:lnTo>
                  <a:pt x="6527" y="2748"/>
                </a:lnTo>
                <a:lnTo>
                  <a:pt x="6517" y="2735"/>
                </a:lnTo>
                <a:lnTo>
                  <a:pt x="6513" y="2729"/>
                </a:lnTo>
                <a:lnTo>
                  <a:pt x="6512" y="2727"/>
                </a:lnTo>
                <a:lnTo>
                  <a:pt x="6510" y="2722"/>
                </a:lnTo>
                <a:lnTo>
                  <a:pt x="6509" y="2718"/>
                </a:lnTo>
                <a:lnTo>
                  <a:pt x="6509" y="2714"/>
                </a:lnTo>
                <a:lnTo>
                  <a:pt x="6509" y="2710"/>
                </a:lnTo>
                <a:lnTo>
                  <a:pt x="6509" y="2706"/>
                </a:lnTo>
                <a:lnTo>
                  <a:pt x="6511" y="2699"/>
                </a:lnTo>
                <a:lnTo>
                  <a:pt x="6512" y="2691"/>
                </a:lnTo>
                <a:lnTo>
                  <a:pt x="6511" y="2688"/>
                </a:lnTo>
                <a:lnTo>
                  <a:pt x="6510" y="2686"/>
                </a:lnTo>
                <a:lnTo>
                  <a:pt x="6507" y="2685"/>
                </a:lnTo>
                <a:lnTo>
                  <a:pt x="6504" y="2685"/>
                </a:lnTo>
                <a:lnTo>
                  <a:pt x="6496" y="2687"/>
                </a:lnTo>
                <a:lnTo>
                  <a:pt x="6489" y="2687"/>
                </a:lnTo>
                <a:lnTo>
                  <a:pt x="6482" y="2688"/>
                </a:lnTo>
                <a:lnTo>
                  <a:pt x="6472" y="2691"/>
                </a:lnTo>
                <a:lnTo>
                  <a:pt x="6460" y="2696"/>
                </a:lnTo>
                <a:lnTo>
                  <a:pt x="6447" y="2701"/>
                </a:lnTo>
                <a:lnTo>
                  <a:pt x="6438" y="2705"/>
                </a:lnTo>
                <a:lnTo>
                  <a:pt x="6435" y="2707"/>
                </a:lnTo>
                <a:lnTo>
                  <a:pt x="6433" y="2706"/>
                </a:lnTo>
                <a:lnTo>
                  <a:pt x="6429" y="2703"/>
                </a:lnTo>
                <a:lnTo>
                  <a:pt x="6428" y="2700"/>
                </a:lnTo>
                <a:lnTo>
                  <a:pt x="6428" y="2697"/>
                </a:lnTo>
                <a:lnTo>
                  <a:pt x="6430" y="2692"/>
                </a:lnTo>
                <a:lnTo>
                  <a:pt x="6434" y="2688"/>
                </a:lnTo>
                <a:lnTo>
                  <a:pt x="6442" y="2678"/>
                </a:lnTo>
                <a:lnTo>
                  <a:pt x="6449" y="2668"/>
                </a:lnTo>
                <a:lnTo>
                  <a:pt x="6452" y="2664"/>
                </a:lnTo>
                <a:lnTo>
                  <a:pt x="6453" y="2661"/>
                </a:lnTo>
                <a:lnTo>
                  <a:pt x="6453" y="2659"/>
                </a:lnTo>
                <a:lnTo>
                  <a:pt x="6452" y="2658"/>
                </a:lnTo>
                <a:lnTo>
                  <a:pt x="6451" y="2658"/>
                </a:lnTo>
                <a:lnTo>
                  <a:pt x="6450" y="2657"/>
                </a:lnTo>
                <a:lnTo>
                  <a:pt x="6446" y="2657"/>
                </a:lnTo>
                <a:lnTo>
                  <a:pt x="6442" y="2658"/>
                </a:lnTo>
                <a:lnTo>
                  <a:pt x="6438" y="2659"/>
                </a:lnTo>
                <a:lnTo>
                  <a:pt x="6433" y="2661"/>
                </a:lnTo>
                <a:lnTo>
                  <a:pt x="6424" y="2666"/>
                </a:lnTo>
                <a:lnTo>
                  <a:pt x="6417" y="2671"/>
                </a:lnTo>
                <a:lnTo>
                  <a:pt x="6409" y="2676"/>
                </a:lnTo>
                <a:lnTo>
                  <a:pt x="6400" y="2681"/>
                </a:lnTo>
                <a:lnTo>
                  <a:pt x="6390" y="2688"/>
                </a:lnTo>
                <a:lnTo>
                  <a:pt x="6379" y="2697"/>
                </a:lnTo>
                <a:lnTo>
                  <a:pt x="6374" y="2701"/>
                </a:lnTo>
                <a:lnTo>
                  <a:pt x="6367" y="2705"/>
                </a:lnTo>
                <a:lnTo>
                  <a:pt x="6359" y="2707"/>
                </a:lnTo>
                <a:lnTo>
                  <a:pt x="6353" y="2709"/>
                </a:lnTo>
                <a:lnTo>
                  <a:pt x="6348" y="2710"/>
                </a:lnTo>
                <a:lnTo>
                  <a:pt x="6346" y="2712"/>
                </a:lnTo>
                <a:lnTo>
                  <a:pt x="6346" y="2713"/>
                </a:lnTo>
                <a:lnTo>
                  <a:pt x="6347" y="2715"/>
                </a:lnTo>
                <a:lnTo>
                  <a:pt x="6349" y="2716"/>
                </a:lnTo>
                <a:lnTo>
                  <a:pt x="6352" y="2719"/>
                </a:lnTo>
                <a:lnTo>
                  <a:pt x="6359" y="2722"/>
                </a:lnTo>
                <a:lnTo>
                  <a:pt x="6365" y="2724"/>
                </a:lnTo>
                <a:lnTo>
                  <a:pt x="6370" y="2724"/>
                </a:lnTo>
                <a:lnTo>
                  <a:pt x="6375" y="2724"/>
                </a:lnTo>
                <a:lnTo>
                  <a:pt x="6378" y="2724"/>
                </a:lnTo>
                <a:lnTo>
                  <a:pt x="6381" y="2725"/>
                </a:lnTo>
                <a:lnTo>
                  <a:pt x="6384" y="2728"/>
                </a:lnTo>
                <a:lnTo>
                  <a:pt x="6386" y="2732"/>
                </a:lnTo>
                <a:lnTo>
                  <a:pt x="6389" y="2736"/>
                </a:lnTo>
                <a:lnTo>
                  <a:pt x="6392" y="2740"/>
                </a:lnTo>
                <a:lnTo>
                  <a:pt x="6395" y="2742"/>
                </a:lnTo>
                <a:lnTo>
                  <a:pt x="6398" y="2743"/>
                </a:lnTo>
                <a:lnTo>
                  <a:pt x="6404" y="2742"/>
                </a:lnTo>
                <a:lnTo>
                  <a:pt x="6409" y="2739"/>
                </a:lnTo>
                <a:lnTo>
                  <a:pt x="6413" y="2735"/>
                </a:lnTo>
                <a:lnTo>
                  <a:pt x="6416" y="2732"/>
                </a:lnTo>
                <a:lnTo>
                  <a:pt x="6419" y="2730"/>
                </a:lnTo>
                <a:lnTo>
                  <a:pt x="6421" y="2730"/>
                </a:lnTo>
                <a:lnTo>
                  <a:pt x="6424" y="2730"/>
                </a:lnTo>
                <a:lnTo>
                  <a:pt x="6428" y="2730"/>
                </a:lnTo>
                <a:lnTo>
                  <a:pt x="6436" y="2732"/>
                </a:lnTo>
                <a:lnTo>
                  <a:pt x="6442" y="2732"/>
                </a:lnTo>
                <a:lnTo>
                  <a:pt x="6445" y="2732"/>
                </a:lnTo>
                <a:lnTo>
                  <a:pt x="6447" y="2733"/>
                </a:lnTo>
                <a:lnTo>
                  <a:pt x="6449" y="2735"/>
                </a:lnTo>
                <a:lnTo>
                  <a:pt x="6451" y="2739"/>
                </a:lnTo>
                <a:lnTo>
                  <a:pt x="6452" y="2741"/>
                </a:lnTo>
                <a:lnTo>
                  <a:pt x="6455" y="2743"/>
                </a:lnTo>
                <a:lnTo>
                  <a:pt x="6456" y="2743"/>
                </a:lnTo>
                <a:lnTo>
                  <a:pt x="6457" y="2743"/>
                </a:lnTo>
                <a:lnTo>
                  <a:pt x="6458" y="2744"/>
                </a:lnTo>
                <a:lnTo>
                  <a:pt x="6458" y="2745"/>
                </a:lnTo>
                <a:lnTo>
                  <a:pt x="6458" y="2747"/>
                </a:lnTo>
                <a:lnTo>
                  <a:pt x="6457" y="2751"/>
                </a:lnTo>
                <a:lnTo>
                  <a:pt x="6456" y="2759"/>
                </a:lnTo>
                <a:lnTo>
                  <a:pt x="6458" y="2763"/>
                </a:lnTo>
                <a:lnTo>
                  <a:pt x="6457" y="2764"/>
                </a:lnTo>
                <a:lnTo>
                  <a:pt x="6455" y="2766"/>
                </a:lnTo>
                <a:lnTo>
                  <a:pt x="6451" y="2769"/>
                </a:lnTo>
                <a:lnTo>
                  <a:pt x="6444" y="2774"/>
                </a:lnTo>
                <a:lnTo>
                  <a:pt x="6428" y="2785"/>
                </a:lnTo>
                <a:lnTo>
                  <a:pt x="6414" y="2794"/>
                </a:lnTo>
                <a:lnTo>
                  <a:pt x="6403" y="2800"/>
                </a:lnTo>
                <a:lnTo>
                  <a:pt x="6399" y="2803"/>
                </a:lnTo>
                <a:lnTo>
                  <a:pt x="6400" y="2810"/>
                </a:lnTo>
                <a:lnTo>
                  <a:pt x="6404" y="2822"/>
                </a:lnTo>
                <a:lnTo>
                  <a:pt x="6413" y="2837"/>
                </a:lnTo>
                <a:lnTo>
                  <a:pt x="6420" y="2851"/>
                </a:lnTo>
                <a:lnTo>
                  <a:pt x="6422" y="2861"/>
                </a:lnTo>
                <a:lnTo>
                  <a:pt x="6425" y="2874"/>
                </a:lnTo>
                <a:lnTo>
                  <a:pt x="6427" y="2881"/>
                </a:lnTo>
                <a:lnTo>
                  <a:pt x="6429" y="2887"/>
                </a:lnTo>
                <a:lnTo>
                  <a:pt x="6433" y="2893"/>
                </a:lnTo>
                <a:lnTo>
                  <a:pt x="6436" y="2898"/>
                </a:lnTo>
                <a:lnTo>
                  <a:pt x="6443" y="2903"/>
                </a:lnTo>
                <a:lnTo>
                  <a:pt x="6451" y="2907"/>
                </a:lnTo>
                <a:lnTo>
                  <a:pt x="6455" y="2909"/>
                </a:lnTo>
                <a:lnTo>
                  <a:pt x="6457" y="2912"/>
                </a:lnTo>
                <a:lnTo>
                  <a:pt x="6458" y="2918"/>
                </a:lnTo>
                <a:lnTo>
                  <a:pt x="6457" y="2924"/>
                </a:lnTo>
                <a:lnTo>
                  <a:pt x="6452" y="2937"/>
                </a:lnTo>
                <a:lnTo>
                  <a:pt x="6449" y="2947"/>
                </a:lnTo>
                <a:lnTo>
                  <a:pt x="6449" y="2953"/>
                </a:lnTo>
                <a:lnTo>
                  <a:pt x="6449" y="2957"/>
                </a:lnTo>
                <a:lnTo>
                  <a:pt x="6443" y="2967"/>
                </a:lnTo>
                <a:lnTo>
                  <a:pt x="6428" y="2985"/>
                </a:lnTo>
                <a:lnTo>
                  <a:pt x="6420" y="2995"/>
                </a:lnTo>
                <a:lnTo>
                  <a:pt x="6413" y="3006"/>
                </a:lnTo>
                <a:lnTo>
                  <a:pt x="6407" y="3014"/>
                </a:lnTo>
                <a:lnTo>
                  <a:pt x="6405" y="3020"/>
                </a:lnTo>
                <a:lnTo>
                  <a:pt x="6402" y="3031"/>
                </a:lnTo>
                <a:lnTo>
                  <a:pt x="6397" y="3041"/>
                </a:lnTo>
                <a:lnTo>
                  <a:pt x="6391" y="3052"/>
                </a:lnTo>
                <a:lnTo>
                  <a:pt x="6383" y="3060"/>
                </a:lnTo>
                <a:lnTo>
                  <a:pt x="6375" y="3070"/>
                </a:lnTo>
                <a:lnTo>
                  <a:pt x="6363" y="3080"/>
                </a:lnTo>
                <a:lnTo>
                  <a:pt x="6351" y="3092"/>
                </a:lnTo>
                <a:lnTo>
                  <a:pt x="6337" y="3103"/>
                </a:lnTo>
                <a:lnTo>
                  <a:pt x="6329" y="3108"/>
                </a:lnTo>
                <a:lnTo>
                  <a:pt x="6318" y="3114"/>
                </a:lnTo>
                <a:lnTo>
                  <a:pt x="6307" y="3120"/>
                </a:lnTo>
                <a:lnTo>
                  <a:pt x="6294" y="3125"/>
                </a:lnTo>
                <a:lnTo>
                  <a:pt x="6271" y="3135"/>
                </a:lnTo>
                <a:lnTo>
                  <a:pt x="6258" y="3140"/>
                </a:lnTo>
                <a:lnTo>
                  <a:pt x="6246" y="3143"/>
                </a:lnTo>
                <a:lnTo>
                  <a:pt x="6232" y="3144"/>
                </a:lnTo>
                <a:lnTo>
                  <a:pt x="6218" y="3146"/>
                </a:lnTo>
                <a:lnTo>
                  <a:pt x="6209" y="3149"/>
                </a:lnTo>
                <a:lnTo>
                  <a:pt x="6202" y="3151"/>
                </a:lnTo>
                <a:lnTo>
                  <a:pt x="6192" y="3152"/>
                </a:lnTo>
                <a:lnTo>
                  <a:pt x="6186" y="3153"/>
                </a:lnTo>
                <a:lnTo>
                  <a:pt x="6183" y="3154"/>
                </a:lnTo>
                <a:lnTo>
                  <a:pt x="6182" y="3156"/>
                </a:lnTo>
                <a:lnTo>
                  <a:pt x="6181" y="3157"/>
                </a:lnTo>
                <a:lnTo>
                  <a:pt x="6181" y="3158"/>
                </a:lnTo>
                <a:lnTo>
                  <a:pt x="6182" y="3160"/>
                </a:lnTo>
                <a:lnTo>
                  <a:pt x="6187" y="3170"/>
                </a:lnTo>
                <a:lnTo>
                  <a:pt x="6194" y="3186"/>
                </a:lnTo>
                <a:lnTo>
                  <a:pt x="6196" y="3194"/>
                </a:lnTo>
                <a:lnTo>
                  <a:pt x="6197" y="3203"/>
                </a:lnTo>
                <a:lnTo>
                  <a:pt x="6197" y="3206"/>
                </a:lnTo>
                <a:lnTo>
                  <a:pt x="6196" y="3209"/>
                </a:lnTo>
                <a:lnTo>
                  <a:pt x="6196" y="3212"/>
                </a:lnTo>
                <a:lnTo>
                  <a:pt x="6194" y="3215"/>
                </a:lnTo>
                <a:lnTo>
                  <a:pt x="6189" y="3218"/>
                </a:lnTo>
                <a:lnTo>
                  <a:pt x="6182" y="3222"/>
                </a:lnTo>
                <a:lnTo>
                  <a:pt x="6175" y="3223"/>
                </a:lnTo>
                <a:lnTo>
                  <a:pt x="6167" y="3224"/>
                </a:lnTo>
                <a:lnTo>
                  <a:pt x="6159" y="3223"/>
                </a:lnTo>
                <a:lnTo>
                  <a:pt x="6154" y="3220"/>
                </a:lnTo>
                <a:lnTo>
                  <a:pt x="6151" y="3219"/>
                </a:lnTo>
                <a:lnTo>
                  <a:pt x="6150" y="3217"/>
                </a:lnTo>
                <a:lnTo>
                  <a:pt x="6148" y="3216"/>
                </a:lnTo>
                <a:lnTo>
                  <a:pt x="6148" y="3214"/>
                </a:lnTo>
                <a:lnTo>
                  <a:pt x="6150" y="3209"/>
                </a:lnTo>
                <a:lnTo>
                  <a:pt x="6154" y="3203"/>
                </a:lnTo>
                <a:lnTo>
                  <a:pt x="6159" y="3195"/>
                </a:lnTo>
                <a:lnTo>
                  <a:pt x="6165" y="3188"/>
                </a:lnTo>
                <a:lnTo>
                  <a:pt x="6172" y="3181"/>
                </a:lnTo>
                <a:lnTo>
                  <a:pt x="6177" y="3174"/>
                </a:lnTo>
                <a:lnTo>
                  <a:pt x="6178" y="3171"/>
                </a:lnTo>
                <a:lnTo>
                  <a:pt x="6179" y="3169"/>
                </a:lnTo>
                <a:lnTo>
                  <a:pt x="6179" y="3166"/>
                </a:lnTo>
                <a:lnTo>
                  <a:pt x="6179" y="3165"/>
                </a:lnTo>
                <a:lnTo>
                  <a:pt x="6173" y="3156"/>
                </a:lnTo>
                <a:lnTo>
                  <a:pt x="6170" y="3153"/>
                </a:lnTo>
                <a:lnTo>
                  <a:pt x="6161" y="3151"/>
                </a:lnTo>
                <a:lnTo>
                  <a:pt x="6149" y="3149"/>
                </a:lnTo>
                <a:lnTo>
                  <a:pt x="6143" y="3151"/>
                </a:lnTo>
                <a:lnTo>
                  <a:pt x="6137" y="3157"/>
                </a:lnTo>
                <a:lnTo>
                  <a:pt x="6131" y="3164"/>
                </a:lnTo>
                <a:lnTo>
                  <a:pt x="6125" y="3170"/>
                </a:lnTo>
                <a:lnTo>
                  <a:pt x="6109" y="3185"/>
                </a:lnTo>
                <a:lnTo>
                  <a:pt x="6096" y="3197"/>
                </a:lnTo>
                <a:lnTo>
                  <a:pt x="6092" y="3204"/>
                </a:lnTo>
                <a:lnTo>
                  <a:pt x="6086" y="3212"/>
                </a:lnTo>
                <a:lnTo>
                  <a:pt x="6083" y="3216"/>
                </a:lnTo>
                <a:lnTo>
                  <a:pt x="6080" y="3219"/>
                </a:lnTo>
                <a:lnTo>
                  <a:pt x="6079" y="3223"/>
                </a:lnTo>
                <a:lnTo>
                  <a:pt x="6080" y="3225"/>
                </a:lnTo>
                <a:lnTo>
                  <a:pt x="6087" y="3230"/>
                </a:lnTo>
                <a:lnTo>
                  <a:pt x="6097" y="3237"/>
                </a:lnTo>
                <a:lnTo>
                  <a:pt x="6108" y="3244"/>
                </a:lnTo>
                <a:lnTo>
                  <a:pt x="6112" y="3247"/>
                </a:lnTo>
                <a:lnTo>
                  <a:pt x="6119" y="3253"/>
                </a:lnTo>
                <a:lnTo>
                  <a:pt x="6130" y="3262"/>
                </a:lnTo>
                <a:lnTo>
                  <a:pt x="6140" y="3277"/>
                </a:lnTo>
                <a:lnTo>
                  <a:pt x="6160" y="3306"/>
                </a:lnTo>
                <a:lnTo>
                  <a:pt x="6171" y="3322"/>
                </a:lnTo>
                <a:lnTo>
                  <a:pt x="6180" y="3336"/>
                </a:lnTo>
                <a:lnTo>
                  <a:pt x="6183" y="3341"/>
                </a:lnTo>
                <a:lnTo>
                  <a:pt x="6185" y="3346"/>
                </a:lnTo>
                <a:lnTo>
                  <a:pt x="6186" y="3349"/>
                </a:lnTo>
                <a:lnTo>
                  <a:pt x="6186" y="3351"/>
                </a:lnTo>
                <a:lnTo>
                  <a:pt x="6182" y="3356"/>
                </a:lnTo>
                <a:lnTo>
                  <a:pt x="6176" y="3359"/>
                </a:lnTo>
                <a:lnTo>
                  <a:pt x="6172" y="3362"/>
                </a:lnTo>
                <a:lnTo>
                  <a:pt x="6167" y="3365"/>
                </a:lnTo>
                <a:lnTo>
                  <a:pt x="6163" y="3370"/>
                </a:lnTo>
                <a:lnTo>
                  <a:pt x="6160" y="3378"/>
                </a:lnTo>
                <a:lnTo>
                  <a:pt x="6154" y="3385"/>
                </a:lnTo>
                <a:lnTo>
                  <a:pt x="6145" y="3394"/>
                </a:lnTo>
                <a:lnTo>
                  <a:pt x="6135" y="3403"/>
                </a:lnTo>
                <a:lnTo>
                  <a:pt x="6122" y="3412"/>
                </a:lnTo>
                <a:lnTo>
                  <a:pt x="6098" y="3428"/>
                </a:lnTo>
                <a:lnTo>
                  <a:pt x="6079" y="3437"/>
                </a:lnTo>
                <a:lnTo>
                  <a:pt x="6068" y="3444"/>
                </a:lnTo>
                <a:lnTo>
                  <a:pt x="6058" y="3448"/>
                </a:lnTo>
                <a:lnTo>
                  <a:pt x="6054" y="3448"/>
                </a:lnTo>
                <a:lnTo>
                  <a:pt x="6052" y="3448"/>
                </a:lnTo>
                <a:lnTo>
                  <a:pt x="6052" y="3446"/>
                </a:lnTo>
                <a:lnTo>
                  <a:pt x="6053" y="3443"/>
                </a:lnTo>
                <a:lnTo>
                  <a:pt x="6056" y="3434"/>
                </a:lnTo>
                <a:lnTo>
                  <a:pt x="6058" y="3427"/>
                </a:lnTo>
                <a:lnTo>
                  <a:pt x="6057" y="3423"/>
                </a:lnTo>
                <a:lnTo>
                  <a:pt x="6055" y="3417"/>
                </a:lnTo>
                <a:lnTo>
                  <a:pt x="6052" y="3413"/>
                </a:lnTo>
                <a:lnTo>
                  <a:pt x="6046" y="3408"/>
                </a:lnTo>
                <a:lnTo>
                  <a:pt x="6030" y="3393"/>
                </a:lnTo>
                <a:lnTo>
                  <a:pt x="6012" y="3376"/>
                </a:lnTo>
                <a:lnTo>
                  <a:pt x="6003" y="3368"/>
                </a:lnTo>
                <a:lnTo>
                  <a:pt x="5995" y="3362"/>
                </a:lnTo>
                <a:lnTo>
                  <a:pt x="5991" y="3360"/>
                </a:lnTo>
                <a:lnTo>
                  <a:pt x="5987" y="3359"/>
                </a:lnTo>
                <a:lnTo>
                  <a:pt x="5984" y="3359"/>
                </a:lnTo>
                <a:lnTo>
                  <a:pt x="5981" y="3360"/>
                </a:lnTo>
                <a:lnTo>
                  <a:pt x="5976" y="3362"/>
                </a:lnTo>
                <a:lnTo>
                  <a:pt x="5969" y="3362"/>
                </a:lnTo>
                <a:lnTo>
                  <a:pt x="5963" y="3361"/>
                </a:lnTo>
                <a:lnTo>
                  <a:pt x="5957" y="3360"/>
                </a:lnTo>
                <a:lnTo>
                  <a:pt x="5953" y="3360"/>
                </a:lnTo>
                <a:lnTo>
                  <a:pt x="5950" y="3360"/>
                </a:lnTo>
                <a:lnTo>
                  <a:pt x="5948" y="3361"/>
                </a:lnTo>
                <a:lnTo>
                  <a:pt x="5947" y="3363"/>
                </a:lnTo>
                <a:lnTo>
                  <a:pt x="5947" y="3365"/>
                </a:lnTo>
                <a:lnTo>
                  <a:pt x="5948" y="3368"/>
                </a:lnTo>
                <a:lnTo>
                  <a:pt x="5950" y="3373"/>
                </a:lnTo>
                <a:lnTo>
                  <a:pt x="5948" y="3376"/>
                </a:lnTo>
                <a:lnTo>
                  <a:pt x="5946" y="3377"/>
                </a:lnTo>
                <a:lnTo>
                  <a:pt x="5944" y="3378"/>
                </a:lnTo>
                <a:lnTo>
                  <a:pt x="5942" y="3378"/>
                </a:lnTo>
                <a:lnTo>
                  <a:pt x="5941" y="3380"/>
                </a:lnTo>
                <a:lnTo>
                  <a:pt x="5942" y="3384"/>
                </a:lnTo>
                <a:lnTo>
                  <a:pt x="5946" y="3390"/>
                </a:lnTo>
                <a:lnTo>
                  <a:pt x="5953" y="3398"/>
                </a:lnTo>
                <a:lnTo>
                  <a:pt x="5958" y="3402"/>
                </a:lnTo>
                <a:lnTo>
                  <a:pt x="5964" y="3405"/>
                </a:lnTo>
                <a:lnTo>
                  <a:pt x="5968" y="3406"/>
                </a:lnTo>
                <a:lnTo>
                  <a:pt x="5973" y="3408"/>
                </a:lnTo>
                <a:lnTo>
                  <a:pt x="5975" y="3409"/>
                </a:lnTo>
                <a:lnTo>
                  <a:pt x="5975" y="3412"/>
                </a:lnTo>
                <a:lnTo>
                  <a:pt x="5973" y="3417"/>
                </a:lnTo>
                <a:lnTo>
                  <a:pt x="5963" y="3428"/>
                </a:lnTo>
                <a:lnTo>
                  <a:pt x="5955" y="3435"/>
                </a:lnTo>
                <a:lnTo>
                  <a:pt x="5952" y="3439"/>
                </a:lnTo>
                <a:lnTo>
                  <a:pt x="5951" y="3444"/>
                </a:lnTo>
                <a:lnTo>
                  <a:pt x="5952" y="3448"/>
                </a:lnTo>
                <a:lnTo>
                  <a:pt x="5955" y="3454"/>
                </a:lnTo>
                <a:lnTo>
                  <a:pt x="5963" y="3466"/>
                </a:lnTo>
                <a:lnTo>
                  <a:pt x="5970" y="3477"/>
                </a:lnTo>
                <a:lnTo>
                  <a:pt x="5979" y="3488"/>
                </a:lnTo>
                <a:lnTo>
                  <a:pt x="5992" y="3499"/>
                </a:lnTo>
                <a:lnTo>
                  <a:pt x="6010" y="3511"/>
                </a:lnTo>
                <a:lnTo>
                  <a:pt x="6026" y="3520"/>
                </a:lnTo>
                <a:lnTo>
                  <a:pt x="6033" y="3525"/>
                </a:lnTo>
                <a:lnTo>
                  <a:pt x="6039" y="3532"/>
                </a:lnTo>
                <a:lnTo>
                  <a:pt x="6041" y="3535"/>
                </a:lnTo>
                <a:lnTo>
                  <a:pt x="6042" y="3539"/>
                </a:lnTo>
                <a:lnTo>
                  <a:pt x="6042" y="3543"/>
                </a:lnTo>
                <a:lnTo>
                  <a:pt x="6042" y="3548"/>
                </a:lnTo>
                <a:lnTo>
                  <a:pt x="6041" y="3569"/>
                </a:lnTo>
                <a:lnTo>
                  <a:pt x="6042" y="3588"/>
                </a:lnTo>
                <a:lnTo>
                  <a:pt x="6044" y="3603"/>
                </a:lnTo>
                <a:lnTo>
                  <a:pt x="6045" y="3608"/>
                </a:lnTo>
                <a:lnTo>
                  <a:pt x="6039" y="3604"/>
                </a:lnTo>
                <a:lnTo>
                  <a:pt x="6024" y="3599"/>
                </a:lnTo>
                <a:lnTo>
                  <a:pt x="6018" y="3597"/>
                </a:lnTo>
                <a:lnTo>
                  <a:pt x="6012" y="3597"/>
                </a:lnTo>
                <a:lnTo>
                  <a:pt x="6010" y="3598"/>
                </a:lnTo>
                <a:lnTo>
                  <a:pt x="6009" y="3600"/>
                </a:lnTo>
                <a:lnTo>
                  <a:pt x="6009" y="3603"/>
                </a:lnTo>
                <a:lnTo>
                  <a:pt x="6010" y="3607"/>
                </a:lnTo>
                <a:lnTo>
                  <a:pt x="6013" y="3615"/>
                </a:lnTo>
                <a:lnTo>
                  <a:pt x="6018" y="3623"/>
                </a:lnTo>
                <a:lnTo>
                  <a:pt x="6023" y="3628"/>
                </a:lnTo>
                <a:lnTo>
                  <a:pt x="6028" y="3633"/>
                </a:lnTo>
                <a:lnTo>
                  <a:pt x="6036" y="3641"/>
                </a:lnTo>
                <a:lnTo>
                  <a:pt x="6043" y="3646"/>
                </a:lnTo>
                <a:lnTo>
                  <a:pt x="6049" y="3653"/>
                </a:lnTo>
                <a:lnTo>
                  <a:pt x="6060" y="3663"/>
                </a:lnTo>
                <a:lnTo>
                  <a:pt x="6070" y="3673"/>
                </a:lnTo>
                <a:lnTo>
                  <a:pt x="6079" y="3683"/>
                </a:lnTo>
                <a:lnTo>
                  <a:pt x="6082" y="3685"/>
                </a:lnTo>
                <a:lnTo>
                  <a:pt x="6085" y="3686"/>
                </a:lnTo>
                <a:lnTo>
                  <a:pt x="6087" y="3687"/>
                </a:lnTo>
                <a:lnTo>
                  <a:pt x="6090" y="3687"/>
                </a:lnTo>
                <a:lnTo>
                  <a:pt x="6096" y="3687"/>
                </a:lnTo>
                <a:lnTo>
                  <a:pt x="6103" y="3686"/>
                </a:lnTo>
                <a:lnTo>
                  <a:pt x="6109" y="3685"/>
                </a:lnTo>
                <a:lnTo>
                  <a:pt x="6115" y="3685"/>
                </a:lnTo>
                <a:lnTo>
                  <a:pt x="6117" y="3685"/>
                </a:lnTo>
                <a:lnTo>
                  <a:pt x="6119" y="3685"/>
                </a:lnTo>
                <a:lnTo>
                  <a:pt x="6122" y="3686"/>
                </a:lnTo>
                <a:lnTo>
                  <a:pt x="6123" y="3688"/>
                </a:lnTo>
                <a:lnTo>
                  <a:pt x="6134" y="3698"/>
                </a:lnTo>
                <a:lnTo>
                  <a:pt x="6148" y="3709"/>
                </a:lnTo>
                <a:lnTo>
                  <a:pt x="6154" y="3715"/>
                </a:lnTo>
                <a:lnTo>
                  <a:pt x="6158" y="3720"/>
                </a:lnTo>
                <a:lnTo>
                  <a:pt x="6159" y="3722"/>
                </a:lnTo>
                <a:lnTo>
                  <a:pt x="6160" y="3724"/>
                </a:lnTo>
                <a:lnTo>
                  <a:pt x="6160" y="3727"/>
                </a:lnTo>
                <a:lnTo>
                  <a:pt x="6160" y="3728"/>
                </a:lnTo>
                <a:lnTo>
                  <a:pt x="6157" y="3730"/>
                </a:lnTo>
                <a:lnTo>
                  <a:pt x="6154" y="3731"/>
                </a:lnTo>
                <a:lnTo>
                  <a:pt x="6150" y="3731"/>
                </a:lnTo>
                <a:lnTo>
                  <a:pt x="6145" y="3729"/>
                </a:lnTo>
                <a:lnTo>
                  <a:pt x="6136" y="3723"/>
                </a:lnTo>
                <a:lnTo>
                  <a:pt x="6125" y="3718"/>
                </a:lnTo>
                <a:lnTo>
                  <a:pt x="6118" y="3715"/>
                </a:lnTo>
                <a:lnTo>
                  <a:pt x="6111" y="3712"/>
                </a:lnTo>
                <a:lnTo>
                  <a:pt x="6104" y="3711"/>
                </a:lnTo>
                <a:lnTo>
                  <a:pt x="6096" y="3710"/>
                </a:lnTo>
                <a:lnTo>
                  <a:pt x="6090" y="3711"/>
                </a:lnTo>
                <a:lnTo>
                  <a:pt x="6086" y="3713"/>
                </a:lnTo>
                <a:lnTo>
                  <a:pt x="6084" y="3714"/>
                </a:lnTo>
                <a:lnTo>
                  <a:pt x="6084" y="3717"/>
                </a:lnTo>
                <a:lnTo>
                  <a:pt x="6084" y="3719"/>
                </a:lnTo>
                <a:lnTo>
                  <a:pt x="6084" y="3722"/>
                </a:lnTo>
                <a:lnTo>
                  <a:pt x="6087" y="3730"/>
                </a:lnTo>
                <a:lnTo>
                  <a:pt x="6092" y="3737"/>
                </a:lnTo>
                <a:lnTo>
                  <a:pt x="6097" y="3743"/>
                </a:lnTo>
                <a:lnTo>
                  <a:pt x="6104" y="3750"/>
                </a:lnTo>
                <a:lnTo>
                  <a:pt x="6116" y="3760"/>
                </a:lnTo>
                <a:lnTo>
                  <a:pt x="6127" y="3767"/>
                </a:lnTo>
                <a:lnTo>
                  <a:pt x="6132" y="3769"/>
                </a:lnTo>
                <a:lnTo>
                  <a:pt x="6137" y="3771"/>
                </a:lnTo>
                <a:lnTo>
                  <a:pt x="6143" y="3772"/>
                </a:lnTo>
                <a:lnTo>
                  <a:pt x="6150" y="3772"/>
                </a:lnTo>
                <a:lnTo>
                  <a:pt x="6166" y="3772"/>
                </a:lnTo>
                <a:lnTo>
                  <a:pt x="6185" y="3773"/>
                </a:lnTo>
                <a:lnTo>
                  <a:pt x="6209" y="3777"/>
                </a:lnTo>
                <a:lnTo>
                  <a:pt x="6238" y="3783"/>
                </a:lnTo>
                <a:lnTo>
                  <a:pt x="6264" y="3789"/>
                </a:lnTo>
                <a:lnTo>
                  <a:pt x="6286" y="3795"/>
                </a:lnTo>
                <a:lnTo>
                  <a:pt x="6298" y="3798"/>
                </a:lnTo>
                <a:lnTo>
                  <a:pt x="6316" y="3803"/>
                </a:lnTo>
                <a:lnTo>
                  <a:pt x="6337" y="3808"/>
                </a:lnTo>
                <a:lnTo>
                  <a:pt x="6362" y="3813"/>
                </a:lnTo>
                <a:lnTo>
                  <a:pt x="6387" y="3818"/>
                </a:lnTo>
                <a:lnTo>
                  <a:pt x="6413" y="3821"/>
                </a:lnTo>
                <a:lnTo>
                  <a:pt x="6424" y="3822"/>
                </a:lnTo>
                <a:lnTo>
                  <a:pt x="6436" y="3822"/>
                </a:lnTo>
                <a:lnTo>
                  <a:pt x="6446" y="3821"/>
                </a:lnTo>
                <a:lnTo>
                  <a:pt x="6456" y="3819"/>
                </a:lnTo>
                <a:lnTo>
                  <a:pt x="6484" y="3812"/>
                </a:lnTo>
                <a:lnTo>
                  <a:pt x="6505" y="3807"/>
                </a:lnTo>
                <a:lnTo>
                  <a:pt x="6512" y="3806"/>
                </a:lnTo>
                <a:lnTo>
                  <a:pt x="6518" y="3806"/>
                </a:lnTo>
                <a:lnTo>
                  <a:pt x="6524" y="3807"/>
                </a:lnTo>
                <a:lnTo>
                  <a:pt x="6529" y="3809"/>
                </a:lnTo>
                <a:lnTo>
                  <a:pt x="6532" y="3809"/>
                </a:lnTo>
                <a:lnTo>
                  <a:pt x="6535" y="3809"/>
                </a:lnTo>
                <a:lnTo>
                  <a:pt x="6539" y="3809"/>
                </a:lnTo>
                <a:lnTo>
                  <a:pt x="6544" y="3808"/>
                </a:lnTo>
                <a:lnTo>
                  <a:pt x="6553" y="3804"/>
                </a:lnTo>
                <a:lnTo>
                  <a:pt x="6564" y="3800"/>
                </a:lnTo>
                <a:lnTo>
                  <a:pt x="6573" y="3796"/>
                </a:lnTo>
                <a:lnTo>
                  <a:pt x="6582" y="3793"/>
                </a:lnTo>
                <a:lnTo>
                  <a:pt x="6586" y="3791"/>
                </a:lnTo>
                <a:lnTo>
                  <a:pt x="6589" y="3790"/>
                </a:lnTo>
                <a:lnTo>
                  <a:pt x="6591" y="3790"/>
                </a:lnTo>
                <a:lnTo>
                  <a:pt x="6593" y="3791"/>
                </a:lnTo>
                <a:lnTo>
                  <a:pt x="6595" y="3793"/>
                </a:lnTo>
                <a:lnTo>
                  <a:pt x="6598" y="3793"/>
                </a:lnTo>
                <a:lnTo>
                  <a:pt x="6602" y="3793"/>
                </a:lnTo>
                <a:lnTo>
                  <a:pt x="6609" y="3793"/>
                </a:lnTo>
                <a:lnTo>
                  <a:pt x="6621" y="3790"/>
                </a:lnTo>
                <a:lnTo>
                  <a:pt x="6636" y="3788"/>
                </a:lnTo>
                <a:lnTo>
                  <a:pt x="6648" y="3787"/>
                </a:lnTo>
                <a:lnTo>
                  <a:pt x="6659" y="3787"/>
                </a:lnTo>
                <a:lnTo>
                  <a:pt x="6663" y="3787"/>
                </a:lnTo>
                <a:lnTo>
                  <a:pt x="6665" y="3788"/>
                </a:lnTo>
                <a:lnTo>
                  <a:pt x="6666" y="3790"/>
                </a:lnTo>
                <a:lnTo>
                  <a:pt x="6664" y="3794"/>
                </a:lnTo>
                <a:lnTo>
                  <a:pt x="6660" y="3800"/>
                </a:lnTo>
                <a:lnTo>
                  <a:pt x="6656" y="3804"/>
                </a:lnTo>
                <a:lnTo>
                  <a:pt x="6652" y="3807"/>
                </a:lnTo>
                <a:lnTo>
                  <a:pt x="6647" y="3810"/>
                </a:lnTo>
                <a:lnTo>
                  <a:pt x="6643" y="3811"/>
                </a:lnTo>
                <a:lnTo>
                  <a:pt x="6639" y="3812"/>
                </a:lnTo>
                <a:lnTo>
                  <a:pt x="6633" y="3812"/>
                </a:lnTo>
                <a:lnTo>
                  <a:pt x="6626" y="3813"/>
                </a:lnTo>
                <a:lnTo>
                  <a:pt x="6612" y="3811"/>
                </a:lnTo>
                <a:lnTo>
                  <a:pt x="6596" y="3810"/>
                </a:lnTo>
                <a:lnTo>
                  <a:pt x="6588" y="3810"/>
                </a:lnTo>
                <a:lnTo>
                  <a:pt x="6579" y="3811"/>
                </a:lnTo>
                <a:lnTo>
                  <a:pt x="6570" y="3815"/>
                </a:lnTo>
                <a:lnTo>
                  <a:pt x="6560" y="3819"/>
                </a:lnTo>
                <a:lnTo>
                  <a:pt x="6537" y="3832"/>
                </a:lnTo>
                <a:lnTo>
                  <a:pt x="6510" y="3846"/>
                </a:lnTo>
                <a:lnTo>
                  <a:pt x="6498" y="3852"/>
                </a:lnTo>
                <a:lnTo>
                  <a:pt x="6487" y="3856"/>
                </a:lnTo>
                <a:lnTo>
                  <a:pt x="6479" y="3859"/>
                </a:lnTo>
                <a:lnTo>
                  <a:pt x="6474" y="3859"/>
                </a:lnTo>
                <a:lnTo>
                  <a:pt x="6465" y="3851"/>
                </a:lnTo>
                <a:lnTo>
                  <a:pt x="6446" y="3840"/>
                </a:lnTo>
                <a:lnTo>
                  <a:pt x="6436" y="3834"/>
                </a:lnTo>
                <a:lnTo>
                  <a:pt x="6425" y="3831"/>
                </a:lnTo>
                <a:lnTo>
                  <a:pt x="6420" y="3830"/>
                </a:lnTo>
                <a:lnTo>
                  <a:pt x="6415" y="3830"/>
                </a:lnTo>
                <a:lnTo>
                  <a:pt x="6411" y="3831"/>
                </a:lnTo>
                <a:lnTo>
                  <a:pt x="6406" y="3833"/>
                </a:lnTo>
                <a:lnTo>
                  <a:pt x="6397" y="3838"/>
                </a:lnTo>
                <a:lnTo>
                  <a:pt x="6387" y="3840"/>
                </a:lnTo>
                <a:lnTo>
                  <a:pt x="6377" y="3841"/>
                </a:lnTo>
                <a:lnTo>
                  <a:pt x="6365" y="3841"/>
                </a:lnTo>
                <a:lnTo>
                  <a:pt x="6346" y="3839"/>
                </a:lnTo>
                <a:lnTo>
                  <a:pt x="6331" y="3835"/>
                </a:lnTo>
                <a:lnTo>
                  <a:pt x="6311" y="3831"/>
                </a:lnTo>
                <a:lnTo>
                  <a:pt x="6279" y="3825"/>
                </a:lnTo>
                <a:lnTo>
                  <a:pt x="6260" y="3822"/>
                </a:lnTo>
                <a:lnTo>
                  <a:pt x="6242" y="3819"/>
                </a:lnTo>
                <a:lnTo>
                  <a:pt x="6225" y="3818"/>
                </a:lnTo>
                <a:lnTo>
                  <a:pt x="6211" y="3818"/>
                </a:lnTo>
                <a:lnTo>
                  <a:pt x="6198" y="3817"/>
                </a:lnTo>
                <a:lnTo>
                  <a:pt x="6184" y="3815"/>
                </a:lnTo>
                <a:lnTo>
                  <a:pt x="6171" y="3812"/>
                </a:lnTo>
                <a:lnTo>
                  <a:pt x="6158" y="3809"/>
                </a:lnTo>
                <a:lnTo>
                  <a:pt x="6135" y="3803"/>
                </a:lnTo>
                <a:lnTo>
                  <a:pt x="6120" y="3799"/>
                </a:lnTo>
                <a:lnTo>
                  <a:pt x="6107" y="3794"/>
                </a:lnTo>
                <a:lnTo>
                  <a:pt x="6088" y="3784"/>
                </a:lnTo>
                <a:lnTo>
                  <a:pt x="6071" y="3776"/>
                </a:lnTo>
                <a:lnTo>
                  <a:pt x="6064" y="3772"/>
                </a:lnTo>
                <a:lnTo>
                  <a:pt x="6053" y="3761"/>
                </a:lnTo>
                <a:lnTo>
                  <a:pt x="6029" y="3735"/>
                </a:lnTo>
                <a:lnTo>
                  <a:pt x="6002" y="3707"/>
                </a:lnTo>
                <a:lnTo>
                  <a:pt x="5983" y="3686"/>
                </a:lnTo>
                <a:lnTo>
                  <a:pt x="5967" y="3666"/>
                </a:lnTo>
                <a:lnTo>
                  <a:pt x="5946" y="3641"/>
                </a:lnTo>
                <a:lnTo>
                  <a:pt x="5938" y="3629"/>
                </a:lnTo>
                <a:lnTo>
                  <a:pt x="5931" y="3623"/>
                </a:lnTo>
                <a:lnTo>
                  <a:pt x="5929" y="3621"/>
                </a:lnTo>
                <a:lnTo>
                  <a:pt x="5926" y="3622"/>
                </a:lnTo>
                <a:lnTo>
                  <a:pt x="5926" y="3624"/>
                </a:lnTo>
                <a:lnTo>
                  <a:pt x="5926" y="3627"/>
                </a:lnTo>
                <a:lnTo>
                  <a:pt x="5931" y="3639"/>
                </a:lnTo>
                <a:lnTo>
                  <a:pt x="5937" y="3649"/>
                </a:lnTo>
                <a:lnTo>
                  <a:pt x="5944" y="3661"/>
                </a:lnTo>
                <a:lnTo>
                  <a:pt x="5951" y="3669"/>
                </a:lnTo>
                <a:lnTo>
                  <a:pt x="5955" y="3676"/>
                </a:lnTo>
                <a:lnTo>
                  <a:pt x="5958" y="3680"/>
                </a:lnTo>
                <a:lnTo>
                  <a:pt x="5956" y="3681"/>
                </a:lnTo>
                <a:lnTo>
                  <a:pt x="5950" y="3676"/>
                </a:lnTo>
                <a:lnTo>
                  <a:pt x="5930" y="3662"/>
                </a:lnTo>
                <a:lnTo>
                  <a:pt x="5912" y="3647"/>
                </a:lnTo>
                <a:lnTo>
                  <a:pt x="5904" y="3640"/>
                </a:lnTo>
                <a:lnTo>
                  <a:pt x="5899" y="3631"/>
                </a:lnTo>
                <a:lnTo>
                  <a:pt x="5897" y="3628"/>
                </a:lnTo>
                <a:lnTo>
                  <a:pt x="5896" y="3625"/>
                </a:lnTo>
                <a:lnTo>
                  <a:pt x="5896" y="3622"/>
                </a:lnTo>
                <a:lnTo>
                  <a:pt x="5897" y="3619"/>
                </a:lnTo>
                <a:lnTo>
                  <a:pt x="5902" y="3606"/>
                </a:lnTo>
                <a:lnTo>
                  <a:pt x="5904" y="3593"/>
                </a:lnTo>
                <a:lnTo>
                  <a:pt x="5904" y="3588"/>
                </a:lnTo>
                <a:lnTo>
                  <a:pt x="5903" y="3584"/>
                </a:lnTo>
                <a:lnTo>
                  <a:pt x="5901" y="3580"/>
                </a:lnTo>
                <a:lnTo>
                  <a:pt x="5897" y="3577"/>
                </a:lnTo>
                <a:lnTo>
                  <a:pt x="5887" y="3575"/>
                </a:lnTo>
                <a:lnTo>
                  <a:pt x="5876" y="3574"/>
                </a:lnTo>
                <a:lnTo>
                  <a:pt x="5871" y="3573"/>
                </a:lnTo>
                <a:lnTo>
                  <a:pt x="5867" y="3570"/>
                </a:lnTo>
                <a:lnTo>
                  <a:pt x="5865" y="3567"/>
                </a:lnTo>
                <a:lnTo>
                  <a:pt x="5864" y="3563"/>
                </a:lnTo>
                <a:lnTo>
                  <a:pt x="5864" y="3551"/>
                </a:lnTo>
                <a:lnTo>
                  <a:pt x="5863" y="3538"/>
                </a:lnTo>
                <a:lnTo>
                  <a:pt x="5862" y="3533"/>
                </a:lnTo>
                <a:lnTo>
                  <a:pt x="5859" y="3526"/>
                </a:lnTo>
                <a:lnTo>
                  <a:pt x="5857" y="3522"/>
                </a:lnTo>
                <a:lnTo>
                  <a:pt x="5853" y="3518"/>
                </a:lnTo>
                <a:lnTo>
                  <a:pt x="5846" y="3511"/>
                </a:lnTo>
                <a:lnTo>
                  <a:pt x="5843" y="3505"/>
                </a:lnTo>
                <a:lnTo>
                  <a:pt x="5843" y="3503"/>
                </a:lnTo>
                <a:lnTo>
                  <a:pt x="5844" y="3501"/>
                </a:lnTo>
                <a:lnTo>
                  <a:pt x="5845" y="3500"/>
                </a:lnTo>
                <a:lnTo>
                  <a:pt x="5847" y="3500"/>
                </a:lnTo>
                <a:lnTo>
                  <a:pt x="5859" y="3502"/>
                </a:lnTo>
                <a:lnTo>
                  <a:pt x="5879" y="3509"/>
                </a:lnTo>
                <a:lnTo>
                  <a:pt x="5898" y="3515"/>
                </a:lnTo>
                <a:lnTo>
                  <a:pt x="5910" y="3520"/>
                </a:lnTo>
                <a:lnTo>
                  <a:pt x="5918" y="3527"/>
                </a:lnTo>
                <a:lnTo>
                  <a:pt x="5932" y="3540"/>
                </a:lnTo>
                <a:lnTo>
                  <a:pt x="5947" y="3554"/>
                </a:lnTo>
                <a:lnTo>
                  <a:pt x="5962" y="3564"/>
                </a:lnTo>
                <a:lnTo>
                  <a:pt x="5974" y="3573"/>
                </a:lnTo>
                <a:lnTo>
                  <a:pt x="5983" y="3581"/>
                </a:lnTo>
                <a:lnTo>
                  <a:pt x="5986" y="3583"/>
                </a:lnTo>
                <a:lnTo>
                  <a:pt x="5988" y="3583"/>
                </a:lnTo>
                <a:lnTo>
                  <a:pt x="5989" y="3580"/>
                </a:lnTo>
                <a:lnTo>
                  <a:pt x="5987" y="3575"/>
                </a:lnTo>
                <a:lnTo>
                  <a:pt x="5984" y="3567"/>
                </a:lnTo>
                <a:lnTo>
                  <a:pt x="5981" y="3561"/>
                </a:lnTo>
                <a:lnTo>
                  <a:pt x="5977" y="3556"/>
                </a:lnTo>
                <a:lnTo>
                  <a:pt x="5973" y="3551"/>
                </a:lnTo>
                <a:lnTo>
                  <a:pt x="5968" y="3544"/>
                </a:lnTo>
                <a:lnTo>
                  <a:pt x="5963" y="3538"/>
                </a:lnTo>
                <a:lnTo>
                  <a:pt x="5958" y="3530"/>
                </a:lnTo>
                <a:lnTo>
                  <a:pt x="5953" y="3519"/>
                </a:lnTo>
                <a:lnTo>
                  <a:pt x="5940" y="3494"/>
                </a:lnTo>
                <a:lnTo>
                  <a:pt x="5926" y="3470"/>
                </a:lnTo>
                <a:lnTo>
                  <a:pt x="5916" y="3451"/>
                </a:lnTo>
                <a:lnTo>
                  <a:pt x="5912" y="3444"/>
                </a:lnTo>
                <a:lnTo>
                  <a:pt x="5909" y="3421"/>
                </a:lnTo>
                <a:lnTo>
                  <a:pt x="5911" y="3416"/>
                </a:lnTo>
                <a:lnTo>
                  <a:pt x="5915" y="3406"/>
                </a:lnTo>
                <a:lnTo>
                  <a:pt x="5917" y="3401"/>
                </a:lnTo>
                <a:lnTo>
                  <a:pt x="5917" y="3395"/>
                </a:lnTo>
                <a:lnTo>
                  <a:pt x="5917" y="3393"/>
                </a:lnTo>
                <a:lnTo>
                  <a:pt x="5916" y="3391"/>
                </a:lnTo>
                <a:lnTo>
                  <a:pt x="5914" y="3390"/>
                </a:lnTo>
                <a:lnTo>
                  <a:pt x="5912" y="3389"/>
                </a:lnTo>
                <a:lnTo>
                  <a:pt x="5909" y="3388"/>
                </a:lnTo>
                <a:lnTo>
                  <a:pt x="5908" y="3387"/>
                </a:lnTo>
                <a:lnTo>
                  <a:pt x="5906" y="3385"/>
                </a:lnTo>
                <a:lnTo>
                  <a:pt x="5904" y="3383"/>
                </a:lnTo>
                <a:lnTo>
                  <a:pt x="5904" y="3378"/>
                </a:lnTo>
                <a:lnTo>
                  <a:pt x="5904" y="3372"/>
                </a:lnTo>
                <a:lnTo>
                  <a:pt x="5907" y="3366"/>
                </a:lnTo>
                <a:lnTo>
                  <a:pt x="5909" y="3361"/>
                </a:lnTo>
                <a:lnTo>
                  <a:pt x="5911" y="3357"/>
                </a:lnTo>
                <a:lnTo>
                  <a:pt x="5914" y="3355"/>
                </a:lnTo>
                <a:lnTo>
                  <a:pt x="5915" y="3354"/>
                </a:lnTo>
                <a:lnTo>
                  <a:pt x="5915" y="3352"/>
                </a:lnTo>
                <a:lnTo>
                  <a:pt x="5916" y="3349"/>
                </a:lnTo>
                <a:lnTo>
                  <a:pt x="5915" y="3347"/>
                </a:lnTo>
                <a:lnTo>
                  <a:pt x="5914" y="3340"/>
                </a:lnTo>
                <a:lnTo>
                  <a:pt x="5912" y="3333"/>
                </a:lnTo>
                <a:lnTo>
                  <a:pt x="5907" y="3317"/>
                </a:lnTo>
                <a:lnTo>
                  <a:pt x="5901" y="3305"/>
                </a:lnTo>
                <a:lnTo>
                  <a:pt x="5901" y="3300"/>
                </a:lnTo>
                <a:lnTo>
                  <a:pt x="5902" y="3292"/>
                </a:lnTo>
                <a:lnTo>
                  <a:pt x="5906" y="3281"/>
                </a:lnTo>
                <a:lnTo>
                  <a:pt x="5908" y="3272"/>
                </a:lnTo>
                <a:lnTo>
                  <a:pt x="5909" y="3263"/>
                </a:lnTo>
                <a:lnTo>
                  <a:pt x="5909" y="3258"/>
                </a:lnTo>
                <a:lnTo>
                  <a:pt x="5907" y="3257"/>
                </a:lnTo>
                <a:lnTo>
                  <a:pt x="5904" y="3258"/>
                </a:lnTo>
                <a:lnTo>
                  <a:pt x="5901" y="3260"/>
                </a:lnTo>
                <a:lnTo>
                  <a:pt x="5896" y="3263"/>
                </a:lnTo>
                <a:lnTo>
                  <a:pt x="5877" y="3281"/>
                </a:lnTo>
                <a:lnTo>
                  <a:pt x="5862" y="3297"/>
                </a:lnTo>
                <a:lnTo>
                  <a:pt x="5858" y="3300"/>
                </a:lnTo>
                <a:lnTo>
                  <a:pt x="5855" y="3302"/>
                </a:lnTo>
                <a:lnTo>
                  <a:pt x="5852" y="3303"/>
                </a:lnTo>
                <a:lnTo>
                  <a:pt x="5849" y="3303"/>
                </a:lnTo>
                <a:lnTo>
                  <a:pt x="5846" y="3303"/>
                </a:lnTo>
                <a:lnTo>
                  <a:pt x="5844" y="3301"/>
                </a:lnTo>
                <a:lnTo>
                  <a:pt x="5841" y="3299"/>
                </a:lnTo>
                <a:lnTo>
                  <a:pt x="5837" y="3295"/>
                </a:lnTo>
                <a:lnTo>
                  <a:pt x="5835" y="3291"/>
                </a:lnTo>
                <a:lnTo>
                  <a:pt x="5834" y="3285"/>
                </a:lnTo>
                <a:lnTo>
                  <a:pt x="5834" y="3281"/>
                </a:lnTo>
                <a:lnTo>
                  <a:pt x="5834" y="3276"/>
                </a:lnTo>
                <a:lnTo>
                  <a:pt x="5836" y="3266"/>
                </a:lnTo>
                <a:lnTo>
                  <a:pt x="5840" y="3255"/>
                </a:lnTo>
                <a:lnTo>
                  <a:pt x="5842" y="3246"/>
                </a:lnTo>
                <a:lnTo>
                  <a:pt x="5844" y="3237"/>
                </a:lnTo>
                <a:lnTo>
                  <a:pt x="5844" y="3234"/>
                </a:lnTo>
                <a:lnTo>
                  <a:pt x="5843" y="3231"/>
                </a:lnTo>
                <a:lnTo>
                  <a:pt x="5842" y="3228"/>
                </a:lnTo>
                <a:lnTo>
                  <a:pt x="5838" y="3227"/>
                </a:lnTo>
                <a:lnTo>
                  <a:pt x="5825" y="3218"/>
                </a:lnTo>
                <a:lnTo>
                  <a:pt x="5809" y="3209"/>
                </a:lnTo>
                <a:lnTo>
                  <a:pt x="5803" y="3204"/>
                </a:lnTo>
                <a:lnTo>
                  <a:pt x="5798" y="3198"/>
                </a:lnTo>
                <a:lnTo>
                  <a:pt x="5793" y="3193"/>
                </a:lnTo>
                <a:lnTo>
                  <a:pt x="5792" y="3189"/>
                </a:lnTo>
                <a:lnTo>
                  <a:pt x="5791" y="3178"/>
                </a:lnTo>
                <a:lnTo>
                  <a:pt x="5789" y="3160"/>
                </a:lnTo>
                <a:lnTo>
                  <a:pt x="5787" y="3151"/>
                </a:lnTo>
                <a:lnTo>
                  <a:pt x="5785" y="3145"/>
                </a:lnTo>
                <a:lnTo>
                  <a:pt x="5783" y="3142"/>
                </a:lnTo>
                <a:lnTo>
                  <a:pt x="5782" y="3140"/>
                </a:lnTo>
                <a:lnTo>
                  <a:pt x="5780" y="3139"/>
                </a:lnTo>
                <a:lnTo>
                  <a:pt x="5779" y="3139"/>
                </a:lnTo>
                <a:lnTo>
                  <a:pt x="5763" y="3139"/>
                </a:lnTo>
                <a:lnTo>
                  <a:pt x="5740" y="3139"/>
                </a:lnTo>
                <a:lnTo>
                  <a:pt x="5728" y="3140"/>
                </a:lnTo>
                <a:lnTo>
                  <a:pt x="5718" y="3141"/>
                </a:lnTo>
                <a:lnTo>
                  <a:pt x="5710" y="3142"/>
                </a:lnTo>
                <a:lnTo>
                  <a:pt x="5705" y="3143"/>
                </a:lnTo>
                <a:lnTo>
                  <a:pt x="5692" y="3154"/>
                </a:lnTo>
                <a:lnTo>
                  <a:pt x="5668" y="3174"/>
                </a:lnTo>
                <a:lnTo>
                  <a:pt x="5641" y="3197"/>
                </a:lnTo>
                <a:lnTo>
                  <a:pt x="5624" y="3215"/>
                </a:lnTo>
                <a:lnTo>
                  <a:pt x="5606" y="3234"/>
                </a:lnTo>
                <a:lnTo>
                  <a:pt x="5582" y="3258"/>
                </a:lnTo>
                <a:lnTo>
                  <a:pt x="5560" y="3281"/>
                </a:lnTo>
                <a:lnTo>
                  <a:pt x="5548" y="3293"/>
                </a:lnTo>
                <a:lnTo>
                  <a:pt x="5543" y="3296"/>
                </a:lnTo>
                <a:lnTo>
                  <a:pt x="5535" y="3299"/>
                </a:lnTo>
                <a:lnTo>
                  <a:pt x="5530" y="3302"/>
                </a:lnTo>
                <a:lnTo>
                  <a:pt x="5527" y="3305"/>
                </a:lnTo>
                <a:lnTo>
                  <a:pt x="5524" y="3312"/>
                </a:lnTo>
                <a:lnTo>
                  <a:pt x="5524" y="3320"/>
                </a:lnTo>
                <a:lnTo>
                  <a:pt x="5524" y="3329"/>
                </a:lnTo>
                <a:lnTo>
                  <a:pt x="5523" y="3338"/>
                </a:lnTo>
                <a:lnTo>
                  <a:pt x="5522" y="3347"/>
                </a:lnTo>
                <a:lnTo>
                  <a:pt x="5521" y="3355"/>
                </a:lnTo>
                <a:lnTo>
                  <a:pt x="5518" y="3368"/>
                </a:lnTo>
                <a:lnTo>
                  <a:pt x="5515" y="3378"/>
                </a:lnTo>
                <a:lnTo>
                  <a:pt x="5514" y="3389"/>
                </a:lnTo>
                <a:lnTo>
                  <a:pt x="5512" y="3407"/>
                </a:lnTo>
                <a:lnTo>
                  <a:pt x="5511" y="3417"/>
                </a:lnTo>
                <a:lnTo>
                  <a:pt x="5508" y="3426"/>
                </a:lnTo>
                <a:lnTo>
                  <a:pt x="5506" y="3430"/>
                </a:lnTo>
                <a:lnTo>
                  <a:pt x="5504" y="3434"/>
                </a:lnTo>
                <a:lnTo>
                  <a:pt x="5502" y="3437"/>
                </a:lnTo>
                <a:lnTo>
                  <a:pt x="5499" y="3439"/>
                </a:lnTo>
                <a:lnTo>
                  <a:pt x="5487" y="3449"/>
                </a:lnTo>
                <a:lnTo>
                  <a:pt x="5478" y="3456"/>
                </a:lnTo>
                <a:lnTo>
                  <a:pt x="5473" y="3458"/>
                </a:lnTo>
                <a:lnTo>
                  <a:pt x="5469" y="3460"/>
                </a:lnTo>
                <a:lnTo>
                  <a:pt x="5464" y="3461"/>
                </a:lnTo>
                <a:lnTo>
                  <a:pt x="5460" y="3460"/>
                </a:lnTo>
                <a:lnTo>
                  <a:pt x="5457" y="3457"/>
                </a:lnTo>
                <a:lnTo>
                  <a:pt x="5453" y="3452"/>
                </a:lnTo>
                <a:lnTo>
                  <a:pt x="5450" y="3445"/>
                </a:lnTo>
                <a:lnTo>
                  <a:pt x="5446" y="3436"/>
                </a:lnTo>
                <a:lnTo>
                  <a:pt x="5438" y="3415"/>
                </a:lnTo>
                <a:lnTo>
                  <a:pt x="5430" y="3393"/>
                </a:lnTo>
                <a:lnTo>
                  <a:pt x="5421" y="3370"/>
                </a:lnTo>
                <a:lnTo>
                  <a:pt x="5413" y="3344"/>
                </a:lnTo>
                <a:lnTo>
                  <a:pt x="5410" y="3333"/>
                </a:lnTo>
                <a:lnTo>
                  <a:pt x="5406" y="3323"/>
                </a:lnTo>
                <a:lnTo>
                  <a:pt x="5402" y="3315"/>
                </a:lnTo>
                <a:lnTo>
                  <a:pt x="5397" y="3310"/>
                </a:lnTo>
                <a:lnTo>
                  <a:pt x="5389" y="3303"/>
                </a:lnTo>
                <a:lnTo>
                  <a:pt x="5381" y="3297"/>
                </a:lnTo>
                <a:lnTo>
                  <a:pt x="5377" y="3294"/>
                </a:lnTo>
                <a:lnTo>
                  <a:pt x="5375" y="3291"/>
                </a:lnTo>
                <a:lnTo>
                  <a:pt x="5373" y="3286"/>
                </a:lnTo>
                <a:lnTo>
                  <a:pt x="5372" y="3281"/>
                </a:lnTo>
                <a:lnTo>
                  <a:pt x="5370" y="3262"/>
                </a:lnTo>
                <a:lnTo>
                  <a:pt x="5366" y="3236"/>
                </a:lnTo>
                <a:lnTo>
                  <a:pt x="5362" y="3212"/>
                </a:lnTo>
                <a:lnTo>
                  <a:pt x="5360" y="3197"/>
                </a:lnTo>
                <a:lnTo>
                  <a:pt x="5361" y="3188"/>
                </a:lnTo>
                <a:lnTo>
                  <a:pt x="5363" y="3173"/>
                </a:lnTo>
                <a:lnTo>
                  <a:pt x="5364" y="3166"/>
                </a:lnTo>
                <a:lnTo>
                  <a:pt x="5363" y="3161"/>
                </a:lnTo>
                <a:lnTo>
                  <a:pt x="5363" y="3159"/>
                </a:lnTo>
                <a:lnTo>
                  <a:pt x="5362" y="3157"/>
                </a:lnTo>
                <a:lnTo>
                  <a:pt x="5361" y="3157"/>
                </a:lnTo>
                <a:lnTo>
                  <a:pt x="5360" y="3157"/>
                </a:lnTo>
                <a:lnTo>
                  <a:pt x="5348" y="3159"/>
                </a:lnTo>
                <a:lnTo>
                  <a:pt x="5330" y="3161"/>
                </a:lnTo>
                <a:lnTo>
                  <a:pt x="5314" y="3161"/>
                </a:lnTo>
                <a:lnTo>
                  <a:pt x="5306" y="3161"/>
                </a:lnTo>
                <a:lnTo>
                  <a:pt x="5302" y="3156"/>
                </a:lnTo>
                <a:lnTo>
                  <a:pt x="5293" y="3143"/>
                </a:lnTo>
                <a:lnTo>
                  <a:pt x="5282" y="3129"/>
                </a:lnTo>
                <a:lnTo>
                  <a:pt x="5276" y="3120"/>
                </a:lnTo>
                <a:lnTo>
                  <a:pt x="5273" y="3115"/>
                </a:lnTo>
                <a:lnTo>
                  <a:pt x="5265" y="3107"/>
                </a:lnTo>
                <a:lnTo>
                  <a:pt x="5256" y="3099"/>
                </a:lnTo>
                <a:lnTo>
                  <a:pt x="5244" y="3088"/>
                </a:lnTo>
                <a:lnTo>
                  <a:pt x="5233" y="3079"/>
                </a:lnTo>
                <a:lnTo>
                  <a:pt x="5220" y="3071"/>
                </a:lnTo>
                <a:lnTo>
                  <a:pt x="5215" y="3067"/>
                </a:lnTo>
                <a:lnTo>
                  <a:pt x="5209" y="3065"/>
                </a:lnTo>
                <a:lnTo>
                  <a:pt x="5205" y="3063"/>
                </a:lnTo>
                <a:lnTo>
                  <a:pt x="5199" y="3062"/>
                </a:lnTo>
                <a:lnTo>
                  <a:pt x="5191" y="3062"/>
                </a:lnTo>
                <a:lnTo>
                  <a:pt x="5179" y="3063"/>
                </a:lnTo>
                <a:lnTo>
                  <a:pt x="5168" y="3064"/>
                </a:lnTo>
                <a:lnTo>
                  <a:pt x="5156" y="3066"/>
                </a:lnTo>
                <a:lnTo>
                  <a:pt x="5145" y="3069"/>
                </a:lnTo>
                <a:lnTo>
                  <a:pt x="5134" y="3070"/>
                </a:lnTo>
                <a:lnTo>
                  <a:pt x="5127" y="3070"/>
                </a:lnTo>
                <a:lnTo>
                  <a:pt x="5122" y="3070"/>
                </a:lnTo>
                <a:lnTo>
                  <a:pt x="5106" y="3067"/>
                </a:lnTo>
                <a:lnTo>
                  <a:pt x="5078" y="3066"/>
                </a:lnTo>
                <a:lnTo>
                  <a:pt x="5062" y="3065"/>
                </a:lnTo>
                <a:lnTo>
                  <a:pt x="5048" y="3063"/>
                </a:lnTo>
                <a:lnTo>
                  <a:pt x="5043" y="3062"/>
                </a:lnTo>
                <a:lnTo>
                  <a:pt x="5039" y="3061"/>
                </a:lnTo>
                <a:lnTo>
                  <a:pt x="5035" y="3059"/>
                </a:lnTo>
                <a:lnTo>
                  <a:pt x="5033" y="3057"/>
                </a:lnTo>
                <a:lnTo>
                  <a:pt x="5023" y="3045"/>
                </a:lnTo>
                <a:lnTo>
                  <a:pt x="5012" y="3032"/>
                </a:lnTo>
                <a:lnTo>
                  <a:pt x="5006" y="3026"/>
                </a:lnTo>
                <a:lnTo>
                  <a:pt x="5000" y="3021"/>
                </a:lnTo>
                <a:lnTo>
                  <a:pt x="4998" y="3019"/>
                </a:lnTo>
                <a:lnTo>
                  <a:pt x="4996" y="3018"/>
                </a:lnTo>
                <a:lnTo>
                  <a:pt x="4994" y="3018"/>
                </a:lnTo>
                <a:lnTo>
                  <a:pt x="4993" y="3019"/>
                </a:lnTo>
                <a:lnTo>
                  <a:pt x="4987" y="3025"/>
                </a:lnTo>
                <a:lnTo>
                  <a:pt x="4979" y="3030"/>
                </a:lnTo>
                <a:lnTo>
                  <a:pt x="4975" y="3031"/>
                </a:lnTo>
                <a:lnTo>
                  <a:pt x="4971" y="3032"/>
                </a:lnTo>
                <a:lnTo>
                  <a:pt x="4966" y="3031"/>
                </a:lnTo>
                <a:lnTo>
                  <a:pt x="4960" y="3029"/>
                </a:lnTo>
                <a:lnTo>
                  <a:pt x="4938" y="3014"/>
                </a:lnTo>
                <a:lnTo>
                  <a:pt x="4902" y="2989"/>
                </a:lnTo>
                <a:lnTo>
                  <a:pt x="4866" y="2965"/>
                </a:lnTo>
                <a:lnTo>
                  <a:pt x="4848" y="2951"/>
                </a:lnTo>
                <a:lnTo>
                  <a:pt x="4842" y="2947"/>
                </a:lnTo>
                <a:lnTo>
                  <a:pt x="4835" y="2944"/>
                </a:lnTo>
                <a:lnTo>
                  <a:pt x="4831" y="2943"/>
                </a:lnTo>
                <a:lnTo>
                  <a:pt x="4827" y="2942"/>
                </a:lnTo>
                <a:lnTo>
                  <a:pt x="4824" y="2942"/>
                </a:lnTo>
                <a:lnTo>
                  <a:pt x="4822" y="2943"/>
                </a:lnTo>
                <a:lnTo>
                  <a:pt x="4819" y="2946"/>
                </a:lnTo>
                <a:lnTo>
                  <a:pt x="4818" y="2950"/>
                </a:lnTo>
                <a:lnTo>
                  <a:pt x="4818" y="2954"/>
                </a:lnTo>
                <a:lnTo>
                  <a:pt x="4819" y="2959"/>
                </a:lnTo>
                <a:lnTo>
                  <a:pt x="4826" y="2969"/>
                </a:lnTo>
                <a:lnTo>
                  <a:pt x="4834" y="2983"/>
                </a:lnTo>
                <a:lnTo>
                  <a:pt x="4840" y="2992"/>
                </a:lnTo>
                <a:lnTo>
                  <a:pt x="4850" y="3008"/>
                </a:lnTo>
                <a:lnTo>
                  <a:pt x="4861" y="3023"/>
                </a:lnTo>
                <a:lnTo>
                  <a:pt x="4868" y="3033"/>
                </a:lnTo>
                <a:lnTo>
                  <a:pt x="4870" y="3035"/>
                </a:lnTo>
                <a:lnTo>
                  <a:pt x="4875" y="3035"/>
                </a:lnTo>
                <a:lnTo>
                  <a:pt x="4878" y="3035"/>
                </a:lnTo>
                <a:lnTo>
                  <a:pt x="4882" y="3035"/>
                </a:lnTo>
                <a:lnTo>
                  <a:pt x="4886" y="3035"/>
                </a:lnTo>
                <a:lnTo>
                  <a:pt x="4890" y="3036"/>
                </a:lnTo>
                <a:lnTo>
                  <a:pt x="4893" y="3038"/>
                </a:lnTo>
                <a:lnTo>
                  <a:pt x="4897" y="3042"/>
                </a:lnTo>
                <a:lnTo>
                  <a:pt x="4898" y="3048"/>
                </a:lnTo>
                <a:lnTo>
                  <a:pt x="4898" y="3053"/>
                </a:lnTo>
                <a:lnTo>
                  <a:pt x="4898" y="3058"/>
                </a:lnTo>
                <a:lnTo>
                  <a:pt x="4897" y="3063"/>
                </a:lnTo>
                <a:lnTo>
                  <a:pt x="4895" y="3069"/>
                </a:lnTo>
                <a:lnTo>
                  <a:pt x="4895" y="3073"/>
                </a:lnTo>
                <a:lnTo>
                  <a:pt x="4898" y="3078"/>
                </a:lnTo>
                <a:lnTo>
                  <a:pt x="4901" y="3083"/>
                </a:lnTo>
                <a:lnTo>
                  <a:pt x="4905" y="3087"/>
                </a:lnTo>
                <a:lnTo>
                  <a:pt x="4908" y="3088"/>
                </a:lnTo>
                <a:lnTo>
                  <a:pt x="4912" y="3088"/>
                </a:lnTo>
                <a:lnTo>
                  <a:pt x="4915" y="3087"/>
                </a:lnTo>
                <a:lnTo>
                  <a:pt x="4919" y="3085"/>
                </a:lnTo>
                <a:lnTo>
                  <a:pt x="4922" y="3083"/>
                </a:lnTo>
                <a:lnTo>
                  <a:pt x="4925" y="3081"/>
                </a:lnTo>
                <a:lnTo>
                  <a:pt x="4929" y="3081"/>
                </a:lnTo>
                <a:lnTo>
                  <a:pt x="4937" y="3080"/>
                </a:lnTo>
                <a:lnTo>
                  <a:pt x="4948" y="3078"/>
                </a:lnTo>
                <a:lnTo>
                  <a:pt x="4956" y="3075"/>
                </a:lnTo>
                <a:lnTo>
                  <a:pt x="4963" y="3071"/>
                </a:lnTo>
                <a:lnTo>
                  <a:pt x="4969" y="3063"/>
                </a:lnTo>
                <a:lnTo>
                  <a:pt x="4977" y="3053"/>
                </a:lnTo>
                <a:lnTo>
                  <a:pt x="4982" y="3048"/>
                </a:lnTo>
                <a:lnTo>
                  <a:pt x="4987" y="3043"/>
                </a:lnTo>
                <a:lnTo>
                  <a:pt x="4989" y="3042"/>
                </a:lnTo>
                <a:lnTo>
                  <a:pt x="4991" y="3041"/>
                </a:lnTo>
                <a:lnTo>
                  <a:pt x="4993" y="3041"/>
                </a:lnTo>
                <a:lnTo>
                  <a:pt x="4994" y="3042"/>
                </a:lnTo>
                <a:lnTo>
                  <a:pt x="4999" y="3045"/>
                </a:lnTo>
                <a:lnTo>
                  <a:pt x="5003" y="3048"/>
                </a:lnTo>
                <a:lnTo>
                  <a:pt x="5006" y="3050"/>
                </a:lnTo>
                <a:lnTo>
                  <a:pt x="5008" y="3052"/>
                </a:lnTo>
                <a:lnTo>
                  <a:pt x="5009" y="3054"/>
                </a:lnTo>
                <a:lnTo>
                  <a:pt x="5010" y="3058"/>
                </a:lnTo>
                <a:lnTo>
                  <a:pt x="5012" y="3066"/>
                </a:lnTo>
                <a:lnTo>
                  <a:pt x="5013" y="3074"/>
                </a:lnTo>
                <a:lnTo>
                  <a:pt x="5014" y="3079"/>
                </a:lnTo>
                <a:lnTo>
                  <a:pt x="5016" y="3081"/>
                </a:lnTo>
                <a:lnTo>
                  <a:pt x="5022" y="3083"/>
                </a:lnTo>
                <a:lnTo>
                  <a:pt x="5034" y="3088"/>
                </a:lnTo>
                <a:lnTo>
                  <a:pt x="5046" y="3095"/>
                </a:lnTo>
                <a:lnTo>
                  <a:pt x="5056" y="3101"/>
                </a:lnTo>
                <a:lnTo>
                  <a:pt x="5064" y="3106"/>
                </a:lnTo>
                <a:lnTo>
                  <a:pt x="5072" y="3112"/>
                </a:lnTo>
                <a:lnTo>
                  <a:pt x="5076" y="3114"/>
                </a:lnTo>
                <a:lnTo>
                  <a:pt x="5078" y="3116"/>
                </a:lnTo>
                <a:lnTo>
                  <a:pt x="5080" y="3118"/>
                </a:lnTo>
                <a:lnTo>
                  <a:pt x="5082" y="3120"/>
                </a:lnTo>
                <a:lnTo>
                  <a:pt x="5081" y="3125"/>
                </a:lnTo>
                <a:lnTo>
                  <a:pt x="5080" y="3132"/>
                </a:lnTo>
                <a:lnTo>
                  <a:pt x="5077" y="3143"/>
                </a:lnTo>
                <a:lnTo>
                  <a:pt x="5073" y="3154"/>
                </a:lnTo>
                <a:lnTo>
                  <a:pt x="5068" y="3165"/>
                </a:lnTo>
                <a:lnTo>
                  <a:pt x="5064" y="3174"/>
                </a:lnTo>
                <a:lnTo>
                  <a:pt x="5062" y="3179"/>
                </a:lnTo>
                <a:lnTo>
                  <a:pt x="5060" y="3181"/>
                </a:lnTo>
                <a:lnTo>
                  <a:pt x="5058" y="3183"/>
                </a:lnTo>
                <a:lnTo>
                  <a:pt x="5056" y="3184"/>
                </a:lnTo>
                <a:lnTo>
                  <a:pt x="5048" y="3183"/>
                </a:lnTo>
                <a:lnTo>
                  <a:pt x="5039" y="3182"/>
                </a:lnTo>
                <a:lnTo>
                  <a:pt x="5035" y="3182"/>
                </a:lnTo>
                <a:lnTo>
                  <a:pt x="5032" y="3183"/>
                </a:lnTo>
                <a:lnTo>
                  <a:pt x="5031" y="3184"/>
                </a:lnTo>
                <a:lnTo>
                  <a:pt x="5031" y="3185"/>
                </a:lnTo>
                <a:lnTo>
                  <a:pt x="5030" y="3187"/>
                </a:lnTo>
                <a:lnTo>
                  <a:pt x="5031" y="3188"/>
                </a:lnTo>
                <a:lnTo>
                  <a:pt x="5035" y="3196"/>
                </a:lnTo>
                <a:lnTo>
                  <a:pt x="5039" y="3203"/>
                </a:lnTo>
                <a:lnTo>
                  <a:pt x="5040" y="3206"/>
                </a:lnTo>
                <a:lnTo>
                  <a:pt x="5040" y="3208"/>
                </a:lnTo>
                <a:lnTo>
                  <a:pt x="5039" y="3211"/>
                </a:lnTo>
                <a:lnTo>
                  <a:pt x="5036" y="3214"/>
                </a:lnTo>
                <a:lnTo>
                  <a:pt x="5026" y="3220"/>
                </a:lnTo>
                <a:lnTo>
                  <a:pt x="5015" y="3226"/>
                </a:lnTo>
                <a:lnTo>
                  <a:pt x="5010" y="3229"/>
                </a:lnTo>
                <a:lnTo>
                  <a:pt x="5004" y="3232"/>
                </a:lnTo>
                <a:lnTo>
                  <a:pt x="4999" y="3236"/>
                </a:lnTo>
                <a:lnTo>
                  <a:pt x="4996" y="3239"/>
                </a:lnTo>
                <a:lnTo>
                  <a:pt x="4991" y="3244"/>
                </a:lnTo>
                <a:lnTo>
                  <a:pt x="4984" y="3249"/>
                </a:lnTo>
                <a:lnTo>
                  <a:pt x="4974" y="3253"/>
                </a:lnTo>
                <a:lnTo>
                  <a:pt x="4963" y="3258"/>
                </a:lnTo>
                <a:lnTo>
                  <a:pt x="4950" y="3263"/>
                </a:lnTo>
                <a:lnTo>
                  <a:pt x="4936" y="3271"/>
                </a:lnTo>
                <a:lnTo>
                  <a:pt x="4923" y="3278"/>
                </a:lnTo>
                <a:lnTo>
                  <a:pt x="4908" y="3285"/>
                </a:lnTo>
                <a:lnTo>
                  <a:pt x="4877" y="3304"/>
                </a:lnTo>
                <a:lnTo>
                  <a:pt x="4843" y="3322"/>
                </a:lnTo>
                <a:lnTo>
                  <a:pt x="4814" y="3335"/>
                </a:lnTo>
                <a:lnTo>
                  <a:pt x="4798" y="3341"/>
                </a:lnTo>
                <a:lnTo>
                  <a:pt x="4784" y="3345"/>
                </a:lnTo>
                <a:lnTo>
                  <a:pt x="4763" y="3349"/>
                </a:lnTo>
                <a:lnTo>
                  <a:pt x="4752" y="3350"/>
                </a:lnTo>
                <a:lnTo>
                  <a:pt x="4743" y="3350"/>
                </a:lnTo>
                <a:lnTo>
                  <a:pt x="4738" y="3349"/>
                </a:lnTo>
                <a:lnTo>
                  <a:pt x="4735" y="3347"/>
                </a:lnTo>
                <a:lnTo>
                  <a:pt x="4732" y="3345"/>
                </a:lnTo>
                <a:lnTo>
                  <a:pt x="4731" y="3343"/>
                </a:lnTo>
                <a:lnTo>
                  <a:pt x="4722" y="3322"/>
                </a:lnTo>
                <a:lnTo>
                  <a:pt x="4709" y="3294"/>
                </a:lnTo>
                <a:lnTo>
                  <a:pt x="4696" y="3268"/>
                </a:lnTo>
                <a:lnTo>
                  <a:pt x="4691" y="3257"/>
                </a:lnTo>
                <a:lnTo>
                  <a:pt x="4681" y="3248"/>
                </a:lnTo>
                <a:lnTo>
                  <a:pt x="4657" y="3225"/>
                </a:lnTo>
                <a:lnTo>
                  <a:pt x="4645" y="3211"/>
                </a:lnTo>
                <a:lnTo>
                  <a:pt x="4635" y="3197"/>
                </a:lnTo>
                <a:lnTo>
                  <a:pt x="4630" y="3191"/>
                </a:lnTo>
                <a:lnTo>
                  <a:pt x="4627" y="3185"/>
                </a:lnTo>
                <a:lnTo>
                  <a:pt x="4626" y="3180"/>
                </a:lnTo>
                <a:lnTo>
                  <a:pt x="4626" y="3174"/>
                </a:lnTo>
                <a:lnTo>
                  <a:pt x="4627" y="3165"/>
                </a:lnTo>
                <a:lnTo>
                  <a:pt x="4628" y="3157"/>
                </a:lnTo>
                <a:lnTo>
                  <a:pt x="4628" y="3148"/>
                </a:lnTo>
                <a:lnTo>
                  <a:pt x="4627" y="3140"/>
                </a:lnTo>
                <a:lnTo>
                  <a:pt x="4625" y="3132"/>
                </a:lnTo>
                <a:lnTo>
                  <a:pt x="4623" y="3125"/>
                </a:lnTo>
                <a:lnTo>
                  <a:pt x="4619" y="3119"/>
                </a:lnTo>
                <a:lnTo>
                  <a:pt x="4614" y="3113"/>
                </a:lnTo>
                <a:lnTo>
                  <a:pt x="4606" y="3105"/>
                </a:lnTo>
                <a:lnTo>
                  <a:pt x="4598" y="3093"/>
                </a:lnTo>
                <a:lnTo>
                  <a:pt x="4589" y="3078"/>
                </a:lnTo>
                <a:lnTo>
                  <a:pt x="4579" y="3061"/>
                </a:lnTo>
                <a:lnTo>
                  <a:pt x="4561" y="3030"/>
                </a:lnTo>
                <a:lnTo>
                  <a:pt x="4552" y="3012"/>
                </a:lnTo>
                <a:lnTo>
                  <a:pt x="4547" y="2999"/>
                </a:lnTo>
                <a:lnTo>
                  <a:pt x="4541" y="2982"/>
                </a:lnTo>
                <a:lnTo>
                  <a:pt x="4536" y="2963"/>
                </a:lnTo>
                <a:lnTo>
                  <a:pt x="4531" y="2950"/>
                </a:lnTo>
                <a:lnTo>
                  <a:pt x="4530" y="2949"/>
                </a:lnTo>
                <a:lnTo>
                  <a:pt x="4529" y="2949"/>
                </a:lnTo>
                <a:lnTo>
                  <a:pt x="4528" y="2949"/>
                </a:lnTo>
                <a:lnTo>
                  <a:pt x="4528" y="2950"/>
                </a:lnTo>
                <a:lnTo>
                  <a:pt x="4526" y="2954"/>
                </a:lnTo>
                <a:lnTo>
                  <a:pt x="4525" y="2960"/>
                </a:lnTo>
                <a:lnTo>
                  <a:pt x="4524" y="2973"/>
                </a:lnTo>
                <a:lnTo>
                  <a:pt x="4524" y="2983"/>
                </a:lnTo>
                <a:lnTo>
                  <a:pt x="4522" y="2986"/>
                </a:lnTo>
                <a:lnTo>
                  <a:pt x="4521" y="2987"/>
                </a:lnTo>
                <a:lnTo>
                  <a:pt x="4519" y="2987"/>
                </a:lnTo>
                <a:lnTo>
                  <a:pt x="4516" y="2986"/>
                </a:lnTo>
                <a:lnTo>
                  <a:pt x="4511" y="2983"/>
                </a:lnTo>
                <a:lnTo>
                  <a:pt x="4506" y="2977"/>
                </a:lnTo>
                <a:lnTo>
                  <a:pt x="4502" y="2971"/>
                </a:lnTo>
                <a:lnTo>
                  <a:pt x="4494" y="2964"/>
                </a:lnTo>
                <a:lnTo>
                  <a:pt x="4489" y="2959"/>
                </a:lnTo>
                <a:lnTo>
                  <a:pt x="4486" y="2957"/>
                </a:lnTo>
                <a:lnTo>
                  <a:pt x="4493" y="2972"/>
                </a:lnTo>
                <a:lnTo>
                  <a:pt x="4503" y="2987"/>
                </a:lnTo>
                <a:lnTo>
                  <a:pt x="4505" y="2990"/>
                </a:lnTo>
                <a:lnTo>
                  <a:pt x="4508" y="2993"/>
                </a:lnTo>
                <a:lnTo>
                  <a:pt x="4511" y="2998"/>
                </a:lnTo>
                <a:lnTo>
                  <a:pt x="4514" y="3006"/>
                </a:lnTo>
                <a:lnTo>
                  <a:pt x="4518" y="3017"/>
                </a:lnTo>
                <a:lnTo>
                  <a:pt x="4522" y="3031"/>
                </a:lnTo>
                <a:lnTo>
                  <a:pt x="4528" y="3043"/>
                </a:lnTo>
                <a:lnTo>
                  <a:pt x="4532" y="3053"/>
                </a:lnTo>
                <a:lnTo>
                  <a:pt x="4538" y="3066"/>
                </a:lnTo>
                <a:lnTo>
                  <a:pt x="4548" y="3088"/>
                </a:lnTo>
                <a:lnTo>
                  <a:pt x="4557" y="3109"/>
                </a:lnTo>
                <a:lnTo>
                  <a:pt x="4562" y="3119"/>
                </a:lnTo>
                <a:lnTo>
                  <a:pt x="4564" y="3125"/>
                </a:lnTo>
                <a:lnTo>
                  <a:pt x="4569" y="3136"/>
                </a:lnTo>
                <a:lnTo>
                  <a:pt x="4573" y="3150"/>
                </a:lnTo>
                <a:lnTo>
                  <a:pt x="4577" y="3165"/>
                </a:lnTo>
                <a:lnTo>
                  <a:pt x="4583" y="3183"/>
                </a:lnTo>
                <a:lnTo>
                  <a:pt x="4592" y="3204"/>
                </a:lnTo>
                <a:lnTo>
                  <a:pt x="4600" y="3224"/>
                </a:lnTo>
                <a:lnTo>
                  <a:pt x="4607" y="3235"/>
                </a:lnTo>
                <a:lnTo>
                  <a:pt x="4619" y="3242"/>
                </a:lnTo>
                <a:lnTo>
                  <a:pt x="4639" y="3253"/>
                </a:lnTo>
                <a:lnTo>
                  <a:pt x="4648" y="3258"/>
                </a:lnTo>
                <a:lnTo>
                  <a:pt x="4657" y="3263"/>
                </a:lnTo>
                <a:lnTo>
                  <a:pt x="4660" y="3266"/>
                </a:lnTo>
                <a:lnTo>
                  <a:pt x="4662" y="3269"/>
                </a:lnTo>
                <a:lnTo>
                  <a:pt x="4663" y="3271"/>
                </a:lnTo>
                <a:lnTo>
                  <a:pt x="4664" y="3273"/>
                </a:lnTo>
                <a:lnTo>
                  <a:pt x="4662" y="3280"/>
                </a:lnTo>
                <a:lnTo>
                  <a:pt x="4661" y="3289"/>
                </a:lnTo>
                <a:lnTo>
                  <a:pt x="4662" y="3293"/>
                </a:lnTo>
                <a:lnTo>
                  <a:pt x="4663" y="3297"/>
                </a:lnTo>
                <a:lnTo>
                  <a:pt x="4665" y="3300"/>
                </a:lnTo>
                <a:lnTo>
                  <a:pt x="4668" y="3303"/>
                </a:lnTo>
                <a:lnTo>
                  <a:pt x="4672" y="3307"/>
                </a:lnTo>
                <a:lnTo>
                  <a:pt x="4677" y="3313"/>
                </a:lnTo>
                <a:lnTo>
                  <a:pt x="4680" y="3320"/>
                </a:lnTo>
                <a:lnTo>
                  <a:pt x="4684" y="3327"/>
                </a:lnTo>
                <a:lnTo>
                  <a:pt x="4690" y="3344"/>
                </a:lnTo>
                <a:lnTo>
                  <a:pt x="4696" y="3358"/>
                </a:lnTo>
                <a:lnTo>
                  <a:pt x="4703" y="3369"/>
                </a:lnTo>
                <a:lnTo>
                  <a:pt x="4710" y="3381"/>
                </a:lnTo>
                <a:lnTo>
                  <a:pt x="4715" y="3386"/>
                </a:lnTo>
                <a:lnTo>
                  <a:pt x="4721" y="3389"/>
                </a:lnTo>
                <a:lnTo>
                  <a:pt x="4728" y="3390"/>
                </a:lnTo>
                <a:lnTo>
                  <a:pt x="4735" y="3390"/>
                </a:lnTo>
                <a:lnTo>
                  <a:pt x="4749" y="3388"/>
                </a:lnTo>
                <a:lnTo>
                  <a:pt x="4772" y="3384"/>
                </a:lnTo>
                <a:lnTo>
                  <a:pt x="4799" y="3379"/>
                </a:lnTo>
                <a:lnTo>
                  <a:pt x="4829" y="3374"/>
                </a:lnTo>
                <a:lnTo>
                  <a:pt x="4858" y="3370"/>
                </a:lnTo>
                <a:lnTo>
                  <a:pt x="4881" y="3369"/>
                </a:lnTo>
                <a:lnTo>
                  <a:pt x="4890" y="3370"/>
                </a:lnTo>
                <a:lnTo>
                  <a:pt x="4897" y="3371"/>
                </a:lnTo>
                <a:lnTo>
                  <a:pt x="4899" y="3372"/>
                </a:lnTo>
                <a:lnTo>
                  <a:pt x="4900" y="3374"/>
                </a:lnTo>
                <a:lnTo>
                  <a:pt x="4901" y="3377"/>
                </a:lnTo>
                <a:lnTo>
                  <a:pt x="4901" y="3379"/>
                </a:lnTo>
                <a:lnTo>
                  <a:pt x="4891" y="3407"/>
                </a:lnTo>
                <a:lnTo>
                  <a:pt x="4877" y="3447"/>
                </a:lnTo>
                <a:lnTo>
                  <a:pt x="4868" y="3468"/>
                </a:lnTo>
                <a:lnTo>
                  <a:pt x="4860" y="3487"/>
                </a:lnTo>
                <a:lnTo>
                  <a:pt x="4853" y="3502"/>
                </a:lnTo>
                <a:lnTo>
                  <a:pt x="4845" y="3513"/>
                </a:lnTo>
                <a:lnTo>
                  <a:pt x="4826" y="3531"/>
                </a:lnTo>
                <a:lnTo>
                  <a:pt x="4802" y="3552"/>
                </a:lnTo>
                <a:lnTo>
                  <a:pt x="4776" y="3574"/>
                </a:lnTo>
                <a:lnTo>
                  <a:pt x="4755" y="3593"/>
                </a:lnTo>
                <a:lnTo>
                  <a:pt x="4729" y="3620"/>
                </a:lnTo>
                <a:lnTo>
                  <a:pt x="4693" y="3656"/>
                </a:lnTo>
                <a:lnTo>
                  <a:pt x="4675" y="3675"/>
                </a:lnTo>
                <a:lnTo>
                  <a:pt x="4660" y="3693"/>
                </a:lnTo>
                <a:lnTo>
                  <a:pt x="4647" y="3708"/>
                </a:lnTo>
                <a:lnTo>
                  <a:pt x="4640" y="3719"/>
                </a:lnTo>
                <a:lnTo>
                  <a:pt x="4638" y="3723"/>
                </a:lnTo>
                <a:lnTo>
                  <a:pt x="4637" y="3728"/>
                </a:lnTo>
                <a:lnTo>
                  <a:pt x="4636" y="3733"/>
                </a:lnTo>
                <a:lnTo>
                  <a:pt x="4636" y="3737"/>
                </a:lnTo>
                <a:lnTo>
                  <a:pt x="4636" y="3747"/>
                </a:lnTo>
                <a:lnTo>
                  <a:pt x="4637" y="3757"/>
                </a:lnTo>
                <a:lnTo>
                  <a:pt x="4638" y="3766"/>
                </a:lnTo>
                <a:lnTo>
                  <a:pt x="4639" y="3776"/>
                </a:lnTo>
                <a:lnTo>
                  <a:pt x="4640" y="3784"/>
                </a:lnTo>
                <a:lnTo>
                  <a:pt x="4639" y="3793"/>
                </a:lnTo>
                <a:lnTo>
                  <a:pt x="4636" y="3804"/>
                </a:lnTo>
                <a:lnTo>
                  <a:pt x="4634" y="3813"/>
                </a:lnTo>
                <a:lnTo>
                  <a:pt x="4633" y="3818"/>
                </a:lnTo>
                <a:lnTo>
                  <a:pt x="4633" y="3820"/>
                </a:lnTo>
                <a:lnTo>
                  <a:pt x="4634" y="3823"/>
                </a:lnTo>
                <a:lnTo>
                  <a:pt x="4635" y="3825"/>
                </a:lnTo>
                <a:lnTo>
                  <a:pt x="4640" y="3834"/>
                </a:lnTo>
                <a:lnTo>
                  <a:pt x="4649" y="3851"/>
                </a:lnTo>
                <a:lnTo>
                  <a:pt x="4655" y="3861"/>
                </a:lnTo>
                <a:lnTo>
                  <a:pt x="4658" y="3870"/>
                </a:lnTo>
                <a:lnTo>
                  <a:pt x="4661" y="3878"/>
                </a:lnTo>
                <a:lnTo>
                  <a:pt x="4661" y="3886"/>
                </a:lnTo>
                <a:lnTo>
                  <a:pt x="4659" y="3911"/>
                </a:lnTo>
                <a:lnTo>
                  <a:pt x="4652" y="3950"/>
                </a:lnTo>
                <a:lnTo>
                  <a:pt x="4648" y="3969"/>
                </a:lnTo>
                <a:lnTo>
                  <a:pt x="4644" y="3985"/>
                </a:lnTo>
                <a:lnTo>
                  <a:pt x="4641" y="3998"/>
                </a:lnTo>
                <a:lnTo>
                  <a:pt x="4637" y="4005"/>
                </a:lnTo>
                <a:lnTo>
                  <a:pt x="4622" y="4016"/>
                </a:lnTo>
                <a:lnTo>
                  <a:pt x="4597" y="4032"/>
                </a:lnTo>
                <a:lnTo>
                  <a:pt x="4584" y="4042"/>
                </a:lnTo>
                <a:lnTo>
                  <a:pt x="4573" y="4050"/>
                </a:lnTo>
                <a:lnTo>
                  <a:pt x="4563" y="4058"/>
                </a:lnTo>
                <a:lnTo>
                  <a:pt x="4558" y="4063"/>
                </a:lnTo>
                <a:lnTo>
                  <a:pt x="4550" y="4072"/>
                </a:lnTo>
                <a:lnTo>
                  <a:pt x="4539" y="4081"/>
                </a:lnTo>
                <a:lnTo>
                  <a:pt x="4535" y="4086"/>
                </a:lnTo>
                <a:lnTo>
                  <a:pt x="4531" y="4090"/>
                </a:lnTo>
                <a:lnTo>
                  <a:pt x="4529" y="4095"/>
                </a:lnTo>
                <a:lnTo>
                  <a:pt x="4529" y="4101"/>
                </a:lnTo>
                <a:lnTo>
                  <a:pt x="4531" y="4105"/>
                </a:lnTo>
                <a:lnTo>
                  <a:pt x="4534" y="4109"/>
                </a:lnTo>
                <a:lnTo>
                  <a:pt x="4537" y="4112"/>
                </a:lnTo>
                <a:lnTo>
                  <a:pt x="4540" y="4115"/>
                </a:lnTo>
                <a:lnTo>
                  <a:pt x="4543" y="4119"/>
                </a:lnTo>
                <a:lnTo>
                  <a:pt x="4547" y="4123"/>
                </a:lnTo>
                <a:lnTo>
                  <a:pt x="4548" y="4127"/>
                </a:lnTo>
                <a:lnTo>
                  <a:pt x="4548" y="4132"/>
                </a:lnTo>
                <a:lnTo>
                  <a:pt x="4544" y="4149"/>
                </a:lnTo>
                <a:lnTo>
                  <a:pt x="4538" y="4172"/>
                </a:lnTo>
                <a:lnTo>
                  <a:pt x="4535" y="4183"/>
                </a:lnTo>
                <a:lnTo>
                  <a:pt x="4532" y="4194"/>
                </a:lnTo>
                <a:lnTo>
                  <a:pt x="4528" y="4201"/>
                </a:lnTo>
                <a:lnTo>
                  <a:pt x="4524" y="4205"/>
                </a:lnTo>
                <a:lnTo>
                  <a:pt x="4515" y="4211"/>
                </a:lnTo>
                <a:lnTo>
                  <a:pt x="4505" y="4216"/>
                </a:lnTo>
                <a:lnTo>
                  <a:pt x="4499" y="4219"/>
                </a:lnTo>
                <a:lnTo>
                  <a:pt x="4495" y="4222"/>
                </a:lnTo>
                <a:lnTo>
                  <a:pt x="4493" y="4226"/>
                </a:lnTo>
                <a:lnTo>
                  <a:pt x="4492" y="4232"/>
                </a:lnTo>
                <a:lnTo>
                  <a:pt x="4492" y="4241"/>
                </a:lnTo>
                <a:lnTo>
                  <a:pt x="4491" y="4249"/>
                </a:lnTo>
                <a:lnTo>
                  <a:pt x="4489" y="4258"/>
                </a:lnTo>
                <a:lnTo>
                  <a:pt x="4485" y="4266"/>
                </a:lnTo>
                <a:lnTo>
                  <a:pt x="4480" y="4275"/>
                </a:lnTo>
                <a:lnTo>
                  <a:pt x="4474" y="4283"/>
                </a:lnTo>
                <a:lnTo>
                  <a:pt x="4468" y="4292"/>
                </a:lnTo>
                <a:lnTo>
                  <a:pt x="4460" y="4305"/>
                </a:lnTo>
                <a:lnTo>
                  <a:pt x="4450" y="4322"/>
                </a:lnTo>
                <a:lnTo>
                  <a:pt x="4441" y="4339"/>
                </a:lnTo>
                <a:lnTo>
                  <a:pt x="4431" y="4355"/>
                </a:lnTo>
                <a:lnTo>
                  <a:pt x="4423" y="4369"/>
                </a:lnTo>
                <a:lnTo>
                  <a:pt x="4419" y="4375"/>
                </a:lnTo>
                <a:lnTo>
                  <a:pt x="4411" y="4383"/>
                </a:lnTo>
                <a:lnTo>
                  <a:pt x="4402" y="4392"/>
                </a:lnTo>
                <a:lnTo>
                  <a:pt x="4393" y="4400"/>
                </a:lnTo>
                <a:lnTo>
                  <a:pt x="4381" y="4409"/>
                </a:lnTo>
                <a:lnTo>
                  <a:pt x="4370" y="4416"/>
                </a:lnTo>
                <a:lnTo>
                  <a:pt x="4357" y="4422"/>
                </a:lnTo>
                <a:lnTo>
                  <a:pt x="4345" y="4426"/>
                </a:lnTo>
                <a:lnTo>
                  <a:pt x="4321" y="4431"/>
                </a:lnTo>
                <a:lnTo>
                  <a:pt x="4296" y="4434"/>
                </a:lnTo>
                <a:lnTo>
                  <a:pt x="4285" y="4435"/>
                </a:lnTo>
                <a:lnTo>
                  <a:pt x="4273" y="4437"/>
                </a:lnTo>
                <a:lnTo>
                  <a:pt x="4263" y="4439"/>
                </a:lnTo>
                <a:lnTo>
                  <a:pt x="4253" y="4443"/>
                </a:lnTo>
                <a:lnTo>
                  <a:pt x="4238" y="4448"/>
                </a:lnTo>
                <a:lnTo>
                  <a:pt x="4223" y="4453"/>
                </a:lnTo>
                <a:lnTo>
                  <a:pt x="4212" y="4455"/>
                </a:lnTo>
                <a:lnTo>
                  <a:pt x="4205" y="4457"/>
                </a:lnTo>
                <a:lnTo>
                  <a:pt x="4202" y="4458"/>
                </a:lnTo>
                <a:lnTo>
                  <a:pt x="4198" y="4459"/>
                </a:lnTo>
                <a:lnTo>
                  <a:pt x="4192" y="4459"/>
                </a:lnTo>
                <a:lnTo>
                  <a:pt x="4187" y="4458"/>
                </a:lnTo>
                <a:lnTo>
                  <a:pt x="4182" y="4456"/>
                </a:lnTo>
                <a:lnTo>
                  <a:pt x="4178" y="4454"/>
                </a:lnTo>
                <a:lnTo>
                  <a:pt x="4174" y="4452"/>
                </a:lnTo>
                <a:lnTo>
                  <a:pt x="4171" y="4447"/>
                </a:lnTo>
                <a:lnTo>
                  <a:pt x="4159" y="4430"/>
                </a:lnTo>
                <a:lnTo>
                  <a:pt x="4149" y="4417"/>
                </a:lnTo>
                <a:close/>
              </a:path>
            </a:pathLst>
          </a:custGeom>
          <a:gradFill flip="none" rotWithShape="1">
            <a:gsLst>
              <a:gs pos="100000">
                <a:schemeClr val="bg1">
                  <a:lumMod val="65000"/>
                </a:schemeClr>
              </a:gs>
              <a:gs pos="0">
                <a:schemeClr val="bg1">
                  <a:lumMod val="90000"/>
                </a:schemeClr>
              </a:gs>
            </a:gsLst>
            <a:path path="circle">
              <a:fillToRect l="50000" t="50000" r="50000" b="50000"/>
            </a:path>
            <a:tileRect/>
          </a:gradFill>
          <a:ln w="3175">
            <a:solidFill>
              <a:schemeClr val="bg1">
                <a:lumMod val="75000"/>
              </a:schemeClr>
            </a:solidFill>
          </a:ln>
          <a:effectLst>
            <a:outerShdw dist="25400" dir="5400000" algn="t" rotWithShape="0">
              <a:prstClr val="black">
                <a:alpha val="7000"/>
              </a:prstClr>
            </a:outerShdw>
          </a:effectLst>
          <a:scene3d>
            <a:camera prst="orthographicFront"/>
            <a:lightRig rig="threePt" dir="t"/>
          </a:scene3d>
          <a:sp3d/>
        </p:spPr>
        <p:txBody>
          <a:bodyPr vert="horz" wrap="square" lIns="91440" tIns="45720" rIns="91440" bIns="45720" numCol="1" anchor="t" anchorCtr="0" compatLnSpc="1">
            <a:prstTxWarp prst="textNoShape">
              <a:avLst/>
            </a:prstTxWarp>
          </a:bodyPr>
          <a:lstStyle/>
          <a:p>
            <a:endParaRPr lang="en-US" sz="1000" dirty="0">
              <a:solidFill>
                <a:srgbClr val="000000"/>
              </a:solidFill>
              <a:latin typeface="Calibri"/>
            </a:endParaRPr>
          </a:p>
        </p:txBody>
      </p:sp>
      <p:grpSp>
        <p:nvGrpSpPr>
          <p:cNvPr id="12" name="Group 71"/>
          <p:cNvGrpSpPr>
            <a:grpSpLocks/>
          </p:cNvGrpSpPr>
          <p:nvPr userDrawn="1"/>
        </p:nvGrpSpPr>
        <p:grpSpPr bwMode="auto">
          <a:xfrm>
            <a:off x="1672646" y="2205286"/>
            <a:ext cx="374388" cy="524967"/>
            <a:chOff x="4212399" y="2500313"/>
            <a:chExt cx="975551" cy="1435364"/>
          </a:xfrm>
        </p:grpSpPr>
        <p:grpSp>
          <p:nvGrpSpPr>
            <p:cNvPr id="13" name="Group 72"/>
            <p:cNvGrpSpPr>
              <a:grpSpLocks/>
            </p:cNvGrpSpPr>
            <p:nvPr/>
          </p:nvGrpSpPr>
          <p:grpSpPr bwMode="auto">
            <a:xfrm>
              <a:off x="4212399" y="3437110"/>
              <a:ext cx="498086" cy="498567"/>
              <a:chOff x="5627209" y="1515183"/>
              <a:chExt cx="498086" cy="498567"/>
            </a:xfrm>
          </p:grpSpPr>
          <p:sp>
            <p:nvSpPr>
              <p:cNvPr id="18" name="Oval 17"/>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sz="1000">
                  <a:solidFill>
                    <a:srgbClr val="000000"/>
                  </a:solidFill>
                  <a:latin typeface="Calibri"/>
                </a:endParaRPr>
              </a:p>
            </p:txBody>
          </p:sp>
          <p:sp>
            <p:nvSpPr>
              <p:cNvPr id="19" name="Oval 18"/>
              <p:cNvSpPr/>
              <p:nvPr/>
            </p:nvSpPr>
            <p:spPr>
              <a:xfrm>
                <a:off x="5765213" y="1650145"/>
                <a:ext cx="228422" cy="228642"/>
              </a:xfrm>
              <a:prstGeom prst="ellipse">
                <a:avLst/>
              </a:prstGeom>
              <a:solidFill>
                <a:srgbClr val="CE2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grpSp>
        <p:sp>
          <p:nvSpPr>
            <p:cNvPr id="14"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sz="1000">
                <a:solidFill>
                  <a:srgbClr val="000000"/>
                </a:solidFill>
                <a:latin typeface="Calibri"/>
              </a:endParaRPr>
            </a:p>
          </p:txBody>
        </p:sp>
        <p:grpSp>
          <p:nvGrpSpPr>
            <p:cNvPr id="15" name="Group 133"/>
            <p:cNvGrpSpPr>
              <a:grpSpLocks/>
            </p:cNvGrpSpPr>
            <p:nvPr/>
          </p:nvGrpSpPr>
          <p:grpSpPr bwMode="auto">
            <a:xfrm flipH="1">
              <a:off x="4436064" y="2500313"/>
              <a:ext cx="650367" cy="1241653"/>
              <a:chOff x="7000949" y="2143116"/>
              <a:chExt cx="999336" cy="1834351"/>
            </a:xfrm>
          </p:grpSpPr>
          <p:sp>
            <p:nvSpPr>
              <p:cNvPr id="16" name="Freeform 57"/>
              <p:cNvSpPr>
                <a:spLocks/>
              </p:cNvSpPr>
              <p:nvPr/>
            </p:nvSpPr>
            <p:spPr bwMode="auto">
              <a:xfrm>
                <a:off x="7000949" y="2143116"/>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CE202A">
                      <a:shade val="30000"/>
                      <a:satMod val="115000"/>
                    </a:srgbClr>
                  </a:gs>
                  <a:gs pos="83000">
                    <a:srgbClr val="CE202A">
                      <a:shade val="100000"/>
                      <a:satMod val="115000"/>
                    </a:srgb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sp>
            <p:nvSpPr>
              <p:cNvPr id="17" name="Oval 16"/>
              <p:cNvSpPr/>
              <p:nvPr/>
            </p:nvSpPr>
            <p:spPr>
              <a:xfrm flipV="1">
                <a:off x="7128300" y="2206820"/>
                <a:ext cx="687491" cy="623788"/>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000">
                  <a:solidFill>
                    <a:srgbClr val="000000"/>
                  </a:solidFill>
                  <a:cs typeface="Arial" charset="0"/>
                </a:endParaRPr>
              </a:p>
            </p:txBody>
          </p:sp>
        </p:grpSp>
      </p:grpSp>
      <p:grpSp>
        <p:nvGrpSpPr>
          <p:cNvPr id="20" name="Group 71"/>
          <p:cNvGrpSpPr>
            <a:grpSpLocks/>
          </p:cNvGrpSpPr>
          <p:nvPr userDrawn="1"/>
        </p:nvGrpSpPr>
        <p:grpSpPr bwMode="auto">
          <a:xfrm>
            <a:off x="4495801" y="2585411"/>
            <a:ext cx="370733" cy="493352"/>
            <a:chOff x="4212399" y="2500313"/>
            <a:chExt cx="975551" cy="1435364"/>
          </a:xfrm>
        </p:grpSpPr>
        <p:grpSp>
          <p:nvGrpSpPr>
            <p:cNvPr id="21" name="Group 72"/>
            <p:cNvGrpSpPr>
              <a:grpSpLocks/>
            </p:cNvGrpSpPr>
            <p:nvPr/>
          </p:nvGrpSpPr>
          <p:grpSpPr bwMode="auto">
            <a:xfrm>
              <a:off x="4212399" y="3437110"/>
              <a:ext cx="498086" cy="498567"/>
              <a:chOff x="5627209" y="1515183"/>
              <a:chExt cx="498086" cy="498567"/>
            </a:xfrm>
          </p:grpSpPr>
          <p:sp>
            <p:nvSpPr>
              <p:cNvPr id="26" name="Oval 25"/>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sz="1000">
                  <a:solidFill>
                    <a:srgbClr val="000000"/>
                  </a:solidFill>
                  <a:latin typeface="Calibri"/>
                </a:endParaRPr>
              </a:p>
            </p:txBody>
          </p:sp>
          <p:sp>
            <p:nvSpPr>
              <p:cNvPr id="27" name="Oval 26"/>
              <p:cNvSpPr/>
              <p:nvPr/>
            </p:nvSpPr>
            <p:spPr>
              <a:xfrm>
                <a:off x="5765213" y="1650145"/>
                <a:ext cx="228422" cy="228642"/>
              </a:xfrm>
              <a:prstGeom prst="ellipse">
                <a:avLst/>
              </a:prstGeom>
              <a:solidFill>
                <a:srgbClr val="F0B7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grpSp>
        <p:sp>
          <p:nvSpPr>
            <p:cNvPr id="22"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sz="1000">
                <a:solidFill>
                  <a:srgbClr val="000000"/>
                </a:solidFill>
                <a:latin typeface="Calibri"/>
              </a:endParaRPr>
            </a:p>
          </p:txBody>
        </p:sp>
        <p:grpSp>
          <p:nvGrpSpPr>
            <p:cNvPr id="23" name="Group 133"/>
            <p:cNvGrpSpPr>
              <a:grpSpLocks/>
            </p:cNvGrpSpPr>
            <p:nvPr/>
          </p:nvGrpSpPr>
          <p:grpSpPr bwMode="auto">
            <a:xfrm flipH="1">
              <a:off x="4436064" y="2500313"/>
              <a:ext cx="650367" cy="1241653"/>
              <a:chOff x="7000949" y="2143116"/>
              <a:chExt cx="999336" cy="1834351"/>
            </a:xfrm>
          </p:grpSpPr>
          <p:sp>
            <p:nvSpPr>
              <p:cNvPr id="24" name="Freeform 57"/>
              <p:cNvSpPr>
                <a:spLocks/>
              </p:cNvSpPr>
              <p:nvPr/>
            </p:nvSpPr>
            <p:spPr bwMode="auto">
              <a:xfrm>
                <a:off x="7000949" y="2143116"/>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ED9901">
                      <a:lumMod val="87000"/>
                    </a:srgbClr>
                  </a:gs>
                  <a:gs pos="100000">
                    <a:srgbClr val="F0B71F">
                      <a:shade val="100000"/>
                      <a:satMod val="115000"/>
                    </a:srgb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sp>
            <p:nvSpPr>
              <p:cNvPr id="25" name="Oval 24"/>
              <p:cNvSpPr/>
              <p:nvPr/>
            </p:nvSpPr>
            <p:spPr>
              <a:xfrm flipV="1">
                <a:off x="7128300" y="2206820"/>
                <a:ext cx="687491" cy="623788"/>
              </a:xfrm>
              <a:prstGeom prst="ellipse">
                <a:avLst/>
              </a:prstGeom>
              <a:gradFill>
                <a:gsLst>
                  <a:gs pos="0">
                    <a:schemeClr val="bg1">
                      <a:alpha val="0"/>
                    </a:schemeClr>
                  </a:gs>
                  <a:gs pos="100000">
                    <a:schemeClr val="bg1">
                      <a:alpha val="35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000">
                  <a:solidFill>
                    <a:srgbClr val="000000"/>
                  </a:solidFill>
                  <a:cs typeface="Arial" charset="0"/>
                </a:endParaRPr>
              </a:p>
            </p:txBody>
          </p:sp>
        </p:grpSp>
      </p:grpSp>
      <p:sp>
        <p:nvSpPr>
          <p:cNvPr id="28" name="TextBox 27"/>
          <p:cNvSpPr txBox="1"/>
          <p:nvPr userDrawn="1">
            <p:custDataLst>
              <p:tags r:id="rId1"/>
            </p:custDataLst>
          </p:nvPr>
        </p:nvSpPr>
        <p:spPr>
          <a:xfrm>
            <a:off x="6581777" y="1215063"/>
            <a:ext cx="2409825" cy="3185487"/>
          </a:xfrm>
          <a:prstGeom prst="rect">
            <a:avLst/>
          </a:prstGeom>
          <a:noFill/>
          <a:effectLst>
            <a:reflection stA="0" endPos="65000" dist="50800" dir="5400000" sy="-100000" algn="bl" rotWithShape="0"/>
          </a:effectLst>
        </p:spPr>
        <p:txBody>
          <a:bodyPr wrap="square" lIns="0" tIns="0" rIns="0" bIns="0" rtlCol="0" anchor="b">
            <a:spAutoFit/>
          </a:bodyPr>
          <a:lstStyle/>
          <a:p>
            <a:r>
              <a:rPr lang="en-US" sz="900" b="1" dirty="0">
                <a:solidFill>
                  <a:srgbClr val="292929"/>
                </a:solidFill>
                <a:latin typeface="Calibri"/>
              </a:rPr>
              <a:t>Bangalore – Corporate &amp; Development Centre</a:t>
            </a:r>
          </a:p>
          <a:p>
            <a:r>
              <a:rPr lang="en-US" sz="900" dirty="0">
                <a:solidFill>
                  <a:srgbClr val="292929"/>
                </a:solidFill>
                <a:latin typeface="Calibri"/>
              </a:rPr>
              <a:t>#196, Bannerghatta Road, Arekere Gate</a:t>
            </a:r>
          </a:p>
          <a:p>
            <a:r>
              <a:rPr lang="en-US" sz="900" dirty="0">
                <a:solidFill>
                  <a:srgbClr val="292929"/>
                </a:solidFill>
                <a:latin typeface="Calibri"/>
              </a:rPr>
              <a:t>Bangalore 560 076.</a:t>
            </a:r>
          </a:p>
          <a:p>
            <a:r>
              <a:rPr lang="en-US" sz="900" dirty="0">
                <a:solidFill>
                  <a:srgbClr val="292929"/>
                </a:solidFill>
                <a:latin typeface="Calibri"/>
              </a:rPr>
              <a:t>Phone: +91 80 4034 3000</a:t>
            </a:r>
          </a:p>
          <a:p>
            <a:endParaRPr lang="en-US" sz="900" dirty="0">
              <a:solidFill>
                <a:srgbClr val="292929"/>
              </a:solidFill>
              <a:latin typeface="Calibri"/>
            </a:endParaRPr>
          </a:p>
          <a:p>
            <a:r>
              <a:rPr lang="en-US" sz="900" b="1" dirty="0">
                <a:solidFill>
                  <a:srgbClr val="292929"/>
                </a:solidFill>
                <a:latin typeface="Calibri"/>
              </a:rPr>
              <a:t>Bangalore – Design and Development </a:t>
            </a:r>
          </a:p>
          <a:p>
            <a:r>
              <a:rPr lang="en-US" sz="900" b="1" dirty="0">
                <a:solidFill>
                  <a:srgbClr val="292929"/>
                </a:solidFill>
                <a:latin typeface="Calibri"/>
              </a:rPr>
              <a:t>Centre 2</a:t>
            </a:r>
          </a:p>
          <a:p>
            <a:r>
              <a:rPr lang="en-US" sz="900" dirty="0">
                <a:solidFill>
                  <a:srgbClr val="292929"/>
                </a:solidFill>
                <a:latin typeface="Calibri"/>
              </a:rPr>
              <a:t>No.25, Level-5,</a:t>
            </a:r>
          </a:p>
          <a:p>
            <a:r>
              <a:rPr lang="en-US" sz="900" dirty="0">
                <a:solidFill>
                  <a:srgbClr val="292929"/>
                </a:solidFill>
                <a:latin typeface="Calibri"/>
              </a:rPr>
              <a:t>Shankaranarayana Building,</a:t>
            </a:r>
          </a:p>
          <a:p>
            <a:r>
              <a:rPr lang="en-US" sz="900" dirty="0">
                <a:solidFill>
                  <a:srgbClr val="292929"/>
                </a:solidFill>
                <a:latin typeface="Calibri"/>
              </a:rPr>
              <a:t>M.G. Road, Bangalore-560001</a:t>
            </a:r>
          </a:p>
          <a:p>
            <a:r>
              <a:rPr lang="en-US" sz="900" dirty="0">
                <a:solidFill>
                  <a:srgbClr val="292929"/>
                </a:solidFill>
                <a:latin typeface="Calibri"/>
              </a:rPr>
              <a:t>Phone: +91 80 42 41 42 41</a:t>
            </a:r>
          </a:p>
          <a:p>
            <a:endParaRPr lang="en-US" sz="900" dirty="0">
              <a:solidFill>
                <a:srgbClr val="292929"/>
              </a:solidFill>
              <a:effectLst>
                <a:outerShdw blurRad="38100" dist="38100" dir="2700000" algn="tl">
                  <a:srgbClr val="000000">
                    <a:alpha val="43137"/>
                  </a:srgbClr>
                </a:outerShdw>
              </a:effectLst>
              <a:latin typeface="Calibri"/>
            </a:endParaRPr>
          </a:p>
          <a:p>
            <a:r>
              <a:rPr lang="en-US" sz="900" b="1" dirty="0">
                <a:solidFill>
                  <a:srgbClr val="292929"/>
                </a:solidFill>
                <a:latin typeface="Calibri"/>
              </a:rPr>
              <a:t>Chennai -  Design and Development Center 3</a:t>
            </a:r>
          </a:p>
          <a:p>
            <a:r>
              <a:rPr lang="en-US" sz="900" dirty="0">
                <a:solidFill>
                  <a:srgbClr val="292929"/>
                </a:solidFill>
                <a:latin typeface="Calibri"/>
              </a:rPr>
              <a:t>1st &amp; 2nd Floor, ESPEE IT Park,</a:t>
            </a:r>
          </a:p>
          <a:p>
            <a:r>
              <a:rPr lang="en-US" sz="900" dirty="0">
                <a:solidFill>
                  <a:srgbClr val="292929"/>
                </a:solidFill>
                <a:latin typeface="Calibri"/>
              </a:rPr>
              <a:t>Plot No.5, Jawaharlal Nehru Road,</a:t>
            </a:r>
          </a:p>
          <a:p>
            <a:r>
              <a:rPr lang="en-US" sz="900" dirty="0">
                <a:solidFill>
                  <a:srgbClr val="292929"/>
                </a:solidFill>
                <a:latin typeface="Calibri"/>
              </a:rPr>
              <a:t>Ekkatuthangal, Chennai - 600 032, </a:t>
            </a:r>
          </a:p>
          <a:p>
            <a:r>
              <a:rPr lang="en-US" sz="900" dirty="0">
                <a:solidFill>
                  <a:srgbClr val="292929"/>
                </a:solidFill>
                <a:latin typeface="Calibri"/>
              </a:rPr>
              <a:t>Phone: +91 44 4595 9100/01/02/03</a:t>
            </a:r>
          </a:p>
          <a:p>
            <a:endParaRPr lang="en-US" sz="900" dirty="0">
              <a:solidFill>
                <a:srgbClr val="292929"/>
              </a:solidFill>
              <a:latin typeface="Calibri"/>
            </a:endParaRPr>
          </a:p>
          <a:p>
            <a:r>
              <a:rPr lang="en-US" sz="900" b="1" dirty="0">
                <a:solidFill>
                  <a:srgbClr val="292929"/>
                </a:solidFill>
                <a:latin typeface="Calibri"/>
              </a:rPr>
              <a:t>Mysore – Embbedded Engineering and Development Centre</a:t>
            </a:r>
          </a:p>
          <a:p>
            <a:r>
              <a:rPr lang="en-US" sz="900" dirty="0">
                <a:solidFill>
                  <a:srgbClr val="292929"/>
                </a:solidFill>
                <a:latin typeface="Calibri"/>
              </a:rPr>
              <a:t>64-C1, Hootagalli Industrial Area, </a:t>
            </a:r>
          </a:p>
          <a:p>
            <a:r>
              <a:rPr lang="en-US" sz="900" dirty="0">
                <a:solidFill>
                  <a:srgbClr val="292929"/>
                </a:solidFill>
                <a:latin typeface="Calibri"/>
              </a:rPr>
              <a:t>Kasaba Hobli, Mysore - 570 018.</a:t>
            </a:r>
          </a:p>
          <a:p>
            <a:r>
              <a:rPr lang="en-US" sz="900" dirty="0">
                <a:solidFill>
                  <a:srgbClr val="292929"/>
                </a:solidFill>
                <a:latin typeface="Calibri"/>
              </a:rPr>
              <a:t>Phone: +91 0821 2404 900</a:t>
            </a:r>
          </a:p>
        </p:txBody>
      </p:sp>
      <p:sp>
        <p:nvSpPr>
          <p:cNvPr id="29" name="TextBox 28"/>
          <p:cNvSpPr txBox="1"/>
          <p:nvPr userDrawn="1">
            <p:custDataLst>
              <p:tags r:id="rId2"/>
            </p:custDataLst>
          </p:nvPr>
        </p:nvSpPr>
        <p:spPr>
          <a:xfrm>
            <a:off x="6629400" y="1003312"/>
            <a:ext cx="647700" cy="153888"/>
          </a:xfrm>
          <a:prstGeom prst="rect">
            <a:avLst/>
          </a:prstGeom>
          <a:noFill/>
          <a:effectLst>
            <a:reflection stA="0" endPos="65000" dist="50800" dir="5400000" sy="-100000" algn="bl" rotWithShape="0"/>
          </a:effectLst>
        </p:spPr>
        <p:txBody>
          <a:bodyPr wrap="square" lIns="0" tIns="0" rIns="0" bIns="0" rtlCol="0" anchor="b">
            <a:spAutoFit/>
          </a:bodyPr>
          <a:lstStyle/>
          <a:p>
            <a:r>
              <a:rPr lang="en-US" sz="1000" b="1" dirty="0">
                <a:solidFill>
                  <a:srgbClr val="292929"/>
                </a:solidFill>
                <a:latin typeface="Calibri"/>
              </a:rPr>
              <a:t>INDIA</a:t>
            </a:r>
          </a:p>
        </p:txBody>
      </p:sp>
      <p:grpSp>
        <p:nvGrpSpPr>
          <p:cNvPr id="30" name="Group 71"/>
          <p:cNvGrpSpPr>
            <a:grpSpLocks/>
          </p:cNvGrpSpPr>
          <p:nvPr userDrawn="1"/>
        </p:nvGrpSpPr>
        <p:grpSpPr bwMode="auto">
          <a:xfrm>
            <a:off x="2581706" y="3799772"/>
            <a:ext cx="222441" cy="318626"/>
            <a:chOff x="4212399" y="2500322"/>
            <a:chExt cx="975551" cy="1435355"/>
          </a:xfrm>
          <a:effectLst>
            <a:reflection stA="0" endPos="65000" dist="50800" dir="5400000" sy="-100000" algn="bl" rotWithShape="0"/>
          </a:effectLst>
        </p:grpSpPr>
        <p:grpSp>
          <p:nvGrpSpPr>
            <p:cNvPr id="31" name="Group 72"/>
            <p:cNvGrpSpPr>
              <a:grpSpLocks/>
            </p:cNvGrpSpPr>
            <p:nvPr/>
          </p:nvGrpSpPr>
          <p:grpSpPr bwMode="auto">
            <a:xfrm>
              <a:off x="4212399" y="3437110"/>
              <a:ext cx="498086" cy="498567"/>
              <a:chOff x="5627209" y="1515183"/>
              <a:chExt cx="498086" cy="498567"/>
            </a:xfrm>
          </p:grpSpPr>
          <p:sp>
            <p:nvSpPr>
              <p:cNvPr id="36" name="Oval 35"/>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sz="1000">
                  <a:solidFill>
                    <a:srgbClr val="000000"/>
                  </a:solidFill>
                  <a:latin typeface="Calibri"/>
                </a:endParaRPr>
              </a:p>
            </p:txBody>
          </p:sp>
          <p:sp>
            <p:nvSpPr>
              <p:cNvPr id="37" name="Oval 36"/>
              <p:cNvSpPr/>
              <p:nvPr/>
            </p:nvSpPr>
            <p:spPr>
              <a:xfrm>
                <a:off x="5765213" y="1650145"/>
                <a:ext cx="228422" cy="228642"/>
              </a:xfrm>
              <a:prstGeom prst="ellipse">
                <a:avLst/>
              </a:prstGeom>
              <a:solidFill>
                <a:srgbClr val="2A9B1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grpSp>
        <p:sp>
          <p:nvSpPr>
            <p:cNvPr id="32"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sz="1000">
                <a:solidFill>
                  <a:srgbClr val="000000"/>
                </a:solidFill>
                <a:latin typeface="Calibri"/>
              </a:endParaRPr>
            </a:p>
          </p:txBody>
        </p:sp>
        <p:grpSp>
          <p:nvGrpSpPr>
            <p:cNvPr id="33" name="Group 133"/>
            <p:cNvGrpSpPr>
              <a:grpSpLocks/>
            </p:cNvGrpSpPr>
            <p:nvPr/>
          </p:nvGrpSpPr>
          <p:grpSpPr bwMode="auto">
            <a:xfrm flipH="1">
              <a:off x="4436064" y="2500322"/>
              <a:ext cx="650367" cy="1241657"/>
              <a:chOff x="7000949" y="2143129"/>
              <a:chExt cx="999336" cy="1834357"/>
            </a:xfrm>
          </p:grpSpPr>
          <p:sp>
            <p:nvSpPr>
              <p:cNvPr id="34" name="Freeform 57"/>
              <p:cNvSpPr>
                <a:spLocks/>
              </p:cNvSpPr>
              <p:nvPr/>
            </p:nvSpPr>
            <p:spPr bwMode="auto">
              <a:xfrm>
                <a:off x="7000949" y="2143129"/>
                <a:ext cx="999336" cy="1834357"/>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2A9B18">
                      <a:shade val="30000"/>
                      <a:satMod val="115000"/>
                    </a:srgbClr>
                  </a:gs>
                  <a:gs pos="100000">
                    <a:srgbClr val="2A9B18">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sp>
            <p:nvSpPr>
              <p:cNvPr id="35" name="Oval 34"/>
              <p:cNvSpPr/>
              <p:nvPr/>
            </p:nvSpPr>
            <p:spPr>
              <a:xfrm flipV="1">
                <a:off x="7128299" y="2206819"/>
                <a:ext cx="687489" cy="623787"/>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000">
                  <a:solidFill>
                    <a:srgbClr val="000000"/>
                  </a:solidFill>
                  <a:cs typeface="Arial" charset="0"/>
                </a:endParaRPr>
              </a:p>
            </p:txBody>
          </p:sp>
        </p:grpSp>
      </p:grpSp>
      <p:sp>
        <p:nvSpPr>
          <p:cNvPr id="38" name="TextBox 37"/>
          <p:cNvSpPr txBox="1"/>
          <p:nvPr userDrawn="1">
            <p:custDataLst>
              <p:tags r:id="rId3"/>
            </p:custDataLst>
          </p:nvPr>
        </p:nvSpPr>
        <p:spPr>
          <a:xfrm>
            <a:off x="2597557" y="4171950"/>
            <a:ext cx="1669643" cy="415498"/>
          </a:xfrm>
          <a:prstGeom prst="rect">
            <a:avLst/>
          </a:prstGeom>
          <a:noFill/>
          <a:effectLst>
            <a:reflection stA="0" endPos="65000" dist="50800" dir="5400000" sy="-100000" algn="bl" rotWithShape="0"/>
          </a:effectLst>
        </p:spPr>
        <p:txBody>
          <a:bodyPr wrap="square" lIns="0" tIns="0" rIns="0" bIns="0" rtlCol="0" anchor="b">
            <a:spAutoFit/>
          </a:bodyPr>
          <a:lstStyle/>
          <a:p>
            <a:r>
              <a:rPr lang="fr-FR" sz="900" dirty="0">
                <a:solidFill>
                  <a:srgbClr val="292929"/>
                </a:solidFill>
                <a:latin typeface="Calibri"/>
              </a:rPr>
              <a:t>40 avenue André Morizet,</a:t>
            </a:r>
          </a:p>
          <a:p>
            <a:r>
              <a:rPr lang="fr-FR" sz="900" dirty="0">
                <a:solidFill>
                  <a:srgbClr val="292929"/>
                </a:solidFill>
                <a:latin typeface="Calibri"/>
              </a:rPr>
              <a:t>92514 Boulogne-Billancourt,</a:t>
            </a:r>
          </a:p>
          <a:p>
            <a:r>
              <a:rPr lang="fr-FR" sz="900" dirty="0">
                <a:solidFill>
                  <a:srgbClr val="292929"/>
                </a:solidFill>
                <a:latin typeface="Calibri"/>
              </a:rPr>
              <a:t>Phone : +33 (0)1 46 08 70 00</a:t>
            </a:r>
            <a:endParaRPr lang="en-US" sz="900" dirty="0">
              <a:solidFill>
                <a:srgbClr val="292929"/>
              </a:solidFill>
              <a:latin typeface="Calibri"/>
            </a:endParaRPr>
          </a:p>
        </p:txBody>
      </p:sp>
      <p:sp>
        <p:nvSpPr>
          <p:cNvPr id="39" name="TextBox 38"/>
          <p:cNvSpPr txBox="1"/>
          <p:nvPr userDrawn="1">
            <p:custDataLst>
              <p:tags r:id="rId4"/>
            </p:custDataLst>
          </p:nvPr>
        </p:nvSpPr>
        <p:spPr>
          <a:xfrm>
            <a:off x="2810306" y="4004919"/>
            <a:ext cx="647700" cy="138499"/>
          </a:xfrm>
          <a:prstGeom prst="rect">
            <a:avLst/>
          </a:prstGeom>
          <a:noFill/>
          <a:effectLst>
            <a:reflection stA="0" endPos="65000" dist="50800" dir="5400000" sy="-100000" algn="bl" rotWithShape="0"/>
          </a:effectLst>
        </p:spPr>
        <p:txBody>
          <a:bodyPr wrap="square" lIns="0" tIns="0" rIns="0" bIns="0" rtlCol="0" anchor="b">
            <a:spAutoFit/>
          </a:bodyPr>
          <a:lstStyle/>
          <a:p>
            <a:r>
              <a:rPr lang="en-US" sz="900" b="1" dirty="0">
                <a:solidFill>
                  <a:srgbClr val="292929"/>
                </a:solidFill>
                <a:latin typeface="Calibri"/>
              </a:rPr>
              <a:t>France</a:t>
            </a:r>
          </a:p>
        </p:txBody>
      </p:sp>
      <p:grpSp>
        <p:nvGrpSpPr>
          <p:cNvPr id="40" name="Group 71"/>
          <p:cNvGrpSpPr>
            <a:grpSpLocks/>
          </p:cNvGrpSpPr>
          <p:nvPr userDrawn="1"/>
        </p:nvGrpSpPr>
        <p:grpSpPr bwMode="auto">
          <a:xfrm>
            <a:off x="481295" y="2495550"/>
            <a:ext cx="224489" cy="329981"/>
            <a:chOff x="4212399" y="2500313"/>
            <a:chExt cx="975551" cy="1435364"/>
          </a:xfrm>
          <a:effectLst>
            <a:reflection stA="0" endPos="65000" dist="50800" dir="5400000" sy="-100000" algn="bl" rotWithShape="0"/>
          </a:effectLst>
        </p:grpSpPr>
        <p:grpSp>
          <p:nvGrpSpPr>
            <p:cNvPr id="41" name="Group 72"/>
            <p:cNvGrpSpPr>
              <a:grpSpLocks/>
            </p:cNvGrpSpPr>
            <p:nvPr/>
          </p:nvGrpSpPr>
          <p:grpSpPr bwMode="auto">
            <a:xfrm>
              <a:off x="4212399" y="3437110"/>
              <a:ext cx="498086" cy="498567"/>
              <a:chOff x="5627209" y="1515183"/>
              <a:chExt cx="498086" cy="498567"/>
            </a:xfrm>
          </p:grpSpPr>
          <p:sp>
            <p:nvSpPr>
              <p:cNvPr id="46" name="Oval 45"/>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sz="1000">
                  <a:solidFill>
                    <a:srgbClr val="000000"/>
                  </a:solidFill>
                  <a:latin typeface="Calibri"/>
                </a:endParaRPr>
              </a:p>
            </p:txBody>
          </p:sp>
          <p:sp>
            <p:nvSpPr>
              <p:cNvPr id="47" name="Oval 46"/>
              <p:cNvSpPr/>
              <p:nvPr/>
            </p:nvSpPr>
            <p:spPr>
              <a:xfrm>
                <a:off x="5765213" y="1650145"/>
                <a:ext cx="228422" cy="228642"/>
              </a:xfrm>
              <a:prstGeom prst="ellipse">
                <a:avLst/>
              </a:prstGeom>
              <a:solidFill>
                <a:srgbClr val="CE2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grpSp>
        <p:sp>
          <p:nvSpPr>
            <p:cNvPr id="42"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sz="1000">
                <a:solidFill>
                  <a:srgbClr val="000000"/>
                </a:solidFill>
                <a:latin typeface="Calibri"/>
              </a:endParaRPr>
            </a:p>
          </p:txBody>
        </p:sp>
        <p:grpSp>
          <p:nvGrpSpPr>
            <p:cNvPr id="43" name="Group 133"/>
            <p:cNvGrpSpPr>
              <a:grpSpLocks/>
            </p:cNvGrpSpPr>
            <p:nvPr/>
          </p:nvGrpSpPr>
          <p:grpSpPr bwMode="auto">
            <a:xfrm flipH="1">
              <a:off x="4436064" y="2500313"/>
              <a:ext cx="650367" cy="1241653"/>
              <a:chOff x="7000949" y="2143116"/>
              <a:chExt cx="999336" cy="1834351"/>
            </a:xfrm>
          </p:grpSpPr>
          <p:sp>
            <p:nvSpPr>
              <p:cNvPr id="44" name="Freeform 57"/>
              <p:cNvSpPr>
                <a:spLocks/>
              </p:cNvSpPr>
              <p:nvPr/>
            </p:nvSpPr>
            <p:spPr bwMode="auto">
              <a:xfrm>
                <a:off x="7000949" y="2143116"/>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CE202A">
                      <a:shade val="30000"/>
                      <a:satMod val="115000"/>
                    </a:srgbClr>
                  </a:gs>
                  <a:gs pos="83000">
                    <a:srgbClr val="CE202A">
                      <a:shade val="100000"/>
                      <a:satMod val="115000"/>
                    </a:srgb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sp>
            <p:nvSpPr>
              <p:cNvPr id="45" name="Oval 44"/>
              <p:cNvSpPr/>
              <p:nvPr/>
            </p:nvSpPr>
            <p:spPr>
              <a:xfrm flipV="1">
                <a:off x="7128300" y="2206820"/>
                <a:ext cx="687491" cy="623788"/>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000">
                  <a:solidFill>
                    <a:srgbClr val="000000"/>
                  </a:solidFill>
                  <a:cs typeface="Arial" charset="0"/>
                </a:endParaRPr>
              </a:p>
            </p:txBody>
          </p:sp>
        </p:grpSp>
      </p:grpSp>
      <p:sp>
        <p:nvSpPr>
          <p:cNvPr id="48" name="TextBox 47"/>
          <p:cNvSpPr txBox="1"/>
          <p:nvPr userDrawn="1">
            <p:custDataLst>
              <p:tags r:id="rId5"/>
            </p:custDataLst>
          </p:nvPr>
        </p:nvSpPr>
        <p:spPr>
          <a:xfrm>
            <a:off x="723900" y="2663338"/>
            <a:ext cx="647700" cy="138499"/>
          </a:xfrm>
          <a:prstGeom prst="rect">
            <a:avLst/>
          </a:prstGeom>
          <a:noFill/>
          <a:effectLst>
            <a:reflection stA="0" endPos="65000" dist="50800" dir="5400000" sy="-100000" algn="bl" rotWithShape="0"/>
          </a:effectLst>
        </p:spPr>
        <p:txBody>
          <a:bodyPr wrap="square" lIns="0" tIns="0" rIns="0" bIns="0" rtlCol="0" anchor="b">
            <a:spAutoFit/>
          </a:bodyPr>
          <a:lstStyle/>
          <a:p>
            <a:r>
              <a:rPr lang="en-US" sz="900" b="1" dirty="0">
                <a:solidFill>
                  <a:srgbClr val="292929"/>
                </a:solidFill>
                <a:latin typeface="Calibri"/>
              </a:rPr>
              <a:t>USA</a:t>
            </a:r>
          </a:p>
        </p:txBody>
      </p:sp>
      <p:sp>
        <p:nvSpPr>
          <p:cNvPr id="49" name="TextBox 48"/>
          <p:cNvSpPr txBox="1"/>
          <p:nvPr userDrawn="1">
            <p:custDataLst>
              <p:tags r:id="rId6"/>
            </p:custDataLst>
          </p:nvPr>
        </p:nvSpPr>
        <p:spPr>
          <a:xfrm>
            <a:off x="488054" y="2890957"/>
            <a:ext cx="1493146" cy="1661993"/>
          </a:xfrm>
          <a:prstGeom prst="rect">
            <a:avLst/>
          </a:prstGeom>
          <a:noFill/>
          <a:effectLst>
            <a:reflection stA="0" endPos="65000" dist="50800" dir="5400000" sy="-100000" algn="bl" rotWithShape="0"/>
          </a:effectLst>
        </p:spPr>
        <p:txBody>
          <a:bodyPr wrap="square" lIns="0" tIns="0" rIns="0" bIns="0" rtlCol="0" anchor="b">
            <a:spAutoFit/>
          </a:bodyPr>
          <a:lstStyle/>
          <a:p>
            <a:r>
              <a:rPr lang="fr-FR" sz="900" b="1" dirty="0">
                <a:solidFill>
                  <a:srgbClr val="292929"/>
                </a:solidFill>
                <a:latin typeface="Calibri"/>
              </a:rPr>
              <a:t>Head Office</a:t>
            </a:r>
          </a:p>
          <a:p>
            <a:r>
              <a:rPr lang="fr-FR" sz="900" dirty="0">
                <a:solidFill>
                  <a:srgbClr val="292929"/>
                </a:solidFill>
                <a:latin typeface="Calibri"/>
              </a:rPr>
              <a:t>2903, Bunker Hill Lane,</a:t>
            </a:r>
            <a:br>
              <a:rPr lang="fr-FR" sz="900" dirty="0">
                <a:solidFill>
                  <a:srgbClr val="292929"/>
                </a:solidFill>
                <a:latin typeface="Calibri"/>
              </a:rPr>
            </a:br>
            <a:r>
              <a:rPr lang="fr-FR" sz="900" dirty="0">
                <a:solidFill>
                  <a:srgbClr val="292929"/>
                </a:solidFill>
                <a:latin typeface="Calibri"/>
              </a:rPr>
              <a:t>Suite 107,</a:t>
            </a:r>
            <a:br>
              <a:rPr lang="fr-FR" sz="900" dirty="0">
                <a:solidFill>
                  <a:srgbClr val="292929"/>
                </a:solidFill>
                <a:latin typeface="Calibri"/>
              </a:rPr>
            </a:br>
            <a:r>
              <a:rPr lang="fr-FR" sz="900" dirty="0">
                <a:solidFill>
                  <a:srgbClr val="292929"/>
                </a:solidFill>
                <a:latin typeface="Calibri"/>
              </a:rPr>
              <a:t>Santa Clara, CA 95054.</a:t>
            </a:r>
            <a:br>
              <a:rPr lang="fr-FR" sz="900" dirty="0">
                <a:solidFill>
                  <a:srgbClr val="292929"/>
                </a:solidFill>
                <a:latin typeface="Calibri"/>
              </a:rPr>
            </a:br>
            <a:r>
              <a:rPr lang="fr-FR" sz="900" dirty="0">
                <a:solidFill>
                  <a:srgbClr val="292929"/>
                </a:solidFill>
                <a:latin typeface="Calibri"/>
              </a:rPr>
              <a:t>Phone: +1 (408) 755 3000</a:t>
            </a:r>
            <a:br>
              <a:rPr lang="fr-FR" sz="900" dirty="0">
                <a:solidFill>
                  <a:srgbClr val="292929"/>
                </a:solidFill>
                <a:latin typeface="Calibri"/>
              </a:rPr>
            </a:br>
            <a:r>
              <a:rPr lang="fr-FR" sz="900" dirty="0">
                <a:solidFill>
                  <a:srgbClr val="292929"/>
                </a:solidFill>
                <a:latin typeface="Calibri"/>
              </a:rPr>
              <a:t>Fax : +1 (925) 249 3031</a:t>
            </a:r>
          </a:p>
          <a:p>
            <a:endParaRPr lang="fr-FR" sz="900" b="1" dirty="0">
              <a:solidFill>
                <a:srgbClr val="292929"/>
              </a:solidFill>
              <a:latin typeface="Calibri"/>
            </a:endParaRPr>
          </a:p>
          <a:p>
            <a:r>
              <a:rPr lang="fr-FR" sz="900" b="1" dirty="0">
                <a:solidFill>
                  <a:srgbClr val="292929"/>
                </a:solidFill>
                <a:latin typeface="Calibri"/>
              </a:rPr>
              <a:t>Design Centre</a:t>
            </a:r>
          </a:p>
          <a:p>
            <a:r>
              <a:rPr lang="fr-FR" sz="900" dirty="0">
                <a:solidFill>
                  <a:srgbClr val="292929"/>
                </a:solidFill>
                <a:latin typeface="Calibri"/>
              </a:rPr>
              <a:t>2 Clock Tower Place,</a:t>
            </a:r>
            <a:br>
              <a:rPr lang="fr-FR" sz="900" dirty="0">
                <a:solidFill>
                  <a:srgbClr val="292929"/>
                </a:solidFill>
                <a:latin typeface="Calibri"/>
              </a:rPr>
            </a:br>
            <a:r>
              <a:rPr lang="fr-FR" sz="900" dirty="0">
                <a:solidFill>
                  <a:srgbClr val="292929"/>
                </a:solidFill>
                <a:latin typeface="Calibri"/>
              </a:rPr>
              <a:t>Suite 430, Maynard,</a:t>
            </a:r>
            <a:br>
              <a:rPr lang="fr-FR" sz="900" dirty="0">
                <a:solidFill>
                  <a:srgbClr val="292929"/>
                </a:solidFill>
                <a:latin typeface="Calibri"/>
              </a:rPr>
            </a:br>
            <a:r>
              <a:rPr lang="fr-FR" sz="900" dirty="0">
                <a:solidFill>
                  <a:srgbClr val="292929"/>
                </a:solidFill>
                <a:latin typeface="Calibri"/>
              </a:rPr>
              <a:t>MA 01754, USA</a:t>
            </a:r>
            <a:br>
              <a:rPr lang="fr-FR" sz="900" dirty="0">
                <a:solidFill>
                  <a:srgbClr val="292929"/>
                </a:solidFill>
                <a:latin typeface="Calibri"/>
              </a:rPr>
            </a:br>
            <a:r>
              <a:rPr lang="fr-FR" sz="900" dirty="0">
                <a:solidFill>
                  <a:srgbClr val="292929"/>
                </a:solidFill>
                <a:latin typeface="Calibri"/>
              </a:rPr>
              <a:t>Phone: +1 (978) 938 4640</a:t>
            </a:r>
          </a:p>
        </p:txBody>
      </p:sp>
      <p:grpSp>
        <p:nvGrpSpPr>
          <p:cNvPr id="50" name="Group 71"/>
          <p:cNvGrpSpPr>
            <a:grpSpLocks/>
          </p:cNvGrpSpPr>
          <p:nvPr userDrawn="1"/>
        </p:nvGrpSpPr>
        <p:grpSpPr bwMode="auto">
          <a:xfrm rot="21112517">
            <a:off x="3448591" y="2016311"/>
            <a:ext cx="352537" cy="481574"/>
            <a:chOff x="4212399" y="2500313"/>
            <a:chExt cx="975551" cy="1435364"/>
          </a:xfrm>
        </p:grpSpPr>
        <p:grpSp>
          <p:nvGrpSpPr>
            <p:cNvPr id="51" name="Group 72"/>
            <p:cNvGrpSpPr>
              <a:grpSpLocks/>
            </p:cNvGrpSpPr>
            <p:nvPr/>
          </p:nvGrpSpPr>
          <p:grpSpPr bwMode="auto">
            <a:xfrm>
              <a:off x="4212399" y="3437110"/>
              <a:ext cx="498086" cy="498567"/>
              <a:chOff x="5627209" y="1515183"/>
              <a:chExt cx="498086" cy="498567"/>
            </a:xfrm>
          </p:grpSpPr>
          <p:sp>
            <p:nvSpPr>
              <p:cNvPr id="56" name="Oval 55"/>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sz="1000">
                  <a:solidFill>
                    <a:srgbClr val="000000"/>
                  </a:solidFill>
                  <a:latin typeface="Calibri"/>
                </a:endParaRPr>
              </a:p>
            </p:txBody>
          </p:sp>
          <p:sp>
            <p:nvSpPr>
              <p:cNvPr id="57" name="Oval 56"/>
              <p:cNvSpPr/>
              <p:nvPr/>
            </p:nvSpPr>
            <p:spPr>
              <a:xfrm>
                <a:off x="5765213" y="1650145"/>
                <a:ext cx="228422" cy="228642"/>
              </a:xfrm>
              <a:prstGeom prst="ellipse">
                <a:avLst/>
              </a:prstGeom>
              <a:solidFill>
                <a:srgbClr val="2A9B1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grpSp>
        <p:sp>
          <p:nvSpPr>
            <p:cNvPr id="52"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sz="1000">
                <a:solidFill>
                  <a:srgbClr val="000000"/>
                </a:solidFill>
                <a:latin typeface="Calibri"/>
              </a:endParaRPr>
            </a:p>
          </p:txBody>
        </p:sp>
        <p:grpSp>
          <p:nvGrpSpPr>
            <p:cNvPr id="53" name="Group 133"/>
            <p:cNvGrpSpPr>
              <a:grpSpLocks/>
            </p:cNvGrpSpPr>
            <p:nvPr/>
          </p:nvGrpSpPr>
          <p:grpSpPr bwMode="auto">
            <a:xfrm flipH="1">
              <a:off x="4436064" y="2500313"/>
              <a:ext cx="650367" cy="1241653"/>
              <a:chOff x="7000949" y="2143116"/>
              <a:chExt cx="999336" cy="1834351"/>
            </a:xfrm>
          </p:grpSpPr>
          <p:sp>
            <p:nvSpPr>
              <p:cNvPr id="54" name="Freeform 57"/>
              <p:cNvSpPr>
                <a:spLocks/>
              </p:cNvSpPr>
              <p:nvPr/>
            </p:nvSpPr>
            <p:spPr bwMode="auto">
              <a:xfrm>
                <a:off x="7000949" y="2143116"/>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2A9B18">
                      <a:shade val="30000"/>
                      <a:satMod val="115000"/>
                    </a:srgbClr>
                  </a:gs>
                  <a:gs pos="100000">
                    <a:srgbClr val="2A9B18">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sp>
            <p:nvSpPr>
              <p:cNvPr id="55" name="Oval 54"/>
              <p:cNvSpPr/>
              <p:nvPr/>
            </p:nvSpPr>
            <p:spPr>
              <a:xfrm flipV="1">
                <a:off x="7128300" y="2206820"/>
                <a:ext cx="687491" cy="623788"/>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000">
                  <a:solidFill>
                    <a:srgbClr val="000000"/>
                  </a:solidFill>
                  <a:cs typeface="Arial" charset="0"/>
                </a:endParaRPr>
              </a:p>
            </p:txBody>
          </p:sp>
        </p:grpSp>
      </p:grpSp>
      <p:grpSp>
        <p:nvGrpSpPr>
          <p:cNvPr id="58" name="Group 71"/>
          <p:cNvGrpSpPr>
            <a:grpSpLocks/>
          </p:cNvGrpSpPr>
          <p:nvPr userDrawn="1"/>
        </p:nvGrpSpPr>
        <p:grpSpPr bwMode="auto">
          <a:xfrm>
            <a:off x="4343400" y="3784933"/>
            <a:ext cx="228600" cy="327448"/>
            <a:chOff x="4212392" y="2500322"/>
            <a:chExt cx="975554" cy="1435355"/>
          </a:xfrm>
          <a:effectLst>
            <a:reflection stA="0" endPos="65000" dist="50800" dir="5400000" sy="-100000" algn="bl" rotWithShape="0"/>
          </a:effectLst>
        </p:grpSpPr>
        <p:grpSp>
          <p:nvGrpSpPr>
            <p:cNvPr id="59" name="Group 72"/>
            <p:cNvGrpSpPr>
              <a:grpSpLocks/>
            </p:cNvGrpSpPr>
            <p:nvPr/>
          </p:nvGrpSpPr>
          <p:grpSpPr bwMode="auto">
            <a:xfrm>
              <a:off x="4212392" y="3437111"/>
              <a:ext cx="498085" cy="498566"/>
              <a:chOff x="5627209" y="1515183"/>
              <a:chExt cx="498086" cy="498567"/>
            </a:xfrm>
          </p:grpSpPr>
          <p:sp>
            <p:nvSpPr>
              <p:cNvPr id="64" name="Oval 63"/>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sz="1000">
                  <a:solidFill>
                    <a:srgbClr val="000000"/>
                  </a:solidFill>
                  <a:latin typeface="Calibri"/>
                </a:endParaRPr>
              </a:p>
            </p:txBody>
          </p:sp>
          <p:sp>
            <p:nvSpPr>
              <p:cNvPr id="65" name="Oval 64"/>
              <p:cNvSpPr/>
              <p:nvPr/>
            </p:nvSpPr>
            <p:spPr>
              <a:xfrm>
                <a:off x="5765213" y="1650145"/>
                <a:ext cx="228422" cy="228642"/>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grpSp>
        <p:sp>
          <p:nvSpPr>
            <p:cNvPr id="60" name="Freeform 57"/>
            <p:cNvSpPr>
              <a:spLocks/>
            </p:cNvSpPr>
            <p:nvPr/>
          </p:nvSpPr>
          <p:spPr bwMode="auto">
            <a:xfrm rot="15813706" flipH="1" flipV="1">
              <a:off x="4658804" y="3157253"/>
              <a:ext cx="255635" cy="802648"/>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sz="1000">
                <a:solidFill>
                  <a:srgbClr val="000000"/>
                </a:solidFill>
                <a:latin typeface="Calibri"/>
              </a:endParaRPr>
            </a:p>
          </p:txBody>
        </p:sp>
        <p:grpSp>
          <p:nvGrpSpPr>
            <p:cNvPr id="61" name="Group 133"/>
            <p:cNvGrpSpPr>
              <a:grpSpLocks/>
            </p:cNvGrpSpPr>
            <p:nvPr/>
          </p:nvGrpSpPr>
          <p:grpSpPr bwMode="auto">
            <a:xfrm flipH="1">
              <a:off x="4436063" y="2500322"/>
              <a:ext cx="650367" cy="1241659"/>
              <a:chOff x="7000949" y="2143129"/>
              <a:chExt cx="999336" cy="1834357"/>
            </a:xfrm>
          </p:grpSpPr>
          <p:sp>
            <p:nvSpPr>
              <p:cNvPr id="62" name="Freeform 57"/>
              <p:cNvSpPr>
                <a:spLocks/>
              </p:cNvSpPr>
              <p:nvPr/>
            </p:nvSpPr>
            <p:spPr bwMode="auto">
              <a:xfrm>
                <a:off x="7000949" y="2143129"/>
                <a:ext cx="999336" cy="1834357"/>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sp>
            <p:nvSpPr>
              <p:cNvPr id="63" name="Oval 62"/>
              <p:cNvSpPr/>
              <p:nvPr/>
            </p:nvSpPr>
            <p:spPr>
              <a:xfrm flipV="1">
                <a:off x="7128299" y="2206819"/>
                <a:ext cx="687489" cy="623787"/>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000">
                  <a:solidFill>
                    <a:srgbClr val="000000"/>
                  </a:solidFill>
                  <a:cs typeface="Arial" charset="0"/>
                </a:endParaRPr>
              </a:p>
            </p:txBody>
          </p:sp>
        </p:grpSp>
      </p:grpSp>
      <p:sp>
        <p:nvSpPr>
          <p:cNvPr id="66" name="TextBox 65"/>
          <p:cNvSpPr txBox="1"/>
          <p:nvPr userDrawn="1">
            <p:custDataLst>
              <p:tags r:id="rId7"/>
            </p:custDataLst>
          </p:nvPr>
        </p:nvSpPr>
        <p:spPr>
          <a:xfrm>
            <a:off x="4350157" y="4213652"/>
            <a:ext cx="1517243" cy="415498"/>
          </a:xfrm>
          <a:prstGeom prst="rect">
            <a:avLst/>
          </a:prstGeom>
          <a:noFill/>
          <a:effectLst>
            <a:reflection stA="0" endPos="65000" dist="50800" dir="5400000" sy="-100000" algn="bl" rotWithShape="0"/>
          </a:effectLst>
        </p:spPr>
        <p:txBody>
          <a:bodyPr wrap="square" lIns="0" tIns="0" rIns="0" bIns="0" rtlCol="0" anchor="b">
            <a:spAutoFit/>
          </a:bodyPr>
          <a:lstStyle/>
          <a:p>
            <a:r>
              <a:rPr lang="en-IN" sz="900" dirty="0">
                <a:solidFill>
                  <a:srgbClr val="292929"/>
                </a:solidFill>
                <a:latin typeface="+mn-lt"/>
              </a:rPr>
              <a:t>22- 24, Homecroft Road</a:t>
            </a:r>
          </a:p>
          <a:p>
            <a:r>
              <a:rPr lang="en-IN" sz="900" dirty="0">
                <a:solidFill>
                  <a:srgbClr val="292929"/>
                </a:solidFill>
                <a:latin typeface="+mn-lt"/>
              </a:rPr>
              <a:t>Suite 4, Elco House</a:t>
            </a:r>
          </a:p>
          <a:p>
            <a:r>
              <a:rPr lang="en-IN" sz="900" dirty="0">
                <a:solidFill>
                  <a:srgbClr val="292929"/>
                </a:solidFill>
                <a:latin typeface="+mn-lt"/>
              </a:rPr>
              <a:t>London England N22 5EL</a:t>
            </a:r>
          </a:p>
        </p:txBody>
      </p:sp>
      <p:sp>
        <p:nvSpPr>
          <p:cNvPr id="67" name="TextBox 66"/>
          <p:cNvSpPr txBox="1"/>
          <p:nvPr userDrawn="1">
            <p:custDataLst>
              <p:tags r:id="rId8"/>
            </p:custDataLst>
          </p:nvPr>
        </p:nvSpPr>
        <p:spPr>
          <a:xfrm>
            <a:off x="4562906" y="3979562"/>
            <a:ext cx="647700" cy="138499"/>
          </a:xfrm>
          <a:prstGeom prst="rect">
            <a:avLst/>
          </a:prstGeom>
          <a:noFill/>
          <a:effectLst>
            <a:reflection stA="0" endPos="65000" dist="50800" dir="5400000" sy="-100000" algn="bl" rotWithShape="0"/>
          </a:effectLst>
        </p:spPr>
        <p:txBody>
          <a:bodyPr wrap="square" lIns="0" tIns="0" rIns="0" bIns="0" rtlCol="0" anchor="b">
            <a:spAutoFit/>
          </a:bodyPr>
          <a:lstStyle/>
          <a:p>
            <a:r>
              <a:rPr lang="en-US" sz="900" b="1" dirty="0">
                <a:solidFill>
                  <a:srgbClr val="292929"/>
                </a:solidFill>
                <a:latin typeface="Calibri"/>
              </a:rPr>
              <a:t>UK</a:t>
            </a:r>
          </a:p>
        </p:txBody>
      </p:sp>
      <p:grpSp>
        <p:nvGrpSpPr>
          <p:cNvPr id="68" name="Group 71"/>
          <p:cNvGrpSpPr>
            <a:grpSpLocks/>
          </p:cNvGrpSpPr>
          <p:nvPr userDrawn="1"/>
        </p:nvGrpSpPr>
        <p:grpSpPr bwMode="auto">
          <a:xfrm>
            <a:off x="3352800" y="1898268"/>
            <a:ext cx="317156" cy="444881"/>
            <a:chOff x="4212392" y="2500322"/>
            <a:chExt cx="975554" cy="1435355"/>
          </a:xfrm>
          <a:effectLst>
            <a:reflection stA="0" endPos="65000" dist="50800" dir="5400000" sy="-100000" algn="bl" rotWithShape="0"/>
          </a:effectLst>
        </p:grpSpPr>
        <p:grpSp>
          <p:nvGrpSpPr>
            <p:cNvPr id="69" name="Group 72"/>
            <p:cNvGrpSpPr>
              <a:grpSpLocks/>
            </p:cNvGrpSpPr>
            <p:nvPr/>
          </p:nvGrpSpPr>
          <p:grpSpPr bwMode="auto">
            <a:xfrm>
              <a:off x="4212392" y="3437111"/>
              <a:ext cx="498085" cy="498566"/>
              <a:chOff x="5627209" y="1515183"/>
              <a:chExt cx="498086" cy="498567"/>
            </a:xfrm>
          </p:grpSpPr>
          <p:sp>
            <p:nvSpPr>
              <p:cNvPr id="74" name="Oval 73"/>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sz="1000">
                  <a:solidFill>
                    <a:srgbClr val="000000"/>
                  </a:solidFill>
                  <a:latin typeface="Calibri"/>
                </a:endParaRPr>
              </a:p>
            </p:txBody>
          </p:sp>
          <p:sp>
            <p:nvSpPr>
              <p:cNvPr id="75" name="Oval 74"/>
              <p:cNvSpPr/>
              <p:nvPr/>
            </p:nvSpPr>
            <p:spPr>
              <a:xfrm>
                <a:off x="5765213" y="1650145"/>
                <a:ext cx="228422" cy="228642"/>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grpSp>
        <p:sp>
          <p:nvSpPr>
            <p:cNvPr id="70" name="Freeform 57"/>
            <p:cNvSpPr>
              <a:spLocks/>
            </p:cNvSpPr>
            <p:nvPr/>
          </p:nvSpPr>
          <p:spPr bwMode="auto">
            <a:xfrm rot="15813706" flipH="1" flipV="1">
              <a:off x="4658804" y="3157253"/>
              <a:ext cx="255635" cy="802648"/>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sz="1000">
                <a:solidFill>
                  <a:srgbClr val="000000"/>
                </a:solidFill>
                <a:latin typeface="Calibri"/>
              </a:endParaRPr>
            </a:p>
          </p:txBody>
        </p:sp>
        <p:grpSp>
          <p:nvGrpSpPr>
            <p:cNvPr id="71" name="Group 133"/>
            <p:cNvGrpSpPr>
              <a:grpSpLocks/>
            </p:cNvGrpSpPr>
            <p:nvPr/>
          </p:nvGrpSpPr>
          <p:grpSpPr bwMode="auto">
            <a:xfrm flipH="1">
              <a:off x="4436063" y="2500322"/>
              <a:ext cx="650367" cy="1241659"/>
              <a:chOff x="7000949" y="2143129"/>
              <a:chExt cx="999336" cy="1834357"/>
            </a:xfrm>
          </p:grpSpPr>
          <p:sp>
            <p:nvSpPr>
              <p:cNvPr id="72" name="Freeform 57"/>
              <p:cNvSpPr>
                <a:spLocks/>
              </p:cNvSpPr>
              <p:nvPr/>
            </p:nvSpPr>
            <p:spPr bwMode="auto">
              <a:xfrm>
                <a:off x="7000949" y="2143129"/>
                <a:ext cx="999336" cy="1834357"/>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sp>
            <p:nvSpPr>
              <p:cNvPr id="73" name="Oval 72"/>
              <p:cNvSpPr/>
              <p:nvPr/>
            </p:nvSpPr>
            <p:spPr>
              <a:xfrm flipV="1">
                <a:off x="7128299" y="2206819"/>
                <a:ext cx="687489" cy="623787"/>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000">
                  <a:solidFill>
                    <a:srgbClr val="000000"/>
                  </a:solidFill>
                  <a:cs typeface="Arial" charset="0"/>
                </a:endParaRPr>
              </a:p>
            </p:txBody>
          </p:sp>
        </p:grpSp>
      </p:grpSp>
      <p:grpSp>
        <p:nvGrpSpPr>
          <p:cNvPr id="77" name="Group 71"/>
          <p:cNvGrpSpPr>
            <a:grpSpLocks/>
          </p:cNvGrpSpPr>
          <p:nvPr userDrawn="1"/>
        </p:nvGrpSpPr>
        <p:grpSpPr bwMode="auto">
          <a:xfrm>
            <a:off x="6426778" y="914520"/>
            <a:ext cx="202622" cy="269638"/>
            <a:chOff x="4212399" y="2500313"/>
            <a:chExt cx="975551" cy="1435364"/>
          </a:xfrm>
        </p:grpSpPr>
        <p:grpSp>
          <p:nvGrpSpPr>
            <p:cNvPr id="78" name="Group 72"/>
            <p:cNvGrpSpPr>
              <a:grpSpLocks/>
            </p:cNvGrpSpPr>
            <p:nvPr/>
          </p:nvGrpSpPr>
          <p:grpSpPr bwMode="auto">
            <a:xfrm>
              <a:off x="4212399" y="3437110"/>
              <a:ext cx="498086" cy="498567"/>
              <a:chOff x="5627209" y="1515183"/>
              <a:chExt cx="498086" cy="498567"/>
            </a:xfrm>
          </p:grpSpPr>
          <p:sp>
            <p:nvSpPr>
              <p:cNvPr id="83" name="Oval 82"/>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sz="1000">
                  <a:solidFill>
                    <a:srgbClr val="000000"/>
                  </a:solidFill>
                  <a:latin typeface="Calibri"/>
                </a:endParaRPr>
              </a:p>
            </p:txBody>
          </p:sp>
          <p:sp>
            <p:nvSpPr>
              <p:cNvPr id="84" name="Oval 83"/>
              <p:cNvSpPr/>
              <p:nvPr/>
            </p:nvSpPr>
            <p:spPr>
              <a:xfrm>
                <a:off x="5765213" y="1650145"/>
                <a:ext cx="228422" cy="228642"/>
              </a:xfrm>
              <a:prstGeom prst="ellipse">
                <a:avLst/>
              </a:prstGeom>
              <a:solidFill>
                <a:srgbClr val="F0B7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grpSp>
        <p:sp>
          <p:nvSpPr>
            <p:cNvPr id="79"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sz="1000">
                <a:solidFill>
                  <a:srgbClr val="000000"/>
                </a:solidFill>
                <a:latin typeface="Calibri"/>
              </a:endParaRPr>
            </a:p>
          </p:txBody>
        </p:sp>
        <p:grpSp>
          <p:nvGrpSpPr>
            <p:cNvPr id="80" name="Group 133"/>
            <p:cNvGrpSpPr>
              <a:grpSpLocks/>
            </p:cNvGrpSpPr>
            <p:nvPr/>
          </p:nvGrpSpPr>
          <p:grpSpPr bwMode="auto">
            <a:xfrm flipH="1">
              <a:off x="4436064" y="2500313"/>
              <a:ext cx="650367" cy="1241653"/>
              <a:chOff x="7000949" y="2143116"/>
              <a:chExt cx="999336" cy="1834351"/>
            </a:xfrm>
          </p:grpSpPr>
          <p:sp>
            <p:nvSpPr>
              <p:cNvPr id="81" name="Freeform 57"/>
              <p:cNvSpPr>
                <a:spLocks/>
              </p:cNvSpPr>
              <p:nvPr/>
            </p:nvSpPr>
            <p:spPr bwMode="auto">
              <a:xfrm>
                <a:off x="7000949" y="2143116"/>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ED9901">
                      <a:lumMod val="87000"/>
                    </a:srgbClr>
                  </a:gs>
                  <a:gs pos="100000">
                    <a:srgbClr val="F0B71F">
                      <a:shade val="100000"/>
                      <a:satMod val="115000"/>
                    </a:srgb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000">
                  <a:solidFill>
                    <a:srgbClr val="000000"/>
                  </a:solidFill>
                </a:endParaRPr>
              </a:p>
            </p:txBody>
          </p:sp>
          <p:sp>
            <p:nvSpPr>
              <p:cNvPr id="82" name="Oval 81"/>
              <p:cNvSpPr/>
              <p:nvPr/>
            </p:nvSpPr>
            <p:spPr>
              <a:xfrm flipV="1">
                <a:off x="7128300" y="2206820"/>
                <a:ext cx="687491" cy="623788"/>
              </a:xfrm>
              <a:prstGeom prst="ellipse">
                <a:avLst/>
              </a:prstGeom>
              <a:gradFill>
                <a:gsLst>
                  <a:gs pos="0">
                    <a:schemeClr val="bg1">
                      <a:alpha val="0"/>
                    </a:schemeClr>
                  </a:gs>
                  <a:gs pos="100000">
                    <a:schemeClr val="bg1">
                      <a:alpha val="35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sz="1000">
                  <a:solidFill>
                    <a:srgbClr val="000000"/>
                  </a:solidFill>
                  <a:cs typeface="Arial" charset="0"/>
                </a:endParaRPr>
              </a:p>
            </p:txBody>
          </p:sp>
        </p:grpSp>
      </p:grpSp>
      <p:sp>
        <p:nvSpPr>
          <p:cNvPr id="86" name="Title 1"/>
          <p:cNvSpPr>
            <a:spLocks noGrp="1"/>
          </p:cNvSpPr>
          <p:nvPr>
            <p:ph type="title"/>
          </p:nvPr>
        </p:nvSpPr>
        <p:spPr>
          <a:xfrm>
            <a:off x="457200" y="342900"/>
            <a:ext cx="5181600" cy="398463"/>
          </a:xfrm>
          <a:prstGeom prst="rect">
            <a:avLst/>
          </a:prstGeom>
        </p:spPr>
        <p:txBody>
          <a:bodyPr anchor="b">
            <a:noAutofit/>
          </a:bodyPr>
          <a:lstStyle>
            <a:lvl1pPr>
              <a:defRPr sz="2400"/>
            </a:lvl1pPr>
          </a:lstStyle>
          <a:p>
            <a:r>
              <a:rPr lang="en-US"/>
              <a:t>Click to edit Master title style</a:t>
            </a:r>
            <a:endParaRPr lang="en-IN"/>
          </a:p>
        </p:txBody>
      </p:sp>
    </p:spTree>
    <p:extLst>
      <p:ext uri="{BB962C8B-B14F-4D97-AF65-F5344CB8AC3E}">
        <p14:creationId xmlns:p14="http://schemas.microsoft.com/office/powerpoint/2010/main" val="12314463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342900"/>
            <a:ext cx="5181600" cy="398463"/>
          </a:xfrm>
          <a:prstGeom prst="rect">
            <a:avLst/>
          </a:prstGeom>
        </p:spPr>
        <p:txBody>
          <a:bodyPr anchor="b">
            <a:noAutofit/>
          </a:bodyPr>
          <a:lstStyle>
            <a:lvl1pPr>
              <a:defRPr sz="2400"/>
            </a:lvl1pPr>
          </a:lstStyle>
          <a:p>
            <a:r>
              <a:rPr lang="en-US"/>
              <a:t>Click to edit Master title style</a:t>
            </a:r>
            <a:endParaRPr lang="en-IN"/>
          </a:p>
        </p:txBody>
      </p:sp>
      <p:sp>
        <p:nvSpPr>
          <p:cNvPr id="3" name="Content Placeholder 2"/>
          <p:cNvSpPr>
            <a:spLocks noGrp="1"/>
          </p:cNvSpPr>
          <p:nvPr>
            <p:ph idx="1"/>
          </p:nvPr>
        </p:nvSpPr>
        <p:spPr>
          <a:xfrm>
            <a:off x="3887788" y="895350"/>
            <a:ext cx="4629150" cy="3500438"/>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Text Placeholder 3"/>
          <p:cNvSpPr>
            <a:spLocks noGrp="1"/>
          </p:cNvSpPr>
          <p:nvPr>
            <p:ph type="body" sz="half" idx="2"/>
          </p:nvPr>
        </p:nvSpPr>
        <p:spPr>
          <a:xfrm>
            <a:off x="457200" y="1543050"/>
            <a:ext cx="3122613"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cxnSp>
        <p:nvCxnSpPr>
          <p:cNvPr id="10" name="Straight Connector 9"/>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3"/>
          <p:cNvSpPr txBox="1">
            <a:spLocks/>
          </p:cNvSpPr>
          <p:nvPr userDrawn="1"/>
        </p:nvSpPr>
        <p:spPr>
          <a:xfrm>
            <a:off x="4038600" y="4863217"/>
            <a:ext cx="457200" cy="274637"/>
          </a:xfrm>
          <a:prstGeom prst="rect">
            <a:avLst/>
          </a:prstGeom>
        </p:spPr>
        <p:txBody>
          <a:bodyPr vert="horz" lIns="91440" tIns="45720" rIns="91440" bIns="45720" rtlCol="0" anchor="ctr"/>
          <a:lstStyle>
            <a:defPPr>
              <a:defRPr lang="en-US"/>
            </a:defPPr>
            <a:lvl1pPr marL="0" algn="ctr" defTabSz="914400" rtl="0" eaLnBrk="1" latinLnBrk="0" hangingPunct="1">
              <a:defRPr sz="8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C9E5A2-E050-4219-93F8-78B0C7250E7B}" type="slidenum">
              <a:rPr lang="en-US" smtClean="0"/>
              <a:pPr/>
              <a:t>‹#›</a:t>
            </a:fld>
            <a:endParaRPr lang="en-US" dirty="0"/>
          </a:p>
        </p:txBody>
      </p:sp>
    </p:spTree>
    <p:extLst>
      <p:ext uri="{BB962C8B-B14F-4D97-AF65-F5344CB8AC3E}">
        <p14:creationId xmlns:p14="http://schemas.microsoft.com/office/powerpoint/2010/main" val="24181807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3887788" y="741363"/>
            <a:ext cx="4629150" cy="36544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a:xfrm>
            <a:off x="6421736" y="4230187"/>
            <a:ext cx="2057400" cy="274637"/>
          </a:xfrm>
          <a:prstGeom prst="rect">
            <a:avLst/>
          </a:prstGeom>
        </p:spPr>
        <p:txBody>
          <a:bodyPr/>
          <a:lstStyle/>
          <a:p>
            <a:fld id="{FDAD43D5-129F-4869-9B4F-0097813E4B0C}" type="slidenum">
              <a:rPr lang="en-IN" smtClean="0"/>
              <a:t>‹#›</a:t>
            </a:fld>
            <a:endParaRPr lang="en-IN"/>
          </a:p>
        </p:txBody>
      </p:sp>
      <p:sp>
        <p:nvSpPr>
          <p:cNvPr id="9" name="Slide Number Placeholder 3"/>
          <p:cNvSpPr txBox="1">
            <a:spLocks/>
          </p:cNvSpPr>
          <p:nvPr userDrawn="1"/>
        </p:nvSpPr>
        <p:spPr>
          <a:xfrm>
            <a:off x="4038600" y="4863217"/>
            <a:ext cx="457200" cy="274637"/>
          </a:xfrm>
          <a:prstGeom prst="rect">
            <a:avLst/>
          </a:prstGeom>
        </p:spPr>
        <p:txBody>
          <a:bodyPr vert="horz" lIns="91440" tIns="45720" rIns="91440" bIns="45720" rtlCol="0" anchor="ctr"/>
          <a:lstStyle>
            <a:defPPr>
              <a:defRPr lang="en-US"/>
            </a:defPPr>
            <a:lvl1pPr marL="0" algn="ctr" defTabSz="914400" rtl="0" eaLnBrk="1" latinLnBrk="0" hangingPunct="1">
              <a:defRPr sz="8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9C9E5A2-E050-4219-93F8-78B0C7250E7B}" type="slidenum">
              <a:rPr lang="en-US" smtClean="0"/>
              <a:pPr/>
              <a:t>‹#›</a:t>
            </a:fld>
            <a:endParaRPr lang="en-US" dirty="0"/>
          </a:p>
        </p:txBody>
      </p:sp>
      <p:cxnSp>
        <p:nvCxnSpPr>
          <p:cNvPr id="10" name="Straight Connector 9"/>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42127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2.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Footer Placeholder 4"/>
          <p:cNvSpPr txBox="1">
            <a:spLocks/>
          </p:cNvSpPr>
          <p:nvPr userDrawn="1"/>
        </p:nvSpPr>
        <p:spPr>
          <a:xfrm>
            <a:off x="6477000" y="4736306"/>
            <a:ext cx="2296274" cy="273844"/>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0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b="1" cap="none" spc="0" dirty="0">
                <a:ln>
                  <a:noFill/>
                </a:ln>
                <a:solidFill>
                  <a:schemeClr val="tx1">
                    <a:lumMod val="85000"/>
                    <a:lumOff val="15000"/>
                  </a:schemeClr>
                </a:solidFill>
                <a:effectLst/>
                <a:latin typeface="+mn-lt"/>
                <a:cs typeface="Arial" pitchFamily="34" charset="0"/>
              </a:rPr>
              <a:t>INNOVATE - INTEGRATE - TRANSFORM</a:t>
            </a:r>
          </a:p>
        </p:txBody>
      </p:sp>
      <p:cxnSp>
        <p:nvCxnSpPr>
          <p:cNvPr id="9" name="Straight Connector 8"/>
          <p:cNvCxnSpPr/>
          <p:nvPr userDrawn="1"/>
        </p:nvCxnSpPr>
        <p:spPr>
          <a:xfrm>
            <a:off x="457200" y="4820652"/>
            <a:ext cx="6114073" cy="0"/>
          </a:xfrm>
          <a:prstGeom prst="line">
            <a:avLst/>
          </a:prstGeom>
          <a:ln w="22225">
            <a:solidFill>
              <a:srgbClr val="E30613"/>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457200" y="4866372"/>
            <a:ext cx="6114073" cy="0"/>
          </a:xfrm>
          <a:prstGeom prst="line">
            <a:avLst/>
          </a:prstGeom>
          <a:ln w="22225">
            <a:solidFill>
              <a:srgbClr val="008BD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7200" y="4912092"/>
            <a:ext cx="6114073" cy="0"/>
          </a:xfrm>
          <a:prstGeom prst="line">
            <a:avLst/>
          </a:prstGeom>
          <a:ln w="22225">
            <a:solidFill>
              <a:srgbClr val="FFCC00"/>
            </a:solidFill>
          </a:ln>
        </p:spPr>
        <p:style>
          <a:lnRef idx="1">
            <a:schemeClr val="accent1"/>
          </a:lnRef>
          <a:fillRef idx="0">
            <a:schemeClr val="accent1"/>
          </a:fillRef>
          <a:effectRef idx="0">
            <a:schemeClr val="accent1"/>
          </a:effectRef>
          <a:fontRef idx="minor">
            <a:schemeClr val="tx1"/>
          </a:fontRef>
        </p:style>
      </p:cxnSp>
      <p:sp>
        <p:nvSpPr>
          <p:cNvPr id="18" name="Slide Number Placeholder 17"/>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372B14DA-0725-441A-AF20-5A85B13C0C19}" type="slidenum">
              <a:rPr lang="en-IN" smtClean="0"/>
              <a:t>‹#›</a:t>
            </a:fld>
            <a:endParaRPr lang="en-IN"/>
          </a:p>
        </p:txBody>
      </p:sp>
      <p:sp>
        <p:nvSpPr>
          <p:cNvPr id="13" name="Title 1"/>
          <p:cNvSpPr txBox="1">
            <a:spLocks/>
          </p:cNvSpPr>
          <p:nvPr userDrawn="1"/>
        </p:nvSpPr>
        <p:spPr>
          <a:xfrm>
            <a:off x="334944" y="4959048"/>
            <a:ext cx="1289540" cy="162491"/>
          </a:xfrm>
          <a:prstGeom prst="rect">
            <a:avLst/>
          </a:prstGeom>
        </p:spPr>
        <p:txBody>
          <a:bodyPr anchor="ctr"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algn="ctr"/>
            <a:r>
              <a:rPr lang="en-US" sz="900" dirty="0">
                <a:latin typeface="Calibri" pitchFamily="34" charset="0"/>
                <a:cs typeface="Calibri" pitchFamily="34" charset="0"/>
              </a:rPr>
              <a:t>© ALTEN Calsoft Labs</a:t>
            </a:r>
          </a:p>
        </p:txBody>
      </p:sp>
      <p:pic>
        <p:nvPicPr>
          <p:cNvPr id="16" name="Picture 15"/>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600336" y="230886"/>
            <a:ext cx="2133600" cy="512064"/>
          </a:xfrm>
          <a:prstGeom prst="rect">
            <a:avLst/>
          </a:prstGeom>
        </p:spPr>
      </p:pic>
    </p:spTree>
    <p:extLst>
      <p:ext uri="{BB962C8B-B14F-4D97-AF65-F5344CB8AC3E}">
        <p14:creationId xmlns:p14="http://schemas.microsoft.com/office/powerpoint/2010/main" val="3353934629"/>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Lst>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Footer Placeholder 4"/>
          <p:cNvSpPr txBox="1">
            <a:spLocks/>
          </p:cNvSpPr>
          <p:nvPr userDrawn="1"/>
        </p:nvSpPr>
        <p:spPr>
          <a:xfrm>
            <a:off x="6477000" y="4736306"/>
            <a:ext cx="2296274" cy="273844"/>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0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a:solidFill>
                  <a:prstClr val="black">
                    <a:lumMod val="85000"/>
                    <a:lumOff val="15000"/>
                  </a:prstClr>
                </a:solidFill>
                <a:cs typeface="Arial" pitchFamily="34" charset="0"/>
              </a:rPr>
              <a:t>INNOVATE - INTEGRATE - TRANSFORM</a:t>
            </a:r>
          </a:p>
        </p:txBody>
      </p:sp>
      <p:cxnSp>
        <p:nvCxnSpPr>
          <p:cNvPr id="9" name="Straight Connector 8"/>
          <p:cNvCxnSpPr/>
          <p:nvPr userDrawn="1"/>
        </p:nvCxnSpPr>
        <p:spPr>
          <a:xfrm>
            <a:off x="457200" y="4820652"/>
            <a:ext cx="6114073" cy="0"/>
          </a:xfrm>
          <a:prstGeom prst="line">
            <a:avLst/>
          </a:prstGeom>
          <a:ln w="22225">
            <a:solidFill>
              <a:srgbClr val="E30613"/>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457200" y="4866372"/>
            <a:ext cx="6114073" cy="0"/>
          </a:xfrm>
          <a:prstGeom prst="line">
            <a:avLst/>
          </a:prstGeom>
          <a:ln w="22225">
            <a:solidFill>
              <a:srgbClr val="008BD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7200" y="4912092"/>
            <a:ext cx="6114073" cy="0"/>
          </a:xfrm>
          <a:prstGeom prst="line">
            <a:avLst/>
          </a:prstGeom>
          <a:ln w="22225">
            <a:solidFill>
              <a:srgbClr val="FFCC00"/>
            </a:solidFill>
          </a:ln>
        </p:spPr>
        <p:style>
          <a:lnRef idx="1">
            <a:schemeClr val="accent1"/>
          </a:lnRef>
          <a:fillRef idx="0">
            <a:schemeClr val="accent1"/>
          </a:fillRef>
          <a:effectRef idx="0">
            <a:schemeClr val="accent1"/>
          </a:effectRef>
          <a:fontRef idx="minor">
            <a:schemeClr val="tx1"/>
          </a:fontRef>
        </p:style>
      </p:cxnSp>
      <p:sp>
        <p:nvSpPr>
          <p:cNvPr id="18" name="Slide Number Placeholder 17"/>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372B14DA-0725-441A-AF20-5A85B13C0C19}" type="slidenum">
              <a:rPr lang="en-IN" smtClean="0">
                <a:solidFill>
                  <a:prstClr val="black">
                    <a:tint val="75000"/>
                  </a:prstClr>
                </a:solidFill>
              </a:rPr>
              <a:pPr/>
              <a:t>‹#›</a:t>
            </a:fld>
            <a:endParaRPr lang="en-IN">
              <a:solidFill>
                <a:prstClr val="black">
                  <a:tint val="75000"/>
                </a:prstClr>
              </a:solidFill>
            </a:endParaRPr>
          </a:p>
        </p:txBody>
      </p:sp>
      <p:sp>
        <p:nvSpPr>
          <p:cNvPr id="13" name="Title 1"/>
          <p:cNvSpPr txBox="1">
            <a:spLocks/>
          </p:cNvSpPr>
          <p:nvPr userDrawn="1"/>
        </p:nvSpPr>
        <p:spPr>
          <a:xfrm>
            <a:off x="334944" y="4959048"/>
            <a:ext cx="1289540" cy="162491"/>
          </a:xfrm>
          <a:prstGeom prst="rect">
            <a:avLst/>
          </a:prstGeom>
        </p:spPr>
        <p:txBody>
          <a:bodyPr anchor="ctr" anchorCtr="0">
            <a:no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algn="ctr"/>
            <a:r>
              <a:rPr lang="en-US" sz="900" dirty="0">
                <a:solidFill>
                  <a:prstClr val="black"/>
                </a:solidFill>
                <a:latin typeface="Calibri" pitchFamily="34" charset="0"/>
                <a:cs typeface="Calibri" pitchFamily="34" charset="0"/>
              </a:rPr>
              <a:t>© ALTEN Calsoft Labs</a:t>
            </a:r>
          </a:p>
        </p:txBody>
      </p:sp>
      <p:pic>
        <p:nvPicPr>
          <p:cNvPr id="16" name="Picture 15"/>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600336" y="230886"/>
            <a:ext cx="2133600" cy="512064"/>
          </a:xfrm>
          <a:prstGeom prst="rect">
            <a:avLst/>
          </a:prstGeom>
        </p:spPr>
      </p:pic>
      <p:cxnSp>
        <p:nvCxnSpPr>
          <p:cNvPr id="12" name="Straight Connector 11"/>
          <p:cNvCxnSpPr/>
          <p:nvPr userDrawn="1"/>
        </p:nvCxnSpPr>
        <p:spPr>
          <a:xfrm>
            <a:off x="457200" y="752003"/>
            <a:ext cx="8305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013499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57150"/>
            <a:ext cx="6618514" cy="6858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895350"/>
            <a:ext cx="8305800" cy="3810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p:nvCxnSpPr>
        <p:spPr>
          <a:xfrm>
            <a:off x="457200" y="819150"/>
            <a:ext cx="8686800" cy="0"/>
          </a:xfrm>
          <a:prstGeom prst="line">
            <a:avLst/>
          </a:prstGeom>
          <a:ln w="15875">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457200" y="864528"/>
            <a:ext cx="8685090" cy="14556"/>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457200" y="879084"/>
            <a:ext cx="8686800" cy="0"/>
          </a:xfrm>
          <a:prstGeom prst="line">
            <a:avLst/>
          </a:prstGeom>
          <a:ln w="15875">
            <a:solidFill>
              <a:srgbClr val="FFFF00"/>
            </a:solidFill>
          </a:ln>
        </p:spPr>
        <p:style>
          <a:lnRef idx="2">
            <a:schemeClr val="accent1"/>
          </a:lnRef>
          <a:fillRef idx="0">
            <a:schemeClr val="accent1"/>
          </a:fillRef>
          <a:effectRef idx="1">
            <a:schemeClr val="accent1"/>
          </a:effectRef>
          <a:fontRef idx="minor">
            <a:schemeClr val="tx1"/>
          </a:fontRef>
        </p:style>
      </p:cxnSp>
      <p:pic>
        <p:nvPicPr>
          <p:cNvPr id="4" name="Picture 3"/>
          <p:cNvPicPr>
            <a:picLocks noChangeAspect="1"/>
          </p:cNvPicPr>
          <p:nvPr userDrawn="1"/>
        </p:nvPicPr>
        <p:blipFill rotWithShape="1">
          <a:blip r:embed="rId13" cstate="print">
            <a:extLst>
              <a:ext uri="{28A0092B-C50C-407E-A947-70E740481C1C}">
                <a14:useLocalDpi xmlns:a14="http://schemas.microsoft.com/office/drawing/2010/main" val="0"/>
              </a:ext>
            </a:extLst>
          </a:blip>
          <a:srcRect/>
          <a:stretch/>
        </p:blipFill>
        <p:spPr>
          <a:xfrm>
            <a:off x="7206344" y="304795"/>
            <a:ext cx="1841397" cy="438155"/>
          </a:xfrm>
          <a:prstGeom prst="rect">
            <a:avLst/>
          </a:prstGeom>
        </p:spPr>
      </p:pic>
    </p:spTree>
    <p:extLst>
      <p:ext uri="{BB962C8B-B14F-4D97-AF65-F5344CB8AC3E}">
        <p14:creationId xmlns:p14="http://schemas.microsoft.com/office/powerpoint/2010/main" val="4165430991"/>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hf hdr="0" dt="0"/>
  <p:txStyles>
    <p:titleStyle>
      <a:lvl1pPr algn="l" defTabSz="914400" rtl="0" eaLnBrk="1" latinLnBrk="0" hangingPunct="1">
        <a:spcBef>
          <a:spcPct val="0"/>
        </a:spcBef>
        <a:buNone/>
        <a:defRPr sz="2800" b="1" kern="1200">
          <a:solidFill>
            <a:schemeClr val="tx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emf"/><Relationship Id="rId4" Type="http://schemas.openxmlformats.org/officeDocument/2006/relationships/image" Target="../media/image7.png"/><Relationship Id="rId9" Type="http://schemas.openxmlformats.org/officeDocument/2006/relationships/image" Target="../media/image1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9.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09749" y="3802078"/>
            <a:ext cx="716280" cy="716280"/>
          </a:xfrm>
          <a:prstGeom prst="rect">
            <a:avLst/>
          </a:prstGeom>
          <a:solidFill>
            <a:schemeClr val="accent4">
              <a:alpha val="0"/>
            </a:schemeClr>
          </a:solidFill>
          <a:ln>
            <a:noFill/>
          </a:ln>
          <a:effectLst>
            <a:glow>
              <a:schemeClr val="accent1">
                <a:alpha val="40000"/>
              </a:schemeClr>
            </a:glow>
          </a:effectLst>
          <a:extLst/>
        </p:spPr>
      </p:pic>
      <p:pic>
        <p:nvPicPr>
          <p:cNvPr id="4099" name="Picture 3"/>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58471" y="3790950"/>
            <a:ext cx="716280" cy="716280"/>
          </a:xfrm>
          <a:prstGeom prst="rect">
            <a:avLst/>
          </a:prstGeom>
          <a:solidFill>
            <a:schemeClr val="accent4">
              <a:alpha val="0"/>
            </a:schemeClr>
          </a:solidFill>
          <a:ln>
            <a:noFill/>
          </a:ln>
          <a:effectLst>
            <a:glow>
              <a:schemeClr val="accent1">
                <a:alpha val="40000"/>
              </a:schemeClr>
            </a:glow>
          </a:effectLst>
          <a:extLst/>
        </p:spPr>
      </p:pic>
      <p:pic>
        <p:nvPicPr>
          <p:cNvPr id="4100" name="Picture 4"/>
          <p:cNvPicPr>
            <a:picLocks noChangeAspect="1" noChangeArrowheads="1"/>
          </p:cNvPicPr>
          <p:nvPr/>
        </p:nvPicPr>
        <p:blipFill rotWithShape="1">
          <a:blip r:embed="rId5">
            <a:duotone>
              <a:schemeClr val="accent1">
                <a:shade val="45000"/>
                <a:satMod val="135000"/>
              </a:schemeClr>
              <a:prstClr val="white"/>
            </a:duotone>
            <a:extLst>
              <a:ext uri="{28A0092B-C50C-407E-A947-70E740481C1C}">
                <a14:useLocalDpi xmlns:a14="http://schemas.microsoft.com/office/drawing/2010/main" val="0"/>
              </a:ext>
            </a:extLst>
          </a:blip>
          <a:srcRect b="5882"/>
          <a:stretch/>
        </p:blipFill>
        <p:spPr bwMode="auto">
          <a:xfrm>
            <a:off x="7920471" y="3790950"/>
            <a:ext cx="761048" cy="716280"/>
          </a:xfrm>
          <a:prstGeom prst="rect">
            <a:avLst/>
          </a:prstGeom>
          <a:solidFill>
            <a:schemeClr val="accent4">
              <a:alpha val="0"/>
            </a:schemeClr>
          </a:solidFill>
          <a:ln>
            <a:noFill/>
          </a:ln>
          <a:effectLst>
            <a:glow>
              <a:schemeClr val="accent1">
                <a:alpha val="40000"/>
              </a:schemeClr>
            </a:glow>
          </a:effectLst>
          <a:extLst/>
        </p:spPr>
      </p:pic>
      <p:sp>
        <p:nvSpPr>
          <p:cNvPr id="6" name="Title 1"/>
          <p:cNvSpPr txBox="1">
            <a:spLocks/>
          </p:cNvSpPr>
          <p:nvPr/>
        </p:nvSpPr>
        <p:spPr bwMode="auto">
          <a:xfrm>
            <a:off x="457200" y="4151402"/>
            <a:ext cx="1943100" cy="342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endParaRPr lang="en-US" sz="1200" b="1" dirty="0">
              <a:solidFill>
                <a:srgbClr val="292929"/>
              </a:solidFill>
              <a:latin typeface="Calibri" pitchFamily="34" charset="0"/>
              <a:cs typeface="Calibri" pitchFamily="34" charset="0"/>
            </a:endParaRPr>
          </a:p>
        </p:txBody>
      </p:sp>
      <p:sp>
        <p:nvSpPr>
          <p:cNvPr id="7" name="Title 1"/>
          <p:cNvSpPr txBox="1">
            <a:spLocks/>
          </p:cNvSpPr>
          <p:nvPr/>
        </p:nvSpPr>
        <p:spPr bwMode="auto">
          <a:xfrm>
            <a:off x="457200" y="1854061"/>
            <a:ext cx="5543891" cy="143238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n-US" sz="2400" b="1" dirty="0">
                <a:solidFill>
                  <a:srgbClr val="292929"/>
                </a:solidFill>
                <a:latin typeface="Calibri" pitchFamily="34" charset="0"/>
                <a:cs typeface="Calibri" pitchFamily="34" charset="0"/>
              </a:rPr>
              <a:t>ALTEN Calsoft Labs</a:t>
            </a:r>
          </a:p>
          <a:p>
            <a:pPr algn="l"/>
            <a:r>
              <a:rPr lang="en-US" sz="1600" dirty="0">
                <a:solidFill>
                  <a:srgbClr val="292929"/>
                </a:solidFill>
                <a:latin typeface="Calibri" pitchFamily="34" charset="0"/>
                <a:cs typeface="Calibri" pitchFamily="34" charset="0"/>
              </a:rPr>
              <a:t>Company Introduction</a:t>
            </a:r>
            <a:endParaRPr lang="en-US" sz="1100" dirty="0">
              <a:solidFill>
                <a:srgbClr val="292929"/>
              </a:solidFill>
              <a:latin typeface="Calibri" pitchFamily="34" charset="0"/>
              <a:cs typeface="Calibri" pitchFamily="34" charset="0"/>
            </a:endParaRPr>
          </a:p>
        </p:txBody>
      </p:sp>
    </p:spTree>
    <p:extLst>
      <p:ext uri="{BB962C8B-B14F-4D97-AF65-F5344CB8AC3E}">
        <p14:creationId xmlns:p14="http://schemas.microsoft.com/office/powerpoint/2010/main" val="18392520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4724400" y="760202"/>
            <a:ext cx="4114801" cy="3093154"/>
          </a:xfrm>
          <a:prstGeom prst="rect">
            <a:avLst/>
          </a:prstGeom>
          <a:solidFill>
            <a:srgbClr val="FFFDCD"/>
          </a:solidFill>
        </p:spPr>
        <p:txBody>
          <a:bodyPr wrap="square" rtlCol="0">
            <a:spAutoFit/>
          </a:bodyPr>
          <a:lstStyle/>
          <a:p>
            <a:r>
              <a:rPr lang="en-US" sz="1100" dirty="0">
                <a:solidFill>
                  <a:srgbClr val="C00000"/>
                </a:solidFill>
              </a:rPr>
              <a:t>ALTEN Group is a French multinational company with a global footprint and Euro 1.4 Billion revenue. </a:t>
            </a:r>
          </a:p>
          <a:p>
            <a:r>
              <a:rPr lang="en-US" sz="1100" dirty="0">
                <a:solidFill>
                  <a:srgbClr val="C00000"/>
                </a:solidFill>
              </a:rPr>
              <a:t>It is one of the world’s largest engineering and technology consulting companies with operations in 20 countries and an employee base of almost 20,000 people. </a:t>
            </a:r>
          </a:p>
          <a:p>
            <a:endParaRPr lang="en-US" sz="1100" dirty="0">
              <a:solidFill>
                <a:srgbClr val="C00000"/>
              </a:solidFill>
            </a:endParaRPr>
          </a:p>
          <a:p>
            <a:r>
              <a:rPr lang="en-US" sz="1100" dirty="0">
                <a:solidFill>
                  <a:srgbClr val="C00000"/>
                </a:solidFill>
              </a:rPr>
              <a:t>ALTEN helps some of the world’s biggest companies with their R&amp;D and IT projects. </a:t>
            </a:r>
          </a:p>
          <a:p>
            <a:r>
              <a:rPr lang="en-US" sz="1100" dirty="0">
                <a:solidFill>
                  <a:srgbClr val="C00000"/>
                </a:solidFill>
              </a:rPr>
              <a:t>ALTEN is focused on 5 major industry segments:</a:t>
            </a:r>
          </a:p>
          <a:p>
            <a:pPr marL="228600" indent="-228600">
              <a:buAutoNum type="arabicPeriod"/>
            </a:pPr>
            <a:r>
              <a:rPr lang="en-US" sz="1050" dirty="0">
                <a:solidFill>
                  <a:srgbClr val="C00000"/>
                </a:solidFill>
              </a:rPr>
              <a:t>Aerospace &amp; </a:t>
            </a:r>
            <a:r>
              <a:rPr lang="en-US" sz="1050" dirty="0" err="1">
                <a:solidFill>
                  <a:srgbClr val="C00000"/>
                </a:solidFill>
              </a:rPr>
              <a:t>Defence</a:t>
            </a:r>
            <a:r>
              <a:rPr lang="en-US" sz="1050" dirty="0">
                <a:solidFill>
                  <a:srgbClr val="C00000"/>
                </a:solidFill>
              </a:rPr>
              <a:t>, e.g. EADS Group, Thales, </a:t>
            </a:r>
            <a:r>
              <a:rPr lang="en-US" sz="1050" dirty="0" err="1">
                <a:solidFill>
                  <a:srgbClr val="C00000"/>
                </a:solidFill>
              </a:rPr>
              <a:t>Safran</a:t>
            </a:r>
            <a:r>
              <a:rPr lang="en-US" sz="1050" dirty="0">
                <a:solidFill>
                  <a:srgbClr val="C00000"/>
                </a:solidFill>
              </a:rPr>
              <a:t>, etc.</a:t>
            </a:r>
          </a:p>
          <a:p>
            <a:pPr marL="228600" indent="-228600">
              <a:buAutoNum type="arabicPeriod"/>
            </a:pPr>
            <a:r>
              <a:rPr lang="en-US" sz="1050" dirty="0">
                <a:solidFill>
                  <a:srgbClr val="C00000"/>
                </a:solidFill>
              </a:rPr>
              <a:t>Transportation, e.g. Volvo, Volkswagen, Alstom, Renault, etc.</a:t>
            </a:r>
          </a:p>
          <a:p>
            <a:pPr marL="228600" indent="-228600">
              <a:buFontTx/>
              <a:buAutoNum type="arabicPeriod"/>
            </a:pPr>
            <a:r>
              <a:rPr lang="en-US" sz="1050" dirty="0">
                <a:solidFill>
                  <a:srgbClr val="C00000"/>
                </a:solidFill>
              </a:rPr>
              <a:t>Telecom, e.g. Alcatel, Ericsson, France Telecom, Telefonica, etc.</a:t>
            </a:r>
          </a:p>
          <a:p>
            <a:pPr marL="228600" indent="-228600">
              <a:buFontTx/>
              <a:buAutoNum type="arabicPeriod"/>
            </a:pPr>
            <a:r>
              <a:rPr lang="en-US" sz="1050" dirty="0">
                <a:solidFill>
                  <a:srgbClr val="C00000"/>
                </a:solidFill>
              </a:rPr>
              <a:t>Energy &amp; Life sciences, e.g. Total, </a:t>
            </a:r>
            <a:r>
              <a:rPr lang="en-US" sz="1050" dirty="0" err="1">
                <a:solidFill>
                  <a:srgbClr val="C00000"/>
                </a:solidFill>
              </a:rPr>
              <a:t>Areva</a:t>
            </a:r>
            <a:r>
              <a:rPr lang="en-US" sz="1050" dirty="0">
                <a:solidFill>
                  <a:srgbClr val="C00000"/>
                </a:solidFill>
              </a:rPr>
              <a:t>, GE, Roche Group, etc.</a:t>
            </a:r>
          </a:p>
          <a:p>
            <a:pPr marL="228600" indent="-228600">
              <a:buFontTx/>
              <a:buAutoNum type="arabicPeriod"/>
            </a:pPr>
            <a:r>
              <a:rPr lang="en-US" sz="1050" dirty="0">
                <a:solidFill>
                  <a:srgbClr val="C00000"/>
                </a:solidFill>
              </a:rPr>
              <a:t>Financial &amp; Related markets, e.g. </a:t>
            </a:r>
            <a:r>
              <a:rPr lang="en-US" sz="1050" dirty="0" err="1">
                <a:solidFill>
                  <a:srgbClr val="C00000"/>
                </a:solidFill>
              </a:rPr>
              <a:t>Societe</a:t>
            </a:r>
            <a:r>
              <a:rPr lang="en-US" sz="1050" dirty="0">
                <a:solidFill>
                  <a:srgbClr val="C00000"/>
                </a:solidFill>
              </a:rPr>
              <a:t> </a:t>
            </a:r>
            <a:r>
              <a:rPr lang="en-US" sz="1050" dirty="0" err="1">
                <a:solidFill>
                  <a:srgbClr val="C00000"/>
                </a:solidFill>
              </a:rPr>
              <a:t>Generale</a:t>
            </a:r>
            <a:r>
              <a:rPr lang="en-US" sz="1050" dirty="0">
                <a:solidFill>
                  <a:srgbClr val="C00000"/>
                </a:solidFill>
              </a:rPr>
              <a:t>, BNP Paribas, Barclays, AXA, Amadeus, etc.</a:t>
            </a:r>
          </a:p>
          <a:p>
            <a:endParaRPr lang="en-US" sz="1100" dirty="0">
              <a:solidFill>
                <a:srgbClr val="C00000"/>
              </a:solidFill>
            </a:endParaRPr>
          </a:p>
          <a:p>
            <a:r>
              <a:rPr lang="en-US" sz="1100" dirty="0">
                <a:solidFill>
                  <a:srgbClr val="C00000"/>
                </a:solidFill>
              </a:rPr>
              <a:t>ALTEN Group started operations in India in 2009 and it is growing its footprint in India at a fast pace.</a:t>
            </a:r>
          </a:p>
        </p:txBody>
      </p:sp>
      <p:sp>
        <p:nvSpPr>
          <p:cNvPr id="2" name="Title 1"/>
          <p:cNvSpPr txBox="1">
            <a:spLocks/>
          </p:cNvSpPr>
          <p:nvPr/>
        </p:nvSpPr>
        <p:spPr bwMode="auto">
          <a:xfrm>
            <a:off x="457200" y="169254"/>
            <a:ext cx="5543891" cy="4564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n-US" sz="2400" b="1" dirty="0">
                <a:solidFill>
                  <a:srgbClr val="292929"/>
                </a:solidFill>
                <a:latin typeface="Calibri" pitchFamily="34" charset="0"/>
                <a:cs typeface="Calibri" pitchFamily="34" charset="0"/>
              </a:rPr>
              <a:t>ALTEN Group</a:t>
            </a:r>
            <a:endParaRPr lang="en-US" sz="1100" dirty="0">
              <a:solidFill>
                <a:srgbClr val="292929"/>
              </a:solidFill>
              <a:latin typeface="Calibri" pitchFamily="34" charset="0"/>
              <a:cs typeface="Calibri" pitchFamily="34" charset="0"/>
            </a:endParaRPr>
          </a:p>
        </p:txBody>
      </p:sp>
      <p:sp>
        <p:nvSpPr>
          <p:cNvPr id="3" name="Rectangle 2"/>
          <p:cNvSpPr>
            <a:spLocks noChangeArrowheads="1"/>
          </p:cNvSpPr>
          <p:nvPr/>
        </p:nvSpPr>
        <p:spPr bwMode="auto">
          <a:xfrm>
            <a:off x="457200" y="868810"/>
            <a:ext cx="4048874" cy="1017140"/>
          </a:xfrm>
          <a:prstGeom prst="rect">
            <a:avLst/>
          </a:prstGeom>
          <a:noFill/>
          <a:ln w="9525">
            <a:noFill/>
            <a:miter lim="800000"/>
            <a:headEnd/>
            <a:tailEnd/>
          </a:ln>
        </p:spPr>
        <p:txBody>
          <a:bodyPr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spcBef>
                <a:spcPct val="50000"/>
              </a:spcBef>
              <a:buClr>
                <a:srgbClr val="4D4D4D"/>
              </a:buClr>
              <a:buSzPct val="100000"/>
              <a:buFont typeface="Arial" pitchFamily="34" charset="0"/>
              <a:buChar char="•"/>
              <a:defRPr/>
            </a:pPr>
            <a:r>
              <a:rPr lang="en-IN" sz="1100" kern="0" dirty="0">
                <a:solidFill>
                  <a:srgbClr val="292929"/>
                </a:solidFill>
                <a:latin typeface="Calibri" pitchFamily="34" charset="0"/>
                <a:cs typeface="Calibri" pitchFamily="34" charset="0"/>
              </a:rPr>
              <a:t>Leading European Engineering &amp; Technology Consulting Group </a:t>
            </a:r>
          </a:p>
          <a:p>
            <a:pPr marL="171450" indent="-171450">
              <a:spcBef>
                <a:spcPct val="50000"/>
              </a:spcBef>
              <a:buClr>
                <a:srgbClr val="4D4D4D"/>
              </a:buClr>
              <a:buSzPct val="100000"/>
              <a:buFont typeface="Arial" pitchFamily="34" charset="0"/>
              <a:buChar char="•"/>
              <a:defRPr/>
            </a:pPr>
            <a:r>
              <a:rPr lang="en-IN" sz="1100" kern="0" dirty="0">
                <a:solidFill>
                  <a:srgbClr val="292929"/>
                </a:solidFill>
                <a:latin typeface="Calibri" pitchFamily="34" charset="0"/>
                <a:cs typeface="Calibri" pitchFamily="34" charset="0"/>
              </a:rPr>
              <a:t>Set up in 1988, HQ in Paris, Publicly listed [Euronext: ATE]</a:t>
            </a:r>
          </a:p>
          <a:p>
            <a:pPr marL="171450" indent="-171450">
              <a:spcBef>
                <a:spcPct val="50000"/>
              </a:spcBef>
              <a:buClr>
                <a:srgbClr val="4D4D4D"/>
              </a:buClr>
              <a:buSzPct val="100000"/>
              <a:buFont typeface="Arial" pitchFamily="34" charset="0"/>
              <a:buChar char="•"/>
              <a:defRPr/>
            </a:pPr>
            <a:r>
              <a:rPr lang="en-IN" sz="1100" kern="0" dirty="0">
                <a:solidFill>
                  <a:srgbClr val="292929"/>
                </a:solidFill>
                <a:latin typeface="Calibri" pitchFamily="34" charset="0"/>
                <a:cs typeface="Calibri" pitchFamily="34" charset="0"/>
              </a:rPr>
              <a:t>ALTEN helps some of the world's biggest companies with their R&amp;D and Information systems projects</a:t>
            </a:r>
            <a:endParaRPr lang="en-IN" sz="1100" b="1" kern="0" dirty="0">
              <a:solidFill>
                <a:schemeClr val="accent1"/>
              </a:solidFill>
              <a:latin typeface="Calibri" pitchFamily="34" charset="0"/>
              <a:cs typeface="Calibri" pitchFamily="34" charset="0"/>
            </a:endParaRPr>
          </a:p>
        </p:txBody>
      </p:sp>
      <p:grpSp>
        <p:nvGrpSpPr>
          <p:cNvPr id="4" name="Group 3"/>
          <p:cNvGrpSpPr/>
          <p:nvPr/>
        </p:nvGrpSpPr>
        <p:grpSpPr>
          <a:xfrm>
            <a:off x="533400" y="1962150"/>
            <a:ext cx="3896474" cy="620216"/>
            <a:chOff x="578778" y="2942134"/>
            <a:chExt cx="3896474" cy="620216"/>
          </a:xfrm>
        </p:grpSpPr>
        <p:sp>
          <p:nvSpPr>
            <p:cNvPr id="5" name="Rectangle 4"/>
            <p:cNvSpPr/>
            <p:nvPr/>
          </p:nvSpPr>
          <p:spPr>
            <a:xfrm>
              <a:off x="578778" y="2942135"/>
              <a:ext cx="1371599" cy="60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lnSpc>
                  <a:spcPct val="80000"/>
                </a:lnSpc>
                <a:spcBef>
                  <a:spcPts val="0"/>
                </a:spcBef>
                <a:spcAft>
                  <a:spcPts val="0"/>
                </a:spcAft>
                <a:defRPr/>
              </a:pPr>
              <a:r>
                <a:rPr lang="en-US" sz="2400" dirty="0">
                  <a:solidFill>
                    <a:srgbClr val="002060"/>
                  </a:solidFill>
                </a:rPr>
                <a:t>€1,373</a:t>
              </a:r>
            </a:p>
            <a:p>
              <a:pPr fontAlgn="auto">
                <a:lnSpc>
                  <a:spcPct val="80000"/>
                </a:lnSpc>
                <a:spcBef>
                  <a:spcPts val="0"/>
                </a:spcBef>
                <a:spcAft>
                  <a:spcPts val="0"/>
                </a:spcAft>
                <a:defRPr/>
              </a:pPr>
              <a:r>
                <a:rPr lang="en-US" sz="1100" dirty="0">
                  <a:solidFill>
                    <a:srgbClr val="002060"/>
                  </a:solidFill>
                </a:rPr>
                <a:t>MILLION REVENUE</a:t>
              </a:r>
            </a:p>
            <a:p>
              <a:pPr lvl="0" fontAlgn="auto">
                <a:lnSpc>
                  <a:spcPct val="80000"/>
                </a:lnSpc>
                <a:spcBef>
                  <a:spcPts val="300"/>
                </a:spcBef>
                <a:spcAft>
                  <a:spcPts val="0"/>
                </a:spcAft>
                <a:defRPr/>
              </a:pPr>
              <a:r>
                <a:rPr lang="en-IN" sz="800" b="1" dirty="0">
                  <a:solidFill>
                    <a:srgbClr val="C00000"/>
                  </a:solidFill>
                </a:rPr>
                <a:t>55% France, 45% Overseas</a:t>
              </a:r>
            </a:p>
          </p:txBody>
        </p:sp>
        <p:sp>
          <p:nvSpPr>
            <p:cNvPr id="6" name="Rectangle 5"/>
            <p:cNvSpPr/>
            <p:nvPr/>
          </p:nvSpPr>
          <p:spPr>
            <a:xfrm>
              <a:off x="3179851" y="2942134"/>
              <a:ext cx="1295401" cy="606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lnSpc>
                  <a:spcPct val="80000"/>
                </a:lnSpc>
                <a:spcBef>
                  <a:spcPts val="0"/>
                </a:spcBef>
                <a:spcAft>
                  <a:spcPts val="0"/>
                </a:spcAft>
                <a:defRPr/>
              </a:pPr>
              <a:r>
                <a:rPr lang="en-US" sz="2400" dirty="0">
                  <a:solidFill>
                    <a:srgbClr val="002060"/>
                  </a:solidFill>
                </a:rPr>
                <a:t>18,400</a:t>
              </a:r>
            </a:p>
            <a:p>
              <a:pPr fontAlgn="auto">
                <a:lnSpc>
                  <a:spcPct val="80000"/>
                </a:lnSpc>
                <a:spcBef>
                  <a:spcPts val="0"/>
                </a:spcBef>
                <a:spcAft>
                  <a:spcPts val="0"/>
                </a:spcAft>
                <a:defRPr/>
              </a:pPr>
              <a:r>
                <a:rPr lang="en-US" sz="1100" dirty="0">
                  <a:solidFill>
                    <a:srgbClr val="002060"/>
                  </a:solidFill>
                </a:rPr>
                <a:t>EMPLOYEES</a:t>
              </a:r>
            </a:p>
            <a:p>
              <a:pPr fontAlgn="auto">
                <a:lnSpc>
                  <a:spcPct val="80000"/>
                </a:lnSpc>
                <a:spcBef>
                  <a:spcPts val="300"/>
                </a:spcBef>
                <a:spcAft>
                  <a:spcPts val="0"/>
                </a:spcAft>
                <a:defRPr/>
              </a:pPr>
              <a:r>
                <a:rPr lang="en-US" sz="800" b="1" dirty="0">
                  <a:solidFill>
                    <a:srgbClr val="C00000"/>
                  </a:solidFill>
                </a:rPr>
                <a:t>88% Engineers</a:t>
              </a:r>
              <a:endParaRPr lang="en-IN" sz="1100" dirty="0">
                <a:solidFill>
                  <a:srgbClr val="002060"/>
                </a:solidFill>
              </a:endParaRPr>
            </a:p>
          </p:txBody>
        </p:sp>
        <p:sp>
          <p:nvSpPr>
            <p:cNvPr id="7" name="Rectangle 6"/>
            <p:cNvSpPr/>
            <p:nvPr/>
          </p:nvSpPr>
          <p:spPr>
            <a:xfrm>
              <a:off x="1872466" y="2942134"/>
              <a:ext cx="1371600" cy="620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lnSpc>
                  <a:spcPct val="80000"/>
                </a:lnSpc>
                <a:spcBef>
                  <a:spcPts val="0"/>
                </a:spcBef>
                <a:spcAft>
                  <a:spcPts val="0"/>
                </a:spcAft>
                <a:defRPr/>
              </a:pPr>
              <a:r>
                <a:rPr lang="en-US" sz="1100" dirty="0">
                  <a:solidFill>
                    <a:srgbClr val="002060"/>
                  </a:solidFill>
                </a:rPr>
                <a:t>PRESENT IN</a:t>
              </a:r>
            </a:p>
            <a:p>
              <a:pPr fontAlgn="auto">
                <a:lnSpc>
                  <a:spcPct val="80000"/>
                </a:lnSpc>
                <a:spcBef>
                  <a:spcPts val="0"/>
                </a:spcBef>
                <a:spcAft>
                  <a:spcPts val="0"/>
                </a:spcAft>
                <a:defRPr/>
              </a:pPr>
              <a:r>
                <a:rPr lang="en-US" sz="2400" dirty="0">
                  <a:solidFill>
                    <a:srgbClr val="002060"/>
                  </a:solidFill>
                </a:rPr>
                <a:t>20</a:t>
              </a:r>
              <a:r>
                <a:rPr lang="en-US" sz="1400" dirty="0">
                  <a:solidFill>
                    <a:srgbClr val="002060"/>
                  </a:solidFill>
                </a:rPr>
                <a:t> </a:t>
              </a:r>
              <a:r>
                <a:rPr lang="en-US" sz="1100" dirty="0">
                  <a:solidFill>
                    <a:srgbClr val="002060"/>
                  </a:solidFill>
                </a:rPr>
                <a:t>COUNTRIES, </a:t>
              </a:r>
            </a:p>
            <a:p>
              <a:pPr lvl="0" fontAlgn="auto">
                <a:lnSpc>
                  <a:spcPct val="80000"/>
                </a:lnSpc>
                <a:spcBef>
                  <a:spcPts val="0"/>
                </a:spcBef>
                <a:spcAft>
                  <a:spcPts val="0"/>
                </a:spcAft>
                <a:defRPr/>
              </a:pPr>
              <a:r>
                <a:rPr lang="en-US" sz="800" b="1" dirty="0">
                  <a:solidFill>
                    <a:srgbClr val="C00000"/>
                  </a:solidFill>
                </a:rPr>
                <a:t>31% International Growth </a:t>
              </a:r>
              <a:endParaRPr lang="en-IN" sz="1100" dirty="0">
                <a:solidFill>
                  <a:srgbClr val="002060"/>
                </a:solidFill>
              </a:endParaRPr>
            </a:p>
          </p:txBody>
        </p:sp>
        <p:cxnSp>
          <p:nvCxnSpPr>
            <p:cNvPr id="8" name="Straight Connector 7"/>
            <p:cNvCxnSpPr/>
            <p:nvPr/>
          </p:nvCxnSpPr>
          <p:spPr>
            <a:xfrm>
              <a:off x="1857910" y="2970733"/>
              <a:ext cx="0" cy="51541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165294" y="2970733"/>
              <a:ext cx="0" cy="515417"/>
            </a:xfrm>
            <a:prstGeom prst="line">
              <a:avLst/>
            </a:prstGeom>
          </p:spPr>
          <p:style>
            <a:lnRef idx="1">
              <a:schemeClr val="accent1"/>
            </a:lnRef>
            <a:fillRef idx="0">
              <a:schemeClr val="accent1"/>
            </a:fillRef>
            <a:effectRef idx="0">
              <a:schemeClr val="accent1"/>
            </a:effectRef>
            <a:fontRef idx="minor">
              <a:schemeClr val="tx1"/>
            </a:fontRef>
          </p:style>
        </p:cxnSp>
      </p:grpSp>
      <p:sp>
        <p:nvSpPr>
          <p:cNvPr id="11" name="Rounded Rectangle 10"/>
          <p:cNvSpPr/>
          <p:nvPr/>
        </p:nvSpPr>
        <p:spPr>
          <a:xfrm>
            <a:off x="477749" y="3875936"/>
            <a:ext cx="8361452" cy="753214"/>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9" name="TextBox 18"/>
          <p:cNvSpPr txBox="1"/>
          <p:nvPr/>
        </p:nvSpPr>
        <p:spPr>
          <a:xfrm>
            <a:off x="628190" y="3739136"/>
            <a:ext cx="1124410" cy="276999"/>
          </a:xfrm>
          <a:prstGeom prst="rect">
            <a:avLst/>
          </a:prstGeom>
          <a:solidFill>
            <a:schemeClr val="bg1"/>
          </a:solidFill>
        </p:spPr>
        <p:txBody>
          <a:bodyPr wrap="none" rtlCol="0">
            <a:spAutoFit/>
          </a:bodyPr>
          <a:lstStyle/>
          <a:p>
            <a:r>
              <a:rPr lang="en-US" sz="1200" b="1" dirty="0">
                <a:solidFill>
                  <a:schemeClr val="tx2"/>
                </a:solidFill>
                <a:latin typeface="Calibri" pitchFamily="34" charset="0"/>
                <a:cs typeface="Calibri" pitchFamily="34" charset="0"/>
              </a:rPr>
              <a:t>Key Customers</a:t>
            </a:r>
          </a:p>
        </p:txBody>
      </p:sp>
      <p:sp>
        <p:nvSpPr>
          <p:cNvPr id="26" name="Rectangle 25"/>
          <p:cNvSpPr/>
          <p:nvPr/>
        </p:nvSpPr>
        <p:spPr>
          <a:xfrm>
            <a:off x="1316040" y="2837506"/>
            <a:ext cx="3179760" cy="461665"/>
          </a:xfrm>
          <a:prstGeom prst="rect">
            <a:avLst/>
          </a:prstGeom>
        </p:spPr>
        <p:txBody>
          <a:bodyPr wrap="square">
            <a:spAutoFit/>
          </a:bodyPr>
          <a:lstStyle/>
          <a:p>
            <a:r>
              <a:rPr lang="en-US" sz="1200" dirty="0">
                <a:latin typeface="Calibri" pitchFamily="34" charset="0"/>
                <a:cs typeface="Calibri" pitchFamily="34" charset="0"/>
              </a:rPr>
              <a:t>Track record of working with leading global customers for over 25 years</a:t>
            </a:r>
          </a:p>
        </p:txBody>
      </p:sp>
      <p:pic>
        <p:nvPicPr>
          <p:cNvPr id="27" name="Picture 26"/>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99326" y="2761306"/>
            <a:ext cx="605652" cy="605652"/>
          </a:xfrm>
          <a:prstGeom prst="rect">
            <a:avLst/>
          </a:prstGeom>
        </p:spPr>
      </p:pic>
      <p:pic>
        <p:nvPicPr>
          <p:cNvPr id="2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3282" y="4011688"/>
            <a:ext cx="747536" cy="5311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86600" y="4030048"/>
            <a:ext cx="441928" cy="4419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9"/>
          <p:cNvPicPr>
            <a:picLocks noChangeAspect="1" noChangeArrowheads="1"/>
          </p:cNvPicPr>
          <p:nvPr/>
        </p:nvPicPr>
        <p:blipFill rotWithShape="1">
          <a:blip r:embed="rId6">
            <a:extLst>
              <a:ext uri="{28A0092B-C50C-407E-A947-70E740481C1C}">
                <a14:useLocalDpi xmlns:a14="http://schemas.microsoft.com/office/drawing/2010/main" val="0"/>
              </a:ext>
            </a:extLst>
          </a:blip>
          <a:srcRect t="32385" b="33808"/>
          <a:stretch/>
        </p:blipFill>
        <p:spPr bwMode="auto">
          <a:xfrm>
            <a:off x="1447800" y="4106441"/>
            <a:ext cx="1219200" cy="2891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1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743200" y="3946212"/>
            <a:ext cx="60960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31"/>
          <p:cNvPicPr>
            <a:picLocks noChangeAspect="1"/>
          </p:cNvPicPr>
          <p:nvPr/>
        </p:nvPicPr>
        <p:blipFill rotWithShape="1">
          <a:blip r:embed="rId8" cstate="print">
            <a:extLst>
              <a:ext uri="{28A0092B-C50C-407E-A947-70E740481C1C}">
                <a14:useLocalDpi xmlns:a14="http://schemas.microsoft.com/office/drawing/2010/main" val="0"/>
              </a:ext>
            </a:extLst>
          </a:blip>
          <a:srcRect t="38889" b="38667"/>
          <a:stretch/>
        </p:blipFill>
        <p:spPr>
          <a:xfrm>
            <a:off x="7670368" y="4130149"/>
            <a:ext cx="1076998" cy="241727"/>
          </a:xfrm>
          <a:prstGeom prst="rect">
            <a:avLst/>
          </a:prstGeom>
        </p:spPr>
      </p:pic>
      <p:pic>
        <p:nvPicPr>
          <p:cNvPr id="34" name="Picture 3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267200" y="3952308"/>
            <a:ext cx="1066800" cy="597408"/>
          </a:xfrm>
          <a:prstGeom prst="rect">
            <a:avLst/>
          </a:prstGeom>
        </p:spPr>
      </p:pic>
      <p:pic>
        <p:nvPicPr>
          <p:cNvPr id="35" name="Logo_ChapterSlide_Normal"/>
          <p:cNvPicPr>
            <a:picLocks/>
          </p:cNvPicPr>
          <p:nvPr/>
        </p:nvPicPr>
        <p:blipFill rotWithShape="1">
          <a:blip r:embed="rId10" cstate="print">
            <a:extLst>
              <a:ext uri="{28A0092B-C50C-407E-A947-70E740481C1C}">
                <a14:useLocalDpi xmlns:a14="http://schemas.microsoft.com/office/drawing/2010/main" val="0"/>
              </a:ext>
            </a:extLst>
          </a:blip>
          <a:srcRect l="11523" t="12084" r="7423" b="15062"/>
          <a:stretch/>
        </p:blipFill>
        <p:spPr>
          <a:xfrm>
            <a:off x="3429000" y="3953091"/>
            <a:ext cx="876302" cy="595843"/>
          </a:xfrm>
          <a:prstGeom prst="rect">
            <a:avLst/>
          </a:prstGeom>
        </p:spPr>
      </p:pic>
      <p:sp>
        <p:nvSpPr>
          <p:cNvPr id="22" name="Slide Number Placeholder 1"/>
          <p:cNvSpPr txBox="1">
            <a:spLocks/>
          </p:cNvSpPr>
          <p:nvPr/>
        </p:nvSpPr>
        <p:spPr>
          <a:xfrm>
            <a:off x="8641422" y="4765197"/>
            <a:ext cx="323850" cy="219075"/>
          </a:xfrm>
          <a:prstGeom prst="rect">
            <a:avLst/>
          </a:prstGeom>
        </p:spPr>
        <p:txBody>
          <a:bodyPr vert="horz" lIns="91440" tIns="45720" rIns="91440" bIns="45720" rtlCol="0" anchor="ctr"/>
          <a:lstStyle>
            <a:defPPr>
              <a:defRPr lang="en-US"/>
            </a:defPPr>
            <a:lvl1pPr algn="r" fontAlgn="auto">
              <a:spcBef>
                <a:spcPts val="0"/>
              </a:spcBef>
              <a:spcAft>
                <a:spcPts val="0"/>
              </a:spcAft>
              <a:defRPr sz="900" b="1" smtClean="0">
                <a:solidFill>
                  <a:schemeClr val="tx1">
                    <a:tint val="75000"/>
                  </a:schemeClr>
                </a:solidFill>
              </a:defRPr>
            </a:lvl1pPr>
          </a:lstStyle>
          <a:p>
            <a:fld id="{FE52E6A2-39D7-4D40-A437-04022A17C121}" type="slidenum">
              <a:rPr lang="en-US"/>
              <a:pPr/>
              <a:t>2</a:t>
            </a:fld>
            <a:endParaRPr lang="en-US" dirty="0"/>
          </a:p>
        </p:txBody>
      </p:sp>
      <p:sp>
        <p:nvSpPr>
          <p:cNvPr id="12" name="AutoShape 2" descr="Image result for total logo"/>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AutoShape 4" descr="Image result for total logo"/>
          <p:cNvSpPr>
            <a:spLocks noChangeAspect="1" noChangeArrowheads="1"/>
          </p:cNvSpPr>
          <p:nvPr/>
        </p:nvSpPr>
        <p:spPr bwMode="auto">
          <a:xfrm>
            <a:off x="215900"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29" name="Picture 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410200" y="3946212"/>
            <a:ext cx="60960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2" name="Picture 8"/>
          <p:cNvPicPr>
            <a:picLocks noChangeAspect="1" noChangeArrowheads="1"/>
          </p:cNvPicPr>
          <p:nvPr/>
        </p:nvPicPr>
        <p:blipFill rotWithShape="1">
          <a:blip r:embed="rId12">
            <a:extLst>
              <a:ext uri="{28A0092B-C50C-407E-A947-70E740481C1C}">
                <a14:useLocalDpi xmlns:a14="http://schemas.microsoft.com/office/drawing/2010/main" val="0"/>
              </a:ext>
            </a:extLst>
          </a:blip>
          <a:srcRect t="19930" b="21769"/>
          <a:stretch/>
        </p:blipFill>
        <p:spPr bwMode="auto">
          <a:xfrm>
            <a:off x="6153074" y="4041198"/>
            <a:ext cx="738873" cy="4307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069366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457200" y="169254"/>
            <a:ext cx="5543891" cy="4564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n-US" sz="2400" b="1" dirty="0">
                <a:solidFill>
                  <a:srgbClr val="292929"/>
                </a:solidFill>
                <a:latin typeface="Calibri" pitchFamily="34" charset="0"/>
                <a:cs typeface="Calibri" pitchFamily="34" charset="0"/>
              </a:rPr>
              <a:t>ALTEN Calsoft Labs</a:t>
            </a:r>
            <a:endParaRPr lang="en-US" sz="1100" dirty="0">
              <a:solidFill>
                <a:srgbClr val="292929"/>
              </a:solidFill>
              <a:latin typeface="Calibri" pitchFamily="34" charset="0"/>
              <a:cs typeface="Calibri" pitchFamily="34" charset="0"/>
            </a:endParaRPr>
          </a:p>
        </p:txBody>
      </p:sp>
      <p:sp>
        <p:nvSpPr>
          <p:cNvPr id="9" name="Rectangle 8"/>
          <p:cNvSpPr>
            <a:spLocks noChangeArrowheads="1"/>
          </p:cNvSpPr>
          <p:nvPr/>
        </p:nvSpPr>
        <p:spPr bwMode="auto">
          <a:xfrm>
            <a:off x="381001" y="792334"/>
            <a:ext cx="4267199" cy="3913016"/>
          </a:xfrm>
          <a:prstGeom prst="rect">
            <a:avLst/>
          </a:prstGeom>
          <a:noFill/>
          <a:ln w="9525">
            <a:noFill/>
            <a:miter lim="800000"/>
            <a:headEnd/>
            <a:tailEnd/>
          </a:ln>
        </p:spPr>
        <p:txBody>
          <a:bodyPr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4625" indent="-174625">
              <a:spcBef>
                <a:spcPts val="600"/>
              </a:spcBef>
              <a:buClr>
                <a:srgbClr val="4D4D4D"/>
              </a:buClr>
              <a:buSzPct val="100000"/>
              <a:buFont typeface="Arial" pitchFamily="34" charset="0"/>
              <a:buChar char="•"/>
              <a:defRPr/>
            </a:pPr>
            <a:r>
              <a:rPr lang="en-IN" sz="1100" kern="0" dirty="0">
                <a:solidFill>
                  <a:srgbClr val="292929"/>
                </a:solidFill>
                <a:latin typeface="Calibri" pitchFamily="34" charset="0"/>
                <a:cs typeface="Calibri" pitchFamily="34" charset="0"/>
              </a:rPr>
              <a:t>Product Engineering and IT Services arm of the ALTEN Group</a:t>
            </a:r>
          </a:p>
          <a:p>
            <a:pPr marL="174625" indent="-174625">
              <a:spcBef>
                <a:spcPts val="600"/>
              </a:spcBef>
              <a:buClr>
                <a:srgbClr val="4D4D4D"/>
              </a:buClr>
              <a:buSzPct val="100000"/>
              <a:buFont typeface="Arial" pitchFamily="34" charset="0"/>
              <a:buChar char="•"/>
              <a:defRPr/>
            </a:pPr>
            <a:r>
              <a:rPr lang="it-IT" sz="1100" kern="0" dirty="0">
                <a:solidFill>
                  <a:srgbClr val="292929"/>
                </a:solidFill>
                <a:latin typeface="Calibri" pitchFamily="34" charset="0"/>
                <a:cs typeface="Calibri" pitchFamily="34" charset="0"/>
              </a:rPr>
              <a:t>Founded in 1992 | Head quartered in Silicon Valley, USA | Acquired by ALTEN Group in 2011  |  Over 1200 employees</a:t>
            </a:r>
          </a:p>
          <a:p>
            <a:pPr marL="174625" indent="-174625">
              <a:spcBef>
                <a:spcPts val="600"/>
              </a:spcBef>
              <a:buClr>
                <a:srgbClr val="4D4D4D"/>
              </a:buClr>
              <a:buSzPct val="100000"/>
              <a:buFont typeface="Arial" pitchFamily="34" charset="0"/>
              <a:buChar char="•"/>
              <a:defRPr/>
            </a:pPr>
            <a:r>
              <a:rPr lang="en-IN" sz="1100" kern="0" dirty="0">
                <a:solidFill>
                  <a:srgbClr val="292929"/>
                </a:solidFill>
                <a:latin typeface="Calibri" pitchFamily="34" charset="0"/>
                <a:cs typeface="Calibri" pitchFamily="34" charset="0"/>
              </a:rPr>
              <a:t>Focus on leveraging disruptive technologies to solve business challenges for customers</a:t>
            </a:r>
          </a:p>
          <a:p>
            <a:pPr marL="174625" indent="-174625">
              <a:spcBef>
                <a:spcPts val="600"/>
              </a:spcBef>
              <a:buClr>
                <a:srgbClr val="4D4D4D"/>
              </a:buClr>
              <a:buSzPct val="100000"/>
              <a:buFont typeface="Arial" pitchFamily="34" charset="0"/>
              <a:buChar char="•"/>
              <a:defRPr/>
            </a:pPr>
            <a:r>
              <a:rPr lang="en-IN" sz="1100" kern="0" dirty="0">
                <a:solidFill>
                  <a:srgbClr val="292929"/>
                </a:solidFill>
                <a:latin typeface="Calibri" pitchFamily="34" charset="0"/>
                <a:cs typeface="Calibri" pitchFamily="34" charset="0"/>
              </a:rPr>
              <a:t>Core Service areas </a:t>
            </a:r>
          </a:p>
          <a:p>
            <a:pPr marL="631825" lvl="1" indent="-174625">
              <a:buClr>
                <a:srgbClr val="4D4D4D"/>
              </a:buClr>
              <a:buSzPct val="100000"/>
              <a:buFont typeface="Courier New" pitchFamily="49" charset="0"/>
              <a:buChar char="o"/>
              <a:defRPr/>
            </a:pPr>
            <a:r>
              <a:rPr lang="en-IN" sz="1100" kern="0" dirty="0">
                <a:solidFill>
                  <a:srgbClr val="292929"/>
                </a:solidFill>
                <a:latin typeface="Calibri" pitchFamily="34" charset="0"/>
                <a:cs typeface="Calibri" pitchFamily="34" charset="0"/>
              </a:rPr>
              <a:t>Consulting </a:t>
            </a:r>
          </a:p>
          <a:p>
            <a:pPr marL="631825" lvl="1" indent="-174625">
              <a:spcBef>
                <a:spcPts val="0"/>
              </a:spcBef>
              <a:buClr>
                <a:srgbClr val="4D4D4D"/>
              </a:buClr>
              <a:buSzPct val="100000"/>
              <a:buFont typeface="Courier New" pitchFamily="49" charset="0"/>
              <a:buChar char="o"/>
              <a:defRPr/>
            </a:pPr>
            <a:r>
              <a:rPr lang="en-IN" sz="1100" kern="0" dirty="0">
                <a:solidFill>
                  <a:srgbClr val="292929"/>
                </a:solidFill>
                <a:latin typeface="Calibri" pitchFamily="34" charset="0"/>
                <a:cs typeface="Calibri" pitchFamily="34" charset="0"/>
              </a:rPr>
              <a:t>Product Engineering Services</a:t>
            </a:r>
          </a:p>
          <a:p>
            <a:pPr marL="631825" lvl="1" indent="-174625">
              <a:spcBef>
                <a:spcPts val="0"/>
              </a:spcBef>
              <a:buClr>
                <a:srgbClr val="4D4D4D"/>
              </a:buClr>
              <a:buSzPct val="100000"/>
              <a:buFont typeface="Courier New" pitchFamily="49" charset="0"/>
              <a:buChar char="o"/>
              <a:defRPr/>
            </a:pPr>
            <a:r>
              <a:rPr lang="en-IN" sz="1100" kern="0" dirty="0">
                <a:solidFill>
                  <a:srgbClr val="292929"/>
                </a:solidFill>
                <a:latin typeface="Calibri" pitchFamily="34" charset="0"/>
                <a:cs typeface="Calibri" pitchFamily="34" charset="0"/>
              </a:rPr>
              <a:t>Enterprise IT Services</a:t>
            </a:r>
          </a:p>
          <a:p>
            <a:pPr marL="174625" indent="-174625">
              <a:spcBef>
                <a:spcPts val="600"/>
              </a:spcBef>
              <a:buClr>
                <a:srgbClr val="4D4D4D"/>
              </a:buClr>
              <a:buSzPct val="100000"/>
              <a:buFont typeface="Arial" pitchFamily="34" charset="0"/>
              <a:buChar char="•"/>
              <a:defRPr/>
            </a:pPr>
            <a:r>
              <a:rPr lang="en-IN" sz="1100" kern="0" dirty="0">
                <a:solidFill>
                  <a:srgbClr val="292929"/>
                </a:solidFill>
                <a:latin typeface="Calibri" pitchFamily="34" charset="0"/>
                <a:cs typeface="Calibri" pitchFamily="34" charset="0"/>
              </a:rPr>
              <a:t>Provides complete Product Life cycle Services from “Chip” to “Cloud”</a:t>
            </a:r>
          </a:p>
          <a:p>
            <a:pPr marL="174625" indent="-174625">
              <a:spcBef>
                <a:spcPts val="600"/>
              </a:spcBef>
              <a:buClr>
                <a:srgbClr val="4D4D4D"/>
              </a:buClr>
              <a:buSzPct val="100000"/>
              <a:buFont typeface="Arial" pitchFamily="34" charset="0"/>
              <a:buChar char="•"/>
              <a:defRPr/>
            </a:pPr>
            <a:r>
              <a:rPr lang="en-IN" sz="1100" kern="0" dirty="0">
                <a:solidFill>
                  <a:srgbClr val="292929"/>
                </a:solidFill>
                <a:latin typeface="Calibri" pitchFamily="34" charset="0"/>
                <a:cs typeface="Calibri" pitchFamily="34" charset="0"/>
              </a:rPr>
              <a:t>Strong domain experience in Education, Healthcare, ISV, Retail, Networking and High-tech markets</a:t>
            </a:r>
          </a:p>
          <a:p>
            <a:pPr marL="174625" indent="-174625">
              <a:spcBef>
                <a:spcPts val="600"/>
              </a:spcBef>
              <a:buClr>
                <a:srgbClr val="4D4D4D"/>
              </a:buClr>
              <a:buSzPct val="100000"/>
              <a:buFont typeface="Arial" pitchFamily="34" charset="0"/>
              <a:buChar char="•"/>
              <a:defRPr/>
            </a:pPr>
            <a:r>
              <a:rPr lang="en-IN" sz="1100" kern="0" dirty="0">
                <a:solidFill>
                  <a:srgbClr val="292929"/>
                </a:solidFill>
                <a:latin typeface="Calibri" pitchFamily="34" charset="0"/>
                <a:cs typeface="Calibri" pitchFamily="34" charset="0"/>
              </a:rPr>
              <a:t>3 locations in India  (Bangalore, Chennai, Mysore)</a:t>
            </a:r>
          </a:p>
          <a:p>
            <a:pPr marL="174625" indent="-174625">
              <a:spcBef>
                <a:spcPts val="600"/>
              </a:spcBef>
              <a:buClr>
                <a:srgbClr val="4D4D4D"/>
              </a:buClr>
              <a:buSzPct val="100000"/>
              <a:buFont typeface="Arial" pitchFamily="34" charset="0"/>
              <a:buChar char="•"/>
              <a:defRPr/>
            </a:pPr>
            <a:r>
              <a:rPr lang="en-IN" sz="1100" kern="0" dirty="0">
                <a:solidFill>
                  <a:srgbClr val="292929"/>
                </a:solidFill>
                <a:latin typeface="Calibri" pitchFamily="34" charset="0"/>
                <a:cs typeface="Calibri" pitchFamily="34" charset="0"/>
              </a:rPr>
              <a:t>Industry leading customers in addressed market segments;  Several 10+ year old relationships</a:t>
            </a:r>
          </a:p>
          <a:p>
            <a:pPr marL="174625" indent="-174625">
              <a:spcBef>
                <a:spcPts val="600"/>
              </a:spcBef>
              <a:buClr>
                <a:srgbClr val="4D4D4D"/>
              </a:buClr>
              <a:buSzPct val="100000"/>
              <a:buFont typeface="Arial" pitchFamily="34" charset="0"/>
              <a:buChar char="•"/>
              <a:defRPr/>
            </a:pPr>
            <a:r>
              <a:rPr lang="en-IN" sz="1100" kern="0" dirty="0">
                <a:solidFill>
                  <a:srgbClr val="292929"/>
                </a:solidFill>
                <a:latin typeface="Calibri" pitchFamily="34" charset="0"/>
                <a:cs typeface="Calibri" pitchFamily="34" charset="0"/>
              </a:rPr>
              <a:t>Niche player with Expert resources in emerging </a:t>
            </a:r>
            <a:r>
              <a:rPr lang="en-IN" sz="1100" b="1" kern="0" dirty="0">
                <a:solidFill>
                  <a:srgbClr val="292929"/>
                </a:solidFill>
                <a:latin typeface="Calibri" pitchFamily="34" charset="0"/>
                <a:cs typeface="Calibri" pitchFamily="34" charset="0"/>
              </a:rPr>
              <a:t>Cloud Infrastructure</a:t>
            </a:r>
            <a:r>
              <a:rPr lang="en-IN" sz="1100" kern="0" dirty="0">
                <a:solidFill>
                  <a:srgbClr val="292929"/>
                </a:solidFill>
                <a:latin typeface="Calibri" pitchFamily="34" charset="0"/>
                <a:cs typeface="Calibri" pitchFamily="34" charset="0"/>
              </a:rPr>
              <a:t> and </a:t>
            </a:r>
            <a:r>
              <a:rPr lang="en-IN" sz="1100" b="1" kern="0" dirty="0">
                <a:solidFill>
                  <a:srgbClr val="292929"/>
                </a:solidFill>
                <a:latin typeface="Calibri" pitchFamily="34" charset="0"/>
                <a:cs typeface="Calibri" pitchFamily="34" charset="0"/>
              </a:rPr>
              <a:t>Digital Transformation </a:t>
            </a:r>
            <a:r>
              <a:rPr lang="en-IN" sz="1100" kern="0" dirty="0">
                <a:solidFill>
                  <a:srgbClr val="292929"/>
                </a:solidFill>
                <a:latin typeface="Calibri" pitchFamily="34" charset="0"/>
                <a:cs typeface="Calibri" pitchFamily="34" charset="0"/>
              </a:rPr>
              <a:t>solutions</a:t>
            </a:r>
          </a:p>
          <a:p>
            <a:pPr marL="174625" indent="-174625">
              <a:spcBef>
                <a:spcPts val="600"/>
              </a:spcBef>
              <a:buClr>
                <a:srgbClr val="4D4D4D"/>
              </a:buClr>
              <a:buSzPct val="100000"/>
              <a:buFont typeface="Arial" pitchFamily="34" charset="0"/>
              <a:buChar char="•"/>
              <a:defRPr/>
            </a:pPr>
            <a:r>
              <a:rPr lang="en-IN" sz="1100" kern="0" dirty="0">
                <a:solidFill>
                  <a:srgbClr val="292929"/>
                </a:solidFill>
                <a:latin typeface="Calibri" pitchFamily="34" charset="0"/>
                <a:cs typeface="Calibri" pitchFamily="34" charset="0"/>
              </a:rPr>
              <a:t>Part of ALTEN’s global workforce | </a:t>
            </a:r>
            <a:r>
              <a:rPr lang="en-IN" sz="1100" kern="0" dirty="0" err="1">
                <a:solidFill>
                  <a:srgbClr val="292929"/>
                </a:solidFill>
                <a:latin typeface="Calibri" pitchFamily="34" charset="0"/>
                <a:cs typeface="Calibri" pitchFamily="34" charset="0"/>
              </a:rPr>
              <a:t>Center</a:t>
            </a:r>
            <a:r>
              <a:rPr lang="en-IN" sz="1100" kern="0" dirty="0">
                <a:solidFill>
                  <a:srgbClr val="292929"/>
                </a:solidFill>
                <a:latin typeface="Calibri" pitchFamily="34" charset="0"/>
                <a:cs typeface="Calibri" pitchFamily="34" charset="0"/>
              </a:rPr>
              <a:t> of Excellence within ALTEN Group for Embedded, SDN/NFV and SMAC technologies</a:t>
            </a:r>
          </a:p>
        </p:txBody>
      </p:sp>
      <p:sp>
        <p:nvSpPr>
          <p:cNvPr id="14" name="Slide Number Placeholder 1"/>
          <p:cNvSpPr txBox="1">
            <a:spLocks/>
          </p:cNvSpPr>
          <p:nvPr/>
        </p:nvSpPr>
        <p:spPr>
          <a:xfrm>
            <a:off x="8641422" y="4765197"/>
            <a:ext cx="323850" cy="219075"/>
          </a:xfrm>
          <a:prstGeom prst="rect">
            <a:avLst/>
          </a:prstGeom>
        </p:spPr>
        <p:txBody>
          <a:bodyPr vert="horz" lIns="91440" tIns="45720" rIns="91440" bIns="45720" rtlCol="0" anchor="ctr"/>
          <a:lstStyle>
            <a:defPPr>
              <a:defRPr lang="en-US"/>
            </a:defPPr>
            <a:lvl1pPr algn="r" fontAlgn="auto">
              <a:spcBef>
                <a:spcPts val="0"/>
              </a:spcBef>
              <a:spcAft>
                <a:spcPts val="0"/>
              </a:spcAft>
              <a:defRPr sz="900" b="1" smtClean="0">
                <a:solidFill>
                  <a:schemeClr val="tx1">
                    <a:tint val="75000"/>
                  </a:schemeClr>
                </a:solidFill>
              </a:defRPr>
            </a:lvl1pPr>
          </a:lstStyle>
          <a:p>
            <a:fld id="{FE52E6A2-39D7-4D40-A437-04022A17C121}" type="slidenum">
              <a:rPr lang="en-US"/>
              <a:pPr/>
              <a:t>3</a:t>
            </a:fld>
            <a:endParaRPr lang="en-US" dirty="0"/>
          </a:p>
        </p:txBody>
      </p:sp>
      <p:sp>
        <p:nvSpPr>
          <p:cNvPr id="18" name="TextBox 17"/>
          <p:cNvSpPr txBox="1"/>
          <p:nvPr/>
        </p:nvSpPr>
        <p:spPr>
          <a:xfrm>
            <a:off x="4724400" y="773996"/>
            <a:ext cx="4114801" cy="3954929"/>
          </a:xfrm>
          <a:prstGeom prst="rect">
            <a:avLst/>
          </a:prstGeom>
          <a:solidFill>
            <a:srgbClr val="FFFDCD"/>
          </a:solidFill>
        </p:spPr>
        <p:txBody>
          <a:bodyPr wrap="square" rtlCol="0">
            <a:spAutoFit/>
          </a:bodyPr>
          <a:lstStyle/>
          <a:p>
            <a:r>
              <a:rPr lang="en-US" sz="1100" dirty="0">
                <a:solidFill>
                  <a:srgbClr val="C00000"/>
                </a:solidFill>
              </a:rPr>
              <a:t>ALTEN Calsoft Labs started operations in 1992 as California Software Company with HQ in Silicon Valley and excellent business footprint in the US market.</a:t>
            </a:r>
          </a:p>
          <a:p>
            <a:r>
              <a:rPr lang="en-US" sz="1100" dirty="0">
                <a:solidFill>
                  <a:srgbClr val="C00000"/>
                </a:solidFill>
              </a:rPr>
              <a:t>ALTEN Group acquired Calsoft Labs in 2011 as part of its strategy to grow its operations in India and USA. Since then, Calsoft Labs has grown from 600 employees to 1500 employees across India and USA and we expect to continue growing at 20-30% every year.</a:t>
            </a:r>
          </a:p>
          <a:p>
            <a:endParaRPr lang="en-US" sz="1100" dirty="0">
              <a:solidFill>
                <a:srgbClr val="C00000"/>
              </a:solidFill>
            </a:endParaRPr>
          </a:p>
          <a:p>
            <a:r>
              <a:rPr lang="en-US" sz="1100" dirty="0">
                <a:solidFill>
                  <a:srgbClr val="C00000"/>
                </a:solidFill>
              </a:rPr>
              <a:t>Calsoft Labs has always been focused on emerging technologies. We see ourselves as a niche player focusing on disruptive technologies like SMAC (Social-Mobility-Analytics-Cloud) and Cloud Infrastructure to conceptualize and build products/solutions for our customers.</a:t>
            </a:r>
          </a:p>
          <a:p>
            <a:endParaRPr lang="en-US" sz="1100" dirty="0">
              <a:solidFill>
                <a:srgbClr val="C00000"/>
              </a:solidFill>
            </a:endParaRPr>
          </a:p>
          <a:p>
            <a:r>
              <a:rPr lang="en-US" sz="1100" dirty="0">
                <a:solidFill>
                  <a:srgbClr val="C00000"/>
                </a:solidFill>
              </a:rPr>
              <a:t>We have 3 service lines in our portfolio:</a:t>
            </a:r>
          </a:p>
          <a:p>
            <a:pPr marL="228600" indent="-228600">
              <a:buAutoNum type="arabicPeriod"/>
            </a:pPr>
            <a:r>
              <a:rPr lang="en-US" sz="1050" dirty="0">
                <a:solidFill>
                  <a:srgbClr val="C00000"/>
                </a:solidFill>
              </a:rPr>
              <a:t>Consulting Services     (Technology consulting / Process consulting)</a:t>
            </a:r>
          </a:p>
          <a:p>
            <a:pPr marL="228600" indent="-228600">
              <a:buAutoNum type="arabicPeriod"/>
            </a:pPr>
            <a:r>
              <a:rPr lang="en-US" sz="1050" dirty="0">
                <a:solidFill>
                  <a:srgbClr val="C00000"/>
                </a:solidFill>
              </a:rPr>
              <a:t>Product R&amp;D Services (Product Development for OEMs/ISVs)</a:t>
            </a:r>
          </a:p>
          <a:p>
            <a:pPr marL="228600" indent="-228600">
              <a:buAutoNum type="arabicPeriod"/>
            </a:pPr>
            <a:r>
              <a:rPr lang="en-US" sz="1050" dirty="0">
                <a:solidFill>
                  <a:srgbClr val="C00000"/>
                </a:solidFill>
              </a:rPr>
              <a:t>Enterprise IT Services (Enterprise Application Development to help companies make the transition to the Digital economy)</a:t>
            </a:r>
          </a:p>
          <a:p>
            <a:pPr marL="228600" indent="-228600">
              <a:buAutoNum type="arabicPeriod"/>
            </a:pPr>
            <a:endParaRPr lang="en-US" sz="1100" dirty="0">
              <a:solidFill>
                <a:srgbClr val="C00000"/>
              </a:solidFill>
            </a:endParaRPr>
          </a:p>
          <a:p>
            <a:r>
              <a:rPr lang="en-US" sz="1100" dirty="0">
                <a:solidFill>
                  <a:srgbClr val="C00000"/>
                </a:solidFill>
              </a:rPr>
              <a:t>Calsoft Labs has strong domain expertise in Education, Healthcare, High-Tech, ISV, Networking and Retail markets. We work with industry leaders in each of these markets. Many of our customers have been working with us for over 10 years.</a:t>
            </a:r>
          </a:p>
        </p:txBody>
      </p:sp>
    </p:spTree>
    <p:extLst>
      <p:ext uri="{BB962C8B-B14F-4D97-AF65-F5344CB8AC3E}">
        <p14:creationId xmlns:p14="http://schemas.microsoft.com/office/powerpoint/2010/main" val="27628883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33350"/>
            <a:ext cx="5943600" cy="61865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lstStyle/>
          <a:p>
            <a:pPr fontAlgn="base">
              <a:spcAft>
                <a:spcPct val="0"/>
              </a:spcAft>
            </a:pPr>
            <a:r>
              <a:rPr lang="en-US" dirty="0">
                <a:solidFill>
                  <a:srgbClr val="292929"/>
                </a:solidFill>
                <a:latin typeface="Calibri" pitchFamily="34" charset="0"/>
                <a:cs typeface="Calibri" pitchFamily="34" charset="0"/>
              </a:rPr>
              <a:t>Our Industry Segments</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882650"/>
            <a:ext cx="5792869" cy="260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TextBox 49"/>
          <p:cNvSpPr txBox="1"/>
          <p:nvPr/>
        </p:nvSpPr>
        <p:spPr>
          <a:xfrm>
            <a:off x="6173869" y="773996"/>
            <a:ext cx="2665332" cy="3985706"/>
          </a:xfrm>
          <a:prstGeom prst="rect">
            <a:avLst/>
          </a:prstGeom>
          <a:solidFill>
            <a:srgbClr val="FFFDCD"/>
          </a:solidFill>
        </p:spPr>
        <p:txBody>
          <a:bodyPr wrap="square" rtlCol="0">
            <a:spAutoFit/>
          </a:bodyPr>
          <a:lstStyle/>
          <a:p>
            <a:r>
              <a:rPr lang="en-US" sz="1100" dirty="0">
                <a:solidFill>
                  <a:srgbClr val="C00000"/>
                </a:solidFill>
              </a:rPr>
              <a:t>ALTEN Calsoft Labs we work with industry leaders in each of the industry segments where we are present. For example,</a:t>
            </a:r>
          </a:p>
          <a:p>
            <a:endParaRPr lang="en-US" sz="1100" dirty="0">
              <a:solidFill>
                <a:srgbClr val="C00000"/>
              </a:solidFill>
            </a:endParaRPr>
          </a:p>
          <a:p>
            <a:r>
              <a:rPr lang="en-US" sz="1100" dirty="0">
                <a:solidFill>
                  <a:srgbClr val="C00000"/>
                </a:solidFill>
              </a:rPr>
              <a:t>In Education we work with the largest private university in the world.</a:t>
            </a:r>
          </a:p>
          <a:p>
            <a:endParaRPr lang="en-US" sz="1100" dirty="0">
              <a:solidFill>
                <a:srgbClr val="C00000"/>
              </a:solidFill>
            </a:endParaRPr>
          </a:p>
          <a:p>
            <a:r>
              <a:rPr lang="en-US" sz="1100" dirty="0">
                <a:solidFill>
                  <a:srgbClr val="C00000"/>
                </a:solidFill>
              </a:rPr>
              <a:t>In Healthcare we work with key players in Hospital Information Systems, EHR/EMR, Collaborative Care management and Digital Healthcare</a:t>
            </a:r>
          </a:p>
          <a:p>
            <a:endParaRPr lang="en-US" sz="1100" dirty="0">
              <a:solidFill>
                <a:srgbClr val="C00000"/>
              </a:solidFill>
            </a:endParaRPr>
          </a:p>
          <a:p>
            <a:r>
              <a:rPr lang="en-US" sz="1100" dirty="0">
                <a:solidFill>
                  <a:srgbClr val="C00000"/>
                </a:solidFill>
              </a:rPr>
              <a:t>In High-Tech we work with 2 of the world’s largest semiconductor companies and several OEMs developing innovative products for consumer and industrial use.</a:t>
            </a:r>
          </a:p>
          <a:p>
            <a:endParaRPr lang="en-US" sz="1100" dirty="0">
              <a:solidFill>
                <a:srgbClr val="C00000"/>
              </a:solidFill>
            </a:endParaRPr>
          </a:p>
          <a:p>
            <a:r>
              <a:rPr lang="en-US" sz="1100" dirty="0">
                <a:solidFill>
                  <a:srgbClr val="C00000"/>
                </a:solidFill>
              </a:rPr>
              <a:t>In Networking we have a long history of working on products that have featured as leaders in Gartner Magic Quadrant. </a:t>
            </a:r>
          </a:p>
          <a:p>
            <a:r>
              <a:rPr lang="en-US" sz="1100" dirty="0">
                <a:solidFill>
                  <a:srgbClr val="C00000"/>
                </a:solidFill>
              </a:rPr>
              <a:t>Today Calsoft Labs is known in the market as pioneers in the emerging SDN &amp; NFV space with several industry first projects.</a:t>
            </a:r>
          </a:p>
        </p:txBody>
      </p:sp>
      <p:sp>
        <p:nvSpPr>
          <p:cNvPr id="51" name="TextBox 50"/>
          <p:cNvSpPr txBox="1"/>
          <p:nvPr/>
        </p:nvSpPr>
        <p:spPr>
          <a:xfrm>
            <a:off x="457198" y="3651706"/>
            <a:ext cx="5181601" cy="1107996"/>
          </a:xfrm>
          <a:prstGeom prst="rect">
            <a:avLst/>
          </a:prstGeom>
          <a:solidFill>
            <a:srgbClr val="FFFDCD"/>
          </a:solidFill>
        </p:spPr>
        <p:txBody>
          <a:bodyPr wrap="square" rtlCol="0">
            <a:spAutoFit/>
          </a:bodyPr>
          <a:lstStyle/>
          <a:p>
            <a:r>
              <a:rPr lang="en-US" sz="1100" dirty="0">
                <a:solidFill>
                  <a:srgbClr val="C00000"/>
                </a:solidFill>
              </a:rPr>
              <a:t>In Retail, we work with the world’s largest retailer and world’s largest auto auctioneer. We are also helping several major US based retailers like GAP, Macys, etc. in their Agile Transformation journey through our subsidiary cPrime in USA.</a:t>
            </a:r>
          </a:p>
          <a:p>
            <a:endParaRPr lang="en-US" sz="1100" dirty="0">
              <a:solidFill>
                <a:srgbClr val="C00000"/>
              </a:solidFill>
            </a:endParaRPr>
          </a:p>
          <a:p>
            <a:r>
              <a:rPr lang="en-US" sz="1100" dirty="0">
                <a:solidFill>
                  <a:srgbClr val="C00000"/>
                </a:solidFill>
              </a:rPr>
              <a:t>In case of ISVs (Independent Software Vendors) we work with 11 of the Global-100 Software Leaders, apart from Social Networking giants like Facebook and </a:t>
            </a:r>
            <a:r>
              <a:rPr lang="en-US" sz="1100" dirty="0" err="1">
                <a:solidFill>
                  <a:srgbClr val="C00000"/>
                </a:solidFill>
              </a:rPr>
              <a:t>Paypal</a:t>
            </a:r>
            <a:r>
              <a:rPr lang="en-US" sz="1100" dirty="0">
                <a:solidFill>
                  <a:srgbClr val="C00000"/>
                </a:solidFill>
              </a:rPr>
              <a:t>.</a:t>
            </a:r>
          </a:p>
        </p:txBody>
      </p:sp>
      <p:sp>
        <p:nvSpPr>
          <p:cNvPr id="6" name="Left Arrow 5"/>
          <p:cNvSpPr/>
          <p:nvPr/>
        </p:nvSpPr>
        <p:spPr>
          <a:xfrm>
            <a:off x="5638799" y="3943350"/>
            <a:ext cx="535070" cy="457200"/>
          </a:xfrm>
          <a:prstGeom prst="left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9703000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9050"/>
            <a:ext cx="7886700" cy="9937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lstStyle/>
          <a:p>
            <a:pPr fontAlgn="base">
              <a:spcAft>
                <a:spcPct val="0"/>
              </a:spcAft>
            </a:pPr>
            <a:r>
              <a:rPr lang="en-US" dirty="0">
                <a:solidFill>
                  <a:srgbClr val="292929"/>
                </a:solidFill>
                <a:latin typeface="Calibri" pitchFamily="34" charset="0"/>
                <a:cs typeface="Calibri" pitchFamily="34" charset="0"/>
              </a:rPr>
              <a:t>Our Service Offerings</a:t>
            </a:r>
          </a:p>
        </p:txBody>
      </p:sp>
      <p:sp>
        <p:nvSpPr>
          <p:cNvPr id="17" name="Slide Number Placeholder 3"/>
          <p:cNvSpPr>
            <a:spLocks noGrp="1"/>
          </p:cNvSpPr>
          <p:nvPr>
            <p:ph type="sldNum" sz="quarter" idx="4294967295"/>
          </p:nvPr>
        </p:nvSpPr>
        <p:spPr>
          <a:xfrm>
            <a:off x="1905000" y="4863217"/>
            <a:ext cx="457200" cy="274637"/>
          </a:xfrm>
          <a:prstGeom prst="rect">
            <a:avLst/>
          </a:prstGeom>
        </p:spPr>
        <p:txBody>
          <a:bodyPr/>
          <a:lstStyle>
            <a:lvl1pPr algn="r">
              <a:defRPr sz="1200" b="1">
                <a:solidFill>
                  <a:schemeClr val="tx2"/>
                </a:solidFill>
              </a:defRPr>
            </a:lvl1pPr>
          </a:lstStyle>
          <a:p>
            <a:fld id="{C9C9E5A2-E050-4219-93F8-78B0C7250E7B}" type="slidenum">
              <a:rPr lang="en-US" smtClean="0"/>
              <a:pPr/>
              <a:t>5</a:t>
            </a:fld>
            <a:endParaRPr lang="en-US" dirty="0"/>
          </a:p>
        </p:txBody>
      </p:sp>
      <p:grpSp>
        <p:nvGrpSpPr>
          <p:cNvPr id="14" name="Group 13"/>
          <p:cNvGrpSpPr/>
          <p:nvPr/>
        </p:nvGrpSpPr>
        <p:grpSpPr>
          <a:xfrm>
            <a:off x="304800" y="2279868"/>
            <a:ext cx="2255402" cy="1335107"/>
            <a:chOff x="304800" y="2190750"/>
            <a:chExt cx="2255402" cy="1335107"/>
          </a:xfrm>
        </p:grpSpPr>
        <p:sp>
          <p:nvSpPr>
            <p:cNvPr id="7" name="TextBox 6"/>
            <p:cNvSpPr txBox="1"/>
            <p:nvPr/>
          </p:nvSpPr>
          <p:spPr>
            <a:xfrm>
              <a:off x="304800" y="2571750"/>
              <a:ext cx="2255402" cy="954107"/>
            </a:xfrm>
            <a:prstGeom prst="rect">
              <a:avLst/>
            </a:prstGeom>
            <a:noFill/>
          </p:spPr>
          <p:txBody>
            <a:bodyPr wrap="square" rtlCol="0">
              <a:spAutoFit/>
            </a:bodyPr>
            <a:lstStyle/>
            <a:p>
              <a:pPr marL="285750" indent="-285750">
                <a:buFont typeface="Wingdings" pitchFamily="2" charset="2"/>
                <a:buChar char="v"/>
              </a:pPr>
              <a:r>
                <a:rPr lang="en-US" sz="1400" dirty="0"/>
                <a:t>Agile Process consulting</a:t>
              </a:r>
            </a:p>
            <a:p>
              <a:pPr marL="285750" indent="-285750">
                <a:buFont typeface="Wingdings" pitchFamily="2" charset="2"/>
                <a:buChar char="v"/>
              </a:pPr>
              <a:r>
                <a:rPr lang="en-US" sz="1400" dirty="0"/>
                <a:t>IT Consulting</a:t>
              </a:r>
            </a:p>
            <a:p>
              <a:pPr marL="285750" indent="-285750">
                <a:buFont typeface="Wingdings" pitchFamily="2" charset="2"/>
                <a:buChar char="v"/>
              </a:pPr>
              <a:r>
                <a:rPr lang="en-US" sz="1400" dirty="0"/>
                <a:t>Operations Consulting</a:t>
              </a:r>
            </a:p>
            <a:p>
              <a:pPr marL="285750" indent="-285750">
                <a:buFont typeface="Wingdings" pitchFamily="2" charset="2"/>
                <a:buChar char="v"/>
              </a:pPr>
              <a:r>
                <a:rPr lang="en-US" sz="1400" dirty="0"/>
                <a:t>Technology Consulting</a:t>
              </a:r>
            </a:p>
          </p:txBody>
        </p:sp>
        <p:sp>
          <p:nvSpPr>
            <p:cNvPr id="9" name="TextBox 8"/>
            <p:cNvSpPr txBox="1"/>
            <p:nvPr/>
          </p:nvSpPr>
          <p:spPr>
            <a:xfrm>
              <a:off x="889724" y="2190750"/>
              <a:ext cx="1085554" cy="338554"/>
            </a:xfrm>
            <a:prstGeom prst="rect">
              <a:avLst/>
            </a:prstGeom>
            <a:noFill/>
          </p:spPr>
          <p:txBody>
            <a:bodyPr wrap="none" rtlCol="0">
              <a:spAutoFit/>
            </a:bodyPr>
            <a:lstStyle/>
            <a:p>
              <a:pPr algn="ctr"/>
              <a:r>
                <a:rPr lang="en-US" sz="1600" b="1" dirty="0"/>
                <a:t>Consulting</a:t>
              </a:r>
            </a:p>
          </p:txBody>
        </p:sp>
      </p:grpSp>
      <p:sp>
        <p:nvSpPr>
          <p:cNvPr id="8" name="TextBox 7"/>
          <p:cNvSpPr txBox="1"/>
          <p:nvPr/>
        </p:nvSpPr>
        <p:spPr>
          <a:xfrm>
            <a:off x="3212443" y="2630911"/>
            <a:ext cx="2185714" cy="1600438"/>
          </a:xfrm>
          <a:prstGeom prst="rect">
            <a:avLst/>
          </a:prstGeom>
          <a:noFill/>
        </p:spPr>
        <p:txBody>
          <a:bodyPr wrap="square" rtlCol="0">
            <a:spAutoFit/>
          </a:bodyPr>
          <a:lstStyle/>
          <a:p>
            <a:pPr marL="285750" indent="-285750">
              <a:buFont typeface="Wingdings" pitchFamily="2" charset="2"/>
              <a:buChar char="v"/>
            </a:pPr>
            <a:r>
              <a:rPr lang="en-US" sz="1400" dirty="0"/>
              <a:t>Agile ADMS</a:t>
            </a:r>
          </a:p>
          <a:p>
            <a:pPr marL="285750" indent="-285750">
              <a:buFont typeface="Wingdings" pitchFamily="2" charset="2"/>
              <a:buChar char="v"/>
            </a:pPr>
            <a:r>
              <a:rPr lang="en-US" sz="1400" dirty="0"/>
              <a:t>Cloud Enablement</a:t>
            </a:r>
          </a:p>
          <a:p>
            <a:pPr marL="285750" indent="-285750">
              <a:buFont typeface="Wingdings" pitchFamily="2" charset="2"/>
              <a:buChar char="v"/>
            </a:pPr>
            <a:r>
              <a:rPr lang="en-US" sz="1400" dirty="0"/>
              <a:t>Infrastructure Management</a:t>
            </a:r>
          </a:p>
          <a:p>
            <a:pPr marL="285750" indent="-285750">
              <a:buFont typeface="Wingdings" pitchFamily="2" charset="2"/>
              <a:buChar char="v"/>
            </a:pPr>
            <a:r>
              <a:rPr lang="en-US" sz="1400" dirty="0"/>
              <a:t>Application Integration</a:t>
            </a:r>
          </a:p>
          <a:p>
            <a:pPr marL="285750" indent="-285750">
              <a:buFont typeface="Wingdings" pitchFamily="2" charset="2"/>
              <a:buChar char="v"/>
            </a:pPr>
            <a:r>
              <a:rPr lang="en-US" sz="1400" dirty="0"/>
              <a:t>Legacy Modernization</a:t>
            </a:r>
          </a:p>
          <a:p>
            <a:pPr marL="285750" indent="-285750">
              <a:buFont typeface="Wingdings" pitchFamily="2" charset="2"/>
              <a:buChar char="v"/>
            </a:pPr>
            <a:r>
              <a:rPr lang="en-US" sz="1400" dirty="0"/>
              <a:t>IT Service Management</a:t>
            </a:r>
          </a:p>
        </p:txBody>
      </p:sp>
      <p:sp>
        <p:nvSpPr>
          <p:cNvPr id="10" name="TextBox 9"/>
          <p:cNvSpPr txBox="1"/>
          <p:nvPr/>
        </p:nvSpPr>
        <p:spPr>
          <a:xfrm>
            <a:off x="3764832" y="2279868"/>
            <a:ext cx="1080937" cy="338554"/>
          </a:xfrm>
          <a:prstGeom prst="rect">
            <a:avLst/>
          </a:prstGeom>
          <a:noFill/>
        </p:spPr>
        <p:txBody>
          <a:bodyPr wrap="none" rtlCol="0">
            <a:spAutoFit/>
          </a:bodyPr>
          <a:lstStyle/>
          <a:p>
            <a:pPr algn="ctr"/>
            <a:r>
              <a:rPr lang="en-US" sz="1600" b="1" dirty="0"/>
              <a:t>IT Services</a:t>
            </a:r>
          </a:p>
        </p:txBody>
      </p:sp>
      <p:grpSp>
        <p:nvGrpSpPr>
          <p:cNvPr id="16" name="Group 15"/>
          <p:cNvGrpSpPr/>
          <p:nvPr/>
        </p:nvGrpSpPr>
        <p:grpSpPr>
          <a:xfrm>
            <a:off x="6386512" y="2279868"/>
            <a:ext cx="2646174" cy="1951481"/>
            <a:chOff x="6386512" y="2190750"/>
            <a:chExt cx="2646174" cy="1951481"/>
          </a:xfrm>
        </p:grpSpPr>
        <p:sp>
          <p:nvSpPr>
            <p:cNvPr id="11" name="TextBox 10"/>
            <p:cNvSpPr txBox="1"/>
            <p:nvPr/>
          </p:nvSpPr>
          <p:spPr>
            <a:xfrm>
              <a:off x="6386512" y="2190750"/>
              <a:ext cx="2646174" cy="338554"/>
            </a:xfrm>
            <a:prstGeom prst="rect">
              <a:avLst/>
            </a:prstGeom>
            <a:noFill/>
          </p:spPr>
          <p:txBody>
            <a:bodyPr wrap="none" rtlCol="0">
              <a:spAutoFit/>
            </a:bodyPr>
            <a:lstStyle/>
            <a:p>
              <a:pPr algn="ctr"/>
              <a:r>
                <a:rPr lang="en-US" sz="1600" b="1" dirty="0"/>
                <a:t>Product Engineering Services</a:t>
              </a:r>
            </a:p>
          </p:txBody>
        </p:sp>
        <p:sp>
          <p:nvSpPr>
            <p:cNvPr id="15" name="TextBox 14"/>
            <p:cNvSpPr txBox="1"/>
            <p:nvPr/>
          </p:nvSpPr>
          <p:spPr>
            <a:xfrm>
              <a:off x="6477000" y="2541793"/>
              <a:ext cx="2438400" cy="1600438"/>
            </a:xfrm>
            <a:prstGeom prst="rect">
              <a:avLst/>
            </a:prstGeom>
            <a:noFill/>
          </p:spPr>
          <p:txBody>
            <a:bodyPr wrap="square" rtlCol="0">
              <a:spAutoFit/>
            </a:bodyPr>
            <a:lstStyle/>
            <a:p>
              <a:pPr marL="285750" indent="-285750">
                <a:buFont typeface="Wingdings" pitchFamily="2" charset="2"/>
                <a:buChar char="v"/>
              </a:pPr>
              <a:r>
                <a:rPr lang="en-US" sz="1400" dirty="0"/>
                <a:t>Product Development</a:t>
              </a:r>
            </a:p>
            <a:p>
              <a:pPr marL="285750" indent="-285750">
                <a:buFont typeface="Wingdings" pitchFamily="2" charset="2"/>
                <a:buChar char="v"/>
              </a:pPr>
              <a:r>
                <a:rPr lang="en-US" sz="1400" dirty="0"/>
                <a:t>Product Testing</a:t>
              </a:r>
            </a:p>
            <a:p>
              <a:pPr marL="285750" indent="-285750">
                <a:buFont typeface="Wingdings" pitchFamily="2" charset="2"/>
                <a:buChar char="v"/>
              </a:pPr>
              <a:r>
                <a:rPr lang="en-US" sz="1400" dirty="0"/>
                <a:t>Product Maintenance &amp; Support</a:t>
              </a:r>
            </a:p>
            <a:p>
              <a:pPr marL="285750" indent="-285750">
                <a:buFont typeface="Wingdings" pitchFamily="2" charset="2"/>
                <a:buChar char="v"/>
              </a:pPr>
              <a:r>
                <a:rPr lang="en-US" sz="1400" dirty="0"/>
                <a:t>Product Reengineering</a:t>
              </a:r>
            </a:p>
            <a:p>
              <a:pPr marL="285750" indent="-285750">
                <a:buFont typeface="Wingdings" pitchFamily="2" charset="2"/>
                <a:buChar char="v"/>
              </a:pPr>
              <a:r>
                <a:rPr lang="en-US" sz="1400" dirty="0" err="1"/>
                <a:t>SaaS</a:t>
              </a:r>
              <a:r>
                <a:rPr lang="en-US" sz="1400" dirty="0"/>
                <a:t> Enablement</a:t>
              </a:r>
            </a:p>
            <a:p>
              <a:pPr marL="285750" indent="-285750">
                <a:buFont typeface="Wingdings" pitchFamily="2" charset="2"/>
                <a:buChar char="v"/>
              </a:pPr>
              <a:r>
                <a:rPr lang="en-US" sz="1400" dirty="0"/>
                <a:t>Mobility Enablement</a:t>
              </a:r>
            </a:p>
          </p:txBody>
        </p:sp>
      </p:grpSp>
      <p:pic>
        <p:nvPicPr>
          <p:cNvPr id="12" name="Picture 11"/>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17388" y="1030983"/>
            <a:ext cx="1030226" cy="1027178"/>
          </a:xfrm>
          <a:prstGeom prst="rect">
            <a:avLst/>
          </a:prstGeom>
        </p:spPr>
      </p:pic>
      <p:pic>
        <p:nvPicPr>
          <p:cNvPr id="13" name="Picture 12"/>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790187" y="1030983"/>
            <a:ext cx="1030226" cy="1027178"/>
          </a:xfrm>
          <a:prstGeom prst="rect">
            <a:avLst/>
          </a:prstGeom>
        </p:spPr>
      </p:pic>
      <p:pic>
        <p:nvPicPr>
          <p:cNvPr id="18" name="Picture 17"/>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194486" y="1030983"/>
            <a:ext cx="1030226" cy="1027178"/>
          </a:xfrm>
          <a:prstGeom prst="rect">
            <a:avLst/>
          </a:prstGeom>
        </p:spPr>
      </p:pic>
    </p:spTree>
    <p:extLst>
      <p:ext uri="{BB962C8B-B14F-4D97-AF65-F5344CB8AC3E}">
        <p14:creationId xmlns:p14="http://schemas.microsoft.com/office/powerpoint/2010/main" val="28286742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1886" y="57150"/>
            <a:ext cx="6618514" cy="685800"/>
          </a:xfrm>
        </p:spPr>
        <p:txBody>
          <a:bodyPr>
            <a:noAutofit/>
          </a:bodyPr>
          <a:lstStyle/>
          <a:p>
            <a:r>
              <a:rPr lang="en-US" sz="2000" dirty="0"/>
              <a:t>Our Centers of Excellence are Foundations of Our Delivery Organizations</a:t>
            </a:r>
          </a:p>
        </p:txBody>
      </p:sp>
      <p:sp>
        <p:nvSpPr>
          <p:cNvPr id="3" name="Footer Placeholder 2"/>
          <p:cNvSpPr>
            <a:spLocks noGrp="1"/>
          </p:cNvSpPr>
          <p:nvPr>
            <p:ph type="ftr" sz="quarter" idx="3"/>
          </p:nvPr>
        </p:nvSpPr>
        <p:spPr/>
        <p:txBody>
          <a:bodyPr/>
          <a:lstStyle/>
          <a:p>
            <a:r>
              <a:rPr lang="en-US">
                <a:solidFill>
                  <a:srgbClr val="1F497D"/>
                </a:solidFill>
              </a:rPr>
              <a:t>©ALTEN Calsoft Labs</a:t>
            </a:r>
            <a:endParaRPr lang="en-US" dirty="0">
              <a:solidFill>
                <a:srgbClr val="1F497D"/>
              </a:solidFill>
            </a:endParaRPr>
          </a:p>
        </p:txBody>
      </p:sp>
      <p:sp>
        <p:nvSpPr>
          <p:cNvPr id="4" name="Slide Number Placeholder 3"/>
          <p:cNvSpPr>
            <a:spLocks noGrp="1"/>
          </p:cNvSpPr>
          <p:nvPr>
            <p:ph type="sldNum" sz="quarter" idx="4"/>
          </p:nvPr>
        </p:nvSpPr>
        <p:spPr/>
        <p:txBody>
          <a:bodyPr/>
          <a:lstStyle>
            <a:lvl1pPr algn="r">
              <a:defRPr sz="1200" b="1">
                <a:solidFill>
                  <a:schemeClr val="tx2"/>
                </a:solidFill>
              </a:defRPr>
            </a:lvl1pPr>
          </a:lstStyle>
          <a:p>
            <a:fld id="{C9C9E5A2-E050-4219-93F8-78B0C7250E7B}" type="slidenum">
              <a:rPr lang="en-US" smtClean="0">
                <a:solidFill>
                  <a:srgbClr val="1F497D"/>
                </a:solidFill>
              </a:rPr>
              <a:pPr/>
              <a:t>6</a:t>
            </a:fld>
            <a:endParaRPr lang="en-US" dirty="0">
              <a:solidFill>
                <a:srgbClr val="1F497D"/>
              </a:solidFill>
            </a:endParaRPr>
          </a:p>
        </p:txBody>
      </p:sp>
      <p:sp>
        <p:nvSpPr>
          <p:cNvPr id="12" name="TextBox 11"/>
          <p:cNvSpPr txBox="1"/>
          <p:nvPr/>
        </p:nvSpPr>
        <p:spPr>
          <a:xfrm>
            <a:off x="503646" y="2021473"/>
            <a:ext cx="861133" cy="307777"/>
          </a:xfrm>
          <a:prstGeom prst="rect">
            <a:avLst/>
          </a:prstGeom>
          <a:noFill/>
        </p:spPr>
        <p:txBody>
          <a:bodyPr wrap="none" rtlCol="0">
            <a:spAutoFit/>
          </a:bodyPr>
          <a:lstStyle/>
          <a:p>
            <a:pPr algn="ctr"/>
            <a:r>
              <a:rPr lang="en-US" sz="1400" dirty="0">
                <a:solidFill>
                  <a:prstClr val="black"/>
                </a:solidFill>
              </a:rPr>
              <a:t>SDN/NFV</a:t>
            </a:r>
          </a:p>
        </p:txBody>
      </p:sp>
      <p:sp>
        <p:nvSpPr>
          <p:cNvPr id="24" name="TextBox 23"/>
          <p:cNvSpPr txBox="1"/>
          <p:nvPr/>
        </p:nvSpPr>
        <p:spPr>
          <a:xfrm>
            <a:off x="1732622" y="2006084"/>
            <a:ext cx="1603581" cy="307777"/>
          </a:xfrm>
          <a:prstGeom prst="rect">
            <a:avLst/>
          </a:prstGeom>
          <a:noFill/>
        </p:spPr>
        <p:txBody>
          <a:bodyPr wrap="none" rtlCol="0">
            <a:spAutoFit/>
          </a:bodyPr>
          <a:lstStyle/>
          <a:p>
            <a:pPr algn="ctr"/>
            <a:r>
              <a:rPr lang="en-US" sz="1400" dirty="0">
                <a:solidFill>
                  <a:prstClr val="black"/>
                </a:solidFill>
              </a:rPr>
              <a:t>Embedded Systems</a:t>
            </a:r>
          </a:p>
        </p:txBody>
      </p:sp>
      <p:sp>
        <p:nvSpPr>
          <p:cNvPr id="22" name="TextBox 21"/>
          <p:cNvSpPr txBox="1"/>
          <p:nvPr/>
        </p:nvSpPr>
        <p:spPr>
          <a:xfrm>
            <a:off x="1899111" y="3322314"/>
            <a:ext cx="1300356" cy="307777"/>
          </a:xfrm>
          <a:prstGeom prst="rect">
            <a:avLst/>
          </a:prstGeom>
          <a:noFill/>
        </p:spPr>
        <p:txBody>
          <a:bodyPr wrap="none" rtlCol="0">
            <a:spAutoFit/>
          </a:bodyPr>
          <a:lstStyle/>
          <a:p>
            <a:pPr algn="ctr"/>
            <a:r>
              <a:rPr lang="en-US" sz="1400" dirty="0">
                <a:solidFill>
                  <a:prstClr val="black"/>
                </a:solidFill>
              </a:rPr>
              <a:t>UX Engineering</a:t>
            </a:r>
          </a:p>
        </p:txBody>
      </p:sp>
      <p:sp>
        <p:nvSpPr>
          <p:cNvPr id="29" name="TextBox 28"/>
          <p:cNvSpPr txBox="1"/>
          <p:nvPr/>
        </p:nvSpPr>
        <p:spPr>
          <a:xfrm>
            <a:off x="71893" y="3322314"/>
            <a:ext cx="1754390" cy="307777"/>
          </a:xfrm>
          <a:prstGeom prst="rect">
            <a:avLst/>
          </a:prstGeom>
          <a:noFill/>
        </p:spPr>
        <p:txBody>
          <a:bodyPr wrap="none" rtlCol="0">
            <a:spAutoFit/>
          </a:bodyPr>
          <a:lstStyle/>
          <a:p>
            <a:pPr algn="ctr"/>
            <a:r>
              <a:rPr lang="en-US" sz="1400" dirty="0">
                <a:solidFill>
                  <a:prstClr val="black"/>
                </a:solidFill>
              </a:rPr>
              <a:t>Microsoft Technology</a:t>
            </a:r>
          </a:p>
        </p:txBody>
      </p:sp>
      <p:sp>
        <p:nvSpPr>
          <p:cNvPr id="23" name="TextBox 22"/>
          <p:cNvSpPr txBox="1"/>
          <p:nvPr/>
        </p:nvSpPr>
        <p:spPr>
          <a:xfrm>
            <a:off x="3755158" y="3322314"/>
            <a:ext cx="697307" cy="307777"/>
          </a:xfrm>
          <a:prstGeom prst="rect">
            <a:avLst/>
          </a:prstGeom>
          <a:noFill/>
        </p:spPr>
        <p:txBody>
          <a:bodyPr wrap="none" rtlCol="0">
            <a:spAutoFit/>
          </a:bodyPr>
          <a:lstStyle/>
          <a:p>
            <a:pPr algn="ctr"/>
            <a:r>
              <a:rPr lang="en-US" sz="1400" dirty="0">
                <a:solidFill>
                  <a:prstClr val="black"/>
                </a:solidFill>
              </a:rPr>
              <a:t>Testing</a:t>
            </a:r>
          </a:p>
        </p:txBody>
      </p:sp>
      <p:sp>
        <p:nvSpPr>
          <p:cNvPr id="30" name="TextBox 29"/>
          <p:cNvSpPr txBox="1"/>
          <p:nvPr/>
        </p:nvSpPr>
        <p:spPr>
          <a:xfrm>
            <a:off x="3544717" y="2008066"/>
            <a:ext cx="1118190" cy="307777"/>
          </a:xfrm>
          <a:prstGeom prst="rect">
            <a:avLst/>
          </a:prstGeom>
          <a:noFill/>
        </p:spPr>
        <p:txBody>
          <a:bodyPr wrap="none" rtlCol="0">
            <a:spAutoFit/>
          </a:bodyPr>
          <a:lstStyle/>
          <a:p>
            <a:pPr algn="ctr"/>
            <a:r>
              <a:rPr lang="en-US" sz="1400" dirty="0">
                <a:solidFill>
                  <a:prstClr val="black"/>
                </a:solidFill>
              </a:rPr>
              <a:t>Open Source</a:t>
            </a:r>
          </a:p>
        </p:txBody>
      </p:sp>
      <p:pic>
        <p:nvPicPr>
          <p:cNvPr id="8" name="Picture 7">
            <a:hlinkClick r:id="" action="ppaction://noaction"/>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133600" y="1160524"/>
            <a:ext cx="801626" cy="801626"/>
          </a:xfrm>
          <a:prstGeom prst="rect">
            <a:avLst/>
          </a:prstGeom>
        </p:spPr>
      </p:pic>
      <p:pic>
        <p:nvPicPr>
          <p:cNvPr id="9" name="Picture 8">
            <a:hlinkClick r:id="" action="ppaction://noaction"/>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33400" y="2420025"/>
            <a:ext cx="831379" cy="831379"/>
          </a:xfrm>
          <a:prstGeom prst="rect">
            <a:avLst/>
          </a:prstGeom>
        </p:spPr>
      </p:pic>
      <p:pic>
        <p:nvPicPr>
          <p:cNvPr id="10" name="Picture 9">
            <a:hlinkClick r:id="" action="ppaction://noaction"/>
          </p:cNvPr>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703000" y="1160524"/>
            <a:ext cx="801626" cy="801626"/>
          </a:xfrm>
          <a:prstGeom prst="rect">
            <a:avLst/>
          </a:prstGeom>
        </p:spPr>
      </p:pic>
      <p:pic>
        <p:nvPicPr>
          <p:cNvPr id="11" name="Picture 10">
            <a:hlinkClick r:id="" action="ppaction://noaction"/>
          </p:cNvPr>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703000" y="2420024"/>
            <a:ext cx="831380" cy="831380"/>
          </a:xfrm>
          <a:prstGeom prst="rect">
            <a:avLst/>
          </a:prstGeom>
        </p:spPr>
      </p:pic>
      <p:pic>
        <p:nvPicPr>
          <p:cNvPr id="13" name="Picture 12">
            <a:hlinkClick r:id="" action="ppaction://noaction"/>
          </p:cNvPr>
          <p:cNvPicPr>
            <a:picLocks noChangeAspect="1"/>
          </p:cNvPicPr>
          <p:nvPr/>
        </p:nvPicPr>
        <p:blipFill>
          <a:blip r:embed="rId7" cstate="print">
            <a:duotone>
              <a:schemeClr val="accent1">
                <a:shade val="45000"/>
                <a:satMod val="135000"/>
              </a:schemeClr>
              <a:prstClr val="white"/>
            </a:duotone>
            <a:extLst>
              <a:ext uri="{BEBA8EAE-BF5A-486C-A8C5-ECC9F3942E4B}">
                <a14:imgProps xmlns:a14="http://schemas.microsoft.com/office/drawing/2010/main">
                  <a14:imgLayer r:embed="rId8">
                    <a14:imgEffect>
                      <a14:colorTemperature colorTemp="5300"/>
                    </a14:imgEffect>
                  </a14:imgLayer>
                </a14:imgProps>
              </a:ext>
              <a:ext uri="{28A0092B-C50C-407E-A947-70E740481C1C}">
                <a14:useLocalDpi xmlns:a14="http://schemas.microsoft.com/office/drawing/2010/main" val="0"/>
              </a:ext>
            </a:extLst>
          </a:blip>
          <a:stretch>
            <a:fillRect/>
          </a:stretch>
        </p:blipFill>
        <p:spPr>
          <a:xfrm>
            <a:off x="2133600" y="2420024"/>
            <a:ext cx="831379" cy="831379"/>
          </a:xfrm>
          <a:prstGeom prst="rect">
            <a:avLst/>
          </a:prstGeom>
        </p:spPr>
      </p:pic>
      <p:pic>
        <p:nvPicPr>
          <p:cNvPr id="14" name="Picture 13">
            <a:hlinkClick r:id="" action="ppaction://noaction"/>
          </p:cNvPr>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33400" y="1160524"/>
            <a:ext cx="801626" cy="801626"/>
          </a:xfrm>
          <a:prstGeom prst="rect">
            <a:avLst/>
          </a:prstGeom>
        </p:spPr>
      </p:pic>
      <p:sp>
        <p:nvSpPr>
          <p:cNvPr id="19" name="TextBox 18"/>
          <p:cNvSpPr txBox="1"/>
          <p:nvPr/>
        </p:nvSpPr>
        <p:spPr>
          <a:xfrm>
            <a:off x="4876799" y="895350"/>
            <a:ext cx="4114801" cy="3985706"/>
          </a:xfrm>
          <a:prstGeom prst="rect">
            <a:avLst/>
          </a:prstGeom>
          <a:solidFill>
            <a:srgbClr val="FFFDCD"/>
          </a:solidFill>
        </p:spPr>
        <p:txBody>
          <a:bodyPr wrap="square" rtlCol="0">
            <a:spAutoFit/>
          </a:bodyPr>
          <a:lstStyle/>
          <a:p>
            <a:r>
              <a:rPr lang="en-US" sz="1100" dirty="0">
                <a:solidFill>
                  <a:srgbClr val="C00000"/>
                </a:solidFill>
              </a:rPr>
              <a:t>Calsoft Labs has always been focused on emerging technologies. We see ourselves as a niche player focusing on disruptive technologies like SMAC (Social-Mobility-Analytics-Cloud) and Cloud Infrastructure to conceptualize and build products/solutions for our customers.</a:t>
            </a:r>
          </a:p>
          <a:p>
            <a:endParaRPr lang="en-US" sz="1100" dirty="0">
              <a:solidFill>
                <a:srgbClr val="C00000"/>
              </a:solidFill>
            </a:endParaRPr>
          </a:p>
          <a:p>
            <a:r>
              <a:rPr lang="en-US" sz="1100" dirty="0">
                <a:solidFill>
                  <a:srgbClr val="C00000"/>
                </a:solidFill>
              </a:rPr>
              <a:t>Therefore we consistently focus on investing on new technologies ahead of time by setting up technology Centers of Excellence (</a:t>
            </a:r>
            <a:r>
              <a:rPr lang="en-US" sz="1100" dirty="0" err="1">
                <a:solidFill>
                  <a:srgbClr val="C00000"/>
                </a:solidFill>
              </a:rPr>
              <a:t>CoEs</a:t>
            </a:r>
            <a:r>
              <a:rPr lang="en-US" sz="1100" dirty="0">
                <a:solidFill>
                  <a:srgbClr val="C00000"/>
                </a:solidFill>
              </a:rPr>
              <a:t>). These </a:t>
            </a:r>
            <a:r>
              <a:rPr lang="en-US" sz="1100" dirty="0" err="1">
                <a:solidFill>
                  <a:srgbClr val="C00000"/>
                </a:solidFill>
              </a:rPr>
              <a:t>CoEs</a:t>
            </a:r>
            <a:r>
              <a:rPr lang="en-US" sz="1100" dirty="0">
                <a:solidFill>
                  <a:srgbClr val="C00000"/>
                </a:solidFill>
              </a:rPr>
              <a:t> build capability on latest technologies through internal projects and customer engagements.</a:t>
            </a:r>
          </a:p>
          <a:p>
            <a:endParaRPr lang="en-US" sz="1100" dirty="0">
              <a:solidFill>
                <a:srgbClr val="C00000"/>
              </a:solidFill>
            </a:endParaRPr>
          </a:p>
          <a:p>
            <a:r>
              <a:rPr lang="en-US" sz="1100" dirty="0">
                <a:solidFill>
                  <a:srgbClr val="C00000"/>
                </a:solidFill>
              </a:rPr>
              <a:t>Some of the prominent </a:t>
            </a:r>
            <a:r>
              <a:rPr lang="en-US" sz="1100" dirty="0" err="1">
                <a:solidFill>
                  <a:srgbClr val="C00000"/>
                </a:solidFill>
              </a:rPr>
              <a:t>CoEs</a:t>
            </a:r>
            <a:r>
              <a:rPr lang="en-US" sz="1100" dirty="0">
                <a:solidFill>
                  <a:srgbClr val="C00000"/>
                </a:solidFill>
              </a:rPr>
              <a:t> are;</a:t>
            </a:r>
          </a:p>
          <a:p>
            <a:pPr marL="228600" indent="-228600">
              <a:buAutoNum type="arabicPeriod"/>
            </a:pPr>
            <a:r>
              <a:rPr lang="en-US" sz="1100" dirty="0">
                <a:solidFill>
                  <a:srgbClr val="C00000"/>
                </a:solidFill>
              </a:rPr>
              <a:t>SDN/NFV focusing on latest development in Networking and Cloud infrastructure space.</a:t>
            </a:r>
          </a:p>
          <a:p>
            <a:pPr marL="228600" indent="-228600">
              <a:buAutoNum type="arabicPeriod"/>
            </a:pPr>
            <a:r>
              <a:rPr lang="en-US" sz="1100" dirty="0">
                <a:solidFill>
                  <a:srgbClr val="C00000"/>
                </a:solidFill>
              </a:rPr>
              <a:t>Embedded Systems focusing on emerging technologies in </a:t>
            </a:r>
            <a:r>
              <a:rPr lang="en-US" sz="1100" dirty="0" err="1">
                <a:solidFill>
                  <a:srgbClr val="C00000"/>
                </a:solidFill>
              </a:rPr>
              <a:t>IoT</a:t>
            </a:r>
            <a:r>
              <a:rPr lang="en-US" sz="1100" dirty="0">
                <a:solidFill>
                  <a:srgbClr val="C00000"/>
                </a:solidFill>
              </a:rPr>
              <a:t> (Internet of Things) and energy efficient product/system design for consumer and industrial use.</a:t>
            </a:r>
          </a:p>
          <a:p>
            <a:pPr marL="228600" indent="-228600">
              <a:buAutoNum type="arabicPeriod"/>
            </a:pPr>
            <a:r>
              <a:rPr lang="en-US" sz="1100" dirty="0">
                <a:solidFill>
                  <a:srgbClr val="C00000"/>
                </a:solidFill>
              </a:rPr>
              <a:t>Open Source is the new mantra in the IT industry. We have a focused Java and Open Source CoE that builds competencies on latest open source frameworks and tools to help customers reduce R&amp;D costs or reduce cost of IT.</a:t>
            </a:r>
          </a:p>
          <a:p>
            <a:pPr marL="228600" indent="-228600">
              <a:buAutoNum type="arabicPeriod"/>
            </a:pPr>
            <a:r>
              <a:rPr lang="en-US" sz="1100" dirty="0">
                <a:solidFill>
                  <a:srgbClr val="C00000"/>
                </a:solidFill>
              </a:rPr>
              <a:t>Our Testing CoE helps customers improve their testing process, and offers test automation frameworks and test assets to help customers reduce their testing cycle time in projects.</a:t>
            </a:r>
          </a:p>
        </p:txBody>
      </p:sp>
      <p:sp>
        <p:nvSpPr>
          <p:cNvPr id="20" name="TextBox 19"/>
          <p:cNvSpPr txBox="1"/>
          <p:nvPr/>
        </p:nvSpPr>
        <p:spPr>
          <a:xfrm>
            <a:off x="366291" y="3651706"/>
            <a:ext cx="4296616" cy="1277273"/>
          </a:xfrm>
          <a:prstGeom prst="rect">
            <a:avLst/>
          </a:prstGeom>
          <a:solidFill>
            <a:srgbClr val="FFFDCD"/>
          </a:solidFill>
        </p:spPr>
        <p:txBody>
          <a:bodyPr wrap="square" rtlCol="0">
            <a:spAutoFit/>
          </a:bodyPr>
          <a:lstStyle/>
          <a:p>
            <a:r>
              <a:rPr lang="en-US" sz="1100" dirty="0">
                <a:solidFill>
                  <a:srgbClr val="C00000"/>
                </a:solidFill>
              </a:rPr>
              <a:t>User Experience (UX) is a key differentiator for Calsoft Labs. We are one of the few companies that has the ability to design UX across multiple devices (PC/tab/mobile) used by users of an application/product, and build responsive UIs using latest technologies.</a:t>
            </a:r>
          </a:p>
          <a:p>
            <a:endParaRPr lang="en-US" sz="1100" dirty="0">
              <a:solidFill>
                <a:srgbClr val="C00000"/>
              </a:solidFill>
            </a:endParaRPr>
          </a:p>
          <a:p>
            <a:r>
              <a:rPr lang="en-US" sz="1100" dirty="0">
                <a:solidFill>
                  <a:srgbClr val="C00000"/>
                </a:solidFill>
              </a:rPr>
              <a:t>Our Microsoft CoE focuses on latest Microsoft technologies including Azure services. Calsoft Labs is an Microsoft Azure Circle partner.</a:t>
            </a:r>
          </a:p>
        </p:txBody>
      </p:sp>
      <p:sp>
        <p:nvSpPr>
          <p:cNvPr id="21" name="Left Arrow 20"/>
          <p:cNvSpPr/>
          <p:nvPr/>
        </p:nvSpPr>
        <p:spPr>
          <a:xfrm>
            <a:off x="4341729" y="4142836"/>
            <a:ext cx="535070" cy="457200"/>
          </a:xfrm>
          <a:prstGeom prst="left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9410610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p:cNvSpPr>
            <a:spLocks noGrp="1"/>
          </p:cNvSpPr>
          <p:nvPr>
            <p:ph type="title"/>
          </p:nvPr>
        </p:nvSpPr>
        <p:spPr>
          <a:xfrm>
            <a:off x="457200" y="92254"/>
            <a:ext cx="5845628"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lstStyle/>
          <a:p>
            <a:pPr fontAlgn="base">
              <a:spcAft>
                <a:spcPct val="0"/>
              </a:spcAft>
            </a:pPr>
            <a:r>
              <a:rPr lang="en-IN" dirty="0">
                <a:solidFill>
                  <a:srgbClr val="292929"/>
                </a:solidFill>
                <a:latin typeface="Calibri" pitchFamily="34" charset="0"/>
                <a:cs typeface="Calibri" pitchFamily="34" charset="0"/>
              </a:rPr>
              <a:t>Industry References</a:t>
            </a:r>
            <a:endParaRPr lang="en-US" sz="1600" b="0" i="1" dirty="0">
              <a:solidFill>
                <a:srgbClr val="292929"/>
              </a:solidFill>
              <a:latin typeface="Calibri" pitchFamily="34" charset="0"/>
              <a:cs typeface="Calibri" pitchFamily="34" charset="0"/>
            </a:endParaRPr>
          </a:p>
        </p:txBody>
      </p:sp>
      <p:pic>
        <p:nvPicPr>
          <p:cNvPr id="1026" name="Picture 2" descr="Industry speaks - BT Grou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819150"/>
            <a:ext cx="39624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ndustry speaks - Dell OEM Solution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0600" y="819150"/>
            <a:ext cx="3962400" cy="952500"/>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p:cNvSpPr>
            <a:spLocks noChangeArrowheads="1"/>
          </p:cNvSpPr>
          <p:nvPr/>
        </p:nvSpPr>
        <p:spPr bwMode="auto">
          <a:xfrm>
            <a:off x="457200" y="1789294"/>
            <a:ext cx="3962400" cy="858656"/>
          </a:xfrm>
          <a:prstGeom prst="rect">
            <a:avLst/>
          </a:prstGeom>
          <a:noFill/>
          <a:ln w="9525">
            <a:noFill/>
            <a:miter lim="800000"/>
            <a:headEnd/>
            <a:tailEnd/>
          </a:ln>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spcBef>
                <a:spcPct val="50000"/>
              </a:spcBef>
              <a:buClr>
                <a:srgbClr val="4D4D4D"/>
              </a:buClr>
              <a:buSzPct val="100000"/>
              <a:defRPr/>
            </a:pPr>
            <a:r>
              <a:rPr lang="en-IN" sz="1100" kern="0" dirty="0">
                <a:solidFill>
                  <a:srgbClr val="000000"/>
                </a:solidFill>
                <a:latin typeface="Calibri" pitchFamily="34" charset="0"/>
                <a:cs typeface="Calibri" pitchFamily="34" charset="0"/>
              </a:rPr>
              <a:t>“</a:t>
            </a:r>
            <a:r>
              <a:rPr lang="en-IN" sz="1100" b="1" kern="0" dirty="0">
                <a:solidFill>
                  <a:srgbClr val="000000"/>
                </a:solidFill>
                <a:latin typeface="Calibri" pitchFamily="34" charset="0"/>
                <a:cs typeface="Calibri" pitchFamily="34" charset="0"/>
              </a:rPr>
              <a:t>Calsoft Labs </a:t>
            </a:r>
            <a:r>
              <a:rPr lang="en-IN" sz="1100" kern="0" dirty="0">
                <a:solidFill>
                  <a:srgbClr val="000000"/>
                </a:solidFill>
                <a:latin typeface="Calibri" pitchFamily="34" charset="0"/>
                <a:cs typeface="Calibri" pitchFamily="34" charset="0"/>
              </a:rPr>
              <a:t>have demonstrated world class knowledge of networks and leading edge packet processing software. They delivered a compelling, scalable, low power, compact, high performance solution running on standard x86 servers in only a few months to BT.”</a:t>
            </a:r>
            <a:endParaRPr lang="en-IN" sz="1100" b="1" kern="0" dirty="0">
              <a:solidFill>
                <a:srgbClr val="0066CC"/>
              </a:solidFill>
              <a:latin typeface="Calibri" pitchFamily="34" charset="0"/>
              <a:cs typeface="Calibri" pitchFamily="34" charset="0"/>
            </a:endParaRPr>
          </a:p>
        </p:txBody>
      </p:sp>
      <p:sp>
        <p:nvSpPr>
          <p:cNvPr id="40" name="Rectangle 39"/>
          <p:cNvSpPr>
            <a:spLocks noChangeArrowheads="1"/>
          </p:cNvSpPr>
          <p:nvPr/>
        </p:nvSpPr>
        <p:spPr bwMode="auto">
          <a:xfrm>
            <a:off x="4800600" y="1952043"/>
            <a:ext cx="3962400" cy="533158"/>
          </a:xfrm>
          <a:prstGeom prst="rect">
            <a:avLst/>
          </a:prstGeom>
          <a:noFill/>
          <a:ln w="9525">
            <a:noFill/>
            <a:miter lim="800000"/>
            <a:headEnd/>
            <a:tailEnd/>
          </a:ln>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spcBef>
                <a:spcPct val="50000"/>
              </a:spcBef>
              <a:buClr>
                <a:srgbClr val="4D4D4D"/>
              </a:buClr>
              <a:buSzPct val="100000"/>
              <a:defRPr/>
            </a:pPr>
            <a:r>
              <a:rPr lang="en-IN" sz="1100" kern="0" dirty="0">
                <a:solidFill>
                  <a:srgbClr val="000000"/>
                </a:solidFill>
                <a:latin typeface="Calibri" pitchFamily="34" charset="0"/>
                <a:cs typeface="Calibri" pitchFamily="34" charset="0"/>
              </a:rPr>
              <a:t>“</a:t>
            </a:r>
            <a:r>
              <a:rPr lang="en-IN" sz="1100" b="1" kern="0" dirty="0">
                <a:solidFill>
                  <a:srgbClr val="000000"/>
                </a:solidFill>
                <a:latin typeface="Calibri" pitchFamily="34" charset="0"/>
                <a:cs typeface="Calibri" pitchFamily="34" charset="0"/>
              </a:rPr>
              <a:t>Calsoft Labs </a:t>
            </a:r>
            <a:r>
              <a:rPr lang="en-IN" sz="1100" kern="0" dirty="0">
                <a:solidFill>
                  <a:srgbClr val="000000"/>
                </a:solidFill>
                <a:latin typeface="Calibri" pitchFamily="34" charset="0"/>
                <a:cs typeface="Calibri" pitchFamily="34" charset="0"/>
              </a:rPr>
              <a:t>has relevant expertise as a system integrator and our partner in the Telecom market, we look forward to working with </a:t>
            </a:r>
            <a:r>
              <a:rPr lang="en-IN" sz="1100" b="1" kern="0" dirty="0">
                <a:solidFill>
                  <a:srgbClr val="000000"/>
                </a:solidFill>
                <a:latin typeface="Calibri" pitchFamily="34" charset="0"/>
                <a:cs typeface="Calibri" pitchFamily="34" charset="0"/>
              </a:rPr>
              <a:t>Calsoft Labs</a:t>
            </a:r>
            <a:r>
              <a:rPr lang="en-IN" sz="1100" kern="0" dirty="0">
                <a:solidFill>
                  <a:srgbClr val="000000"/>
                </a:solidFill>
                <a:latin typeface="Calibri" pitchFamily="34" charset="0"/>
                <a:cs typeface="Calibri" pitchFamily="34" charset="0"/>
              </a:rPr>
              <a:t> on NFV opportunities.”</a:t>
            </a:r>
            <a:endParaRPr lang="en-IN" sz="1100" b="1" kern="0" dirty="0">
              <a:solidFill>
                <a:srgbClr val="0066CC"/>
              </a:solidFill>
              <a:latin typeface="Calibri" pitchFamily="34" charset="0"/>
              <a:cs typeface="Calibri" pitchFamily="34" charset="0"/>
            </a:endParaRPr>
          </a:p>
        </p:txBody>
      </p:sp>
      <p:pic>
        <p:nvPicPr>
          <p:cNvPr id="1030" name="Picture 6" descr="Industry speaks - Intel Group"/>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200" y="2800350"/>
            <a:ext cx="3962400" cy="952500"/>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p:cNvSpPr>
            <a:spLocks noChangeArrowheads="1"/>
          </p:cNvSpPr>
          <p:nvPr/>
        </p:nvSpPr>
        <p:spPr bwMode="auto">
          <a:xfrm>
            <a:off x="457200" y="4023310"/>
            <a:ext cx="3962400" cy="533158"/>
          </a:xfrm>
          <a:prstGeom prst="rect">
            <a:avLst/>
          </a:prstGeom>
          <a:noFill/>
          <a:ln w="9525">
            <a:noFill/>
            <a:miter lim="800000"/>
            <a:headEnd/>
            <a:tailEnd/>
          </a:ln>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50000"/>
              </a:spcBef>
              <a:buClr>
                <a:srgbClr val="4D4D4D"/>
              </a:buClr>
              <a:buSzPct val="100000"/>
              <a:defRPr/>
            </a:pPr>
            <a:r>
              <a:rPr lang="en-IN" sz="1100" kern="0" dirty="0">
                <a:solidFill>
                  <a:srgbClr val="000000"/>
                </a:solidFill>
                <a:latin typeface="Calibri" pitchFamily="34" charset="0"/>
                <a:cs typeface="Calibri" pitchFamily="34" charset="0"/>
              </a:rPr>
              <a:t>“Intel is pleased to see </a:t>
            </a:r>
            <a:r>
              <a:rPr lang="en-IN" sz="1100" b="1" kern="0" dirty="0">
                <a:solidFill>
                  <a:srgbClr val="000000"/>
                </a:solidFill>
                <a:latin typeface="Calibri" pitchFamily="34" charset="0"/>
                <a:cs typeface="Calibri" pitchFamily="34" charset="0"/>
              </a:rPr>
              <a:t>Calsoft Labs </a:t>
            </a:r>
            <a:r>
              <a:rPr lang="en-IN" sz="1100" kern="0" dirty="0">
                <a:solidFill>
                  <a:srgbClr val="000000"/>
                </a:solidFill>
                <a:latin typeface="Calibri" pitchFamily="34" charset="0"/>
                <a:cs typeface="Calibri" pitchFamily="34" charset="0"/>
              </a:rPr>
              <a:t>supporting Intel DPDK customers to develop and roll out new and enhanced products and services, and accelerate revenue streams.“</a:t>
            </a:r>
            <a:endParaRPr lang="en-IN" sz="1100" b="1" kern="0" dirty="0">
              <a:solidFill>
                <a:srgbClr val="0066CC"/>
              </a:solidFill>
              <a:latin typeface="Calibri" pitchFamily="34" charset="0"/>
              <a:cs typeface="Calibri" pitchFamily="34" charset="0"/>
            </a:endParaRPr>
          </a:p>
        </p:txBody>
      </p:sp>
      <p:pic>
        <p:nvPicPr>
          <p:cNvPr id="1032" name="Picture 8" descr="Industry speaks - 6WIND"/>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00600" y="2800350"/>
            <a:ext cx="3962400" cy="952500"/>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p:cNvSpPr>
            <a:spLocks noChangeArrowheads="1"/>
          </p:cNvSpPr>
          <p:nvPr/>
        </p:nvSpPr>
        <p:spPr bwMode="auto">
          <a:xfrm>
            <a:off x="4800600" y="3770402"/>
            <a:ext cx="3962400" cy="1038974"/>
          </a:xfrm>
          <a:prstGeom prst="rect">
            <a:avLst/>
          </a:prstGeom>
          <a:noFill/>
          <a:ln w="9525">
            <a:noFill/>
            <a:miter lim="800000"/>
            <a:headEnd/>
            <a:tailEnd/>
          </a:ln>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spcBef>
                <a:spcPct val="50000"/>
              </a:spcBef>
              <a:buClr>
                <a:srgbClr val="4D4D4D"/>
              </a:buClr>
              <a:buSzPct val="100000"/>
              <a:defRPr/>
            </a:pPr>
            <a:r>
              <a:rPr lang="en-IN" sz="1100" kern="0" dirty="0">
                <a:solidFill>
                  <a:srgbClr val="000000"/>
                </a:solidFill>
                <a:latin typeface="Calibri" pitchFamily="34" charset="0"/>
                <a:cs typeface="Calibri" pitchFamily="34" charset="0"/>
              </a:rPr>
              <a:t>“</a:t>
            </a:r>
            <a:r>
              <a:rPr lang="en-IN" sz="1100" b="1" kern="0" dirty="0">
                <a:solidFill>
                  <a:srgbClr val="000000"/>
                </a:solidFill>
                <a:latin typeface="Calibri" pitchFamily="34" charset="0"/>
                <a:cs typeface="Calibri" pitchFamily="34" charset="0"/>
              </a:rPr>
              <a:t>Calsoft Labs </a:t>
            </a:r>
            <a:r>
              <a:rPr lang="en-IN" sz="1100" kern="0" dirty="0">
                <a:solidFill>
                  <a:srgbClr val="000000"/>
                </a:solidFill>
                <a:latin typeface="Calibri" pitchFamily="34" charset="0"/>
                <a:cs typeface="Calibri" pitchFamily="34" charset="0"/>
              </a:rPr>
              <a:t>has been among the early leaders in NFV, bringing network operators increased flexibility and value as they move to the cloud, and we're pleased that they've selected Red Hat Enterprise OpenStack Linux Platform for their highly scalable NFV platform and as an open foundation for a heterogeneous cloud environment.”</a:t>
            </a:r>
            <a:endParaRPr lang="en-IN" sz="1100" b="1" kern="0" dirty="0">
              <a:solidFill>
                <a:srgbClr val="0066CC"/>
              </a:solidFill>
              <a:latin typeface="Calibri" pitchFamily="34" charset="0"/>
              <a:cs typeface="Calibri" pitchFamily="34" charset="0"/>
            </a:endParaRPr>
          </a:p>
        </p:txBody>
      </p:sp>
      <p:cxnSp>
        <p:nvCxnSpPr>
          <p:cNvPr id="3" name="Straight Connector 2"/>
          <p:cNvCxnSpPr/>
          <p:nvPr/>
        </p:nvCxnSpPr>
        <p:spPr>
          <a:xfrm>
            <a:off x="446926" y="2699320"/>
            <a:ext cx="83058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4589552" y="808876"/>
            <a:ext cx="0" cy="3990226"/>
          </a:xfrm>
          <a:prstGeom prst="line">
            <a:avLst/>
          </a:prstGeom>
        </p:spPr>
        <p:style>
          <a:lnRef idx="1">
            <a:schemeClr val="accent1"/>
          </a:lnRef>
          <a:fillRef idx="0">
            <a:schemeClr val="accent1"/>
          </a:fillRef>
          <a:effectRef idx="0">
            <a:schemeClr val="accent1"/>
          </a:effectRef>
          <a:fontRef idx="minor">
            <a:schemeClr val="tx1"/>
          </a:fontRef>
        </p:style>
      </p:cxnSp>
      <p:sp>
        <p:nvSpPr>
          <p:cNvPr id="13" name="Slide Number Placeholder 1"/>
          <p:cNvSpPr txBox="1">
            <a:spLocks/>
          </p:cNvSpPr>
          <p:nvPr/>
        </p:nvSpPr>
        <p:spPr>
          <a:xfrm>
            <a:off x="8641422" y="4765197"/>
            <a:ext cx="323850" cy="219075"/>
          </a:xfrm>
          <a:prstGeom prst="rect">
            <a:avLst/>
          </a:prstGeom>
        </p:spPr>
        <p:txBody>
          <a:bodyPr vert="horz" lIns="91440" tIns="45720" rIns="91440" bIns="45720" rtlCol="0" anchor="ctr"/>
          <a:lstStyle>
            <a:defPPr>
              <a:defRPr lang="en-US"/>
            </a:defPPr>
            <a:lvl1pPr algn="r" fontAlgn="auto">
              <a:spcBef>
                <a:spcPts val="0"/>
              </a:spcBef>
              <a:spcAft>
                <a:spcPts val="0"/>
              </a:spcAft>
              <a:defRPr sz="900" b="1" smtClean="0">
                <a:solidFill>
                  <a:schemeClr val="tx1">
                    <a:tint val="75000"/>
                  </a:schemeClr>
                </a:solidFill>
              </a:defRPr>
            </a:lvl1pPr>
          </a:lstStyle>
          <a:p>
            <a:fld id="{FE52E6A2-39D7-4D40-A437-04022A17C121}" type="slidenum">
              <a:rPr lang="en-US"/>
              <a:pPr/>
              <a:t>7</a:t>
            </a:fld>
            <a:endParaRPr lang="en-US" dirty="0"/>
          </a:p>
        </p:txBody>
      </p:sp>
    </p:spTree>
    <p:extLst>
      <p:ext uri="{BB962C8B-B14F-4D97-AF65-F5344CB8AC3E}">
        <p14:creationId xmlns:p14="http://schemas.microsoft.com/office/powerpoint/2010/main" val="22758811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457200" y="169254"/>
            <a:ext cx="5543891" cy="4564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n-US" sz="2400" b="1" dirty="0">
                <a:solidFill>
                  <a:srgbClr val="292929"/>
                </a:solidFill>
                <a:latin typeface="Calibri" pitchFamily="34" charset="0"/>
                <a:cs typeface="Calibri" pitchFamily="34" charset="0"/>
              </a:rPr>
              <a:t>Thank You</a:t>
            </a:r>
            <a:endParaRPr lang="en-US" sz="1100" dirty="0">
              <a:solidFill>
                <a:srgbClr val="292929"/>
              </a:solidFill>
              <a:latin typeface="Calibri" pitchFamily="34" charset="0"/>
              <a:cs typeface="Calibri" pitchFamily="34" charset="0"/>
            </a:endParaRPr>
          </a:p>
        </p:txBody>
      </p:sp>
    </p:spTree>
    <p:extLst>
      <p:ext uri="{BB962C8B-B14F-4D97-AF65-F5344CB8AC3E}">
        <p14:creationId xmlns:p14="http://schemas.microsoft.com/office/powerpoint/2010/main" val="13861571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heme/theme1.xml><?xml version="1.0" encoding="utf-8"?>
<a:theme xmlns:a="http://schemas.openxmlformats.org/drawingml/2006/main" name="Tilt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ilt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lten Calsoftlabs New Template">
  <a:themeElements>
    <a:clrScheme name="Phoneix">
      <a:dk1>
        <a:sysClr val="windowText" lastClr="000000"/>
      </a:dk1>
      <a:lt1>
        <a:sysClr val="window" lastClr="FFFFFF"/>
      </a:lt1>
      <a:dk2>
        <a:srgbClr val="1F497D"/>
      </a:dk2>
      <a:lt2>
        <a:srgbClr val="EEECE1"/>
      </a:lt2>
      <a:accent1>
        <a:srgbClr val="548DD4"/>
      </a:accent1>
      <a:accent2>
        <a:srgbClr val="7F7F7F"/>
      </a:accent2>
      <a:accent3>
        <a:srgbClr val="9BBB59"/>
      </a:accent3>
      <a:accent4>
        <a:srgbClr val="8064A2"/>
      </a:accent4>
      <a:accent5>
        <a:srgbClr val="4BACC6"/>
      </a:accent5>
      <a:accent6>
        <a:srgbClr val="800080"/>
      </a:accent6>
      <a:hlink>
        <a:srgbClr val="F2F2F2"/>
      </a:hlink>
      <a:folHlink>
        <a:srgbClr val="C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323</TotalTime>
  <Words>1342</Words>
  <Application>Microsoft Office PowerPoint</Application>
  <PresentationFormat>On-screen Show (16:9)</PresentationFormat>
  <Paragraphs>127</Paragraphs>
  <Slides>8</Slides>
  <Notes>8</Notes>
  <HiddenSlides>0</HiddenSlides>
  <MMClips>0</MMClips>
  <ScaleCrop>false</ScaleCrop>
  <HeadingPairs>
    <vt:vector size="6" baseType="variant">
      <vt:variant>
        <vt:lpstr>Fonts Used</vt:lpstr>
      </vt:variant>
      <vt:variant>
        <vt:i4>5</vt:i4>
      </vt:variant>
      <vt:variant>
        <vt:lpstr>Theme</vt:lpstr>
      </vt:variant>
      <vt:variant>
        <vt:i4>3</vt:i4>
      </vt:variant>
      <vt:variant>
        <vt:lpstr>Slide Titles</vt:lpstr>
      </vt:variant>
      <vt:variant>
        <vt:i4>8</vt:i4>
      </vt:variant>
    </vt:vector>
  </HeadingPairs>
  <TitlesOfParts>
    <vt:vector size="16" baseType="lpstr">
      <vt:lpstr>Arial</vt:lpstr>
      <vt:lpstr>Calibri</vt:lpstr>
      <vt:lpstr>Calibri Light</vt:lpstr>
      <vt:lpstr>Courier New</vt:lpstr>
      <vt:lpstr>Wingdings</vt:lpstr>
      <vt:lpstr>Tilte Slide</vt:lpstr>
      <vt:lpstr>1_Tilte Slide</vt:lpstr>
      <vt:lpstr>Alten Calsoftlabs New Template</vt:lpstr>
      <vt:lpstr>PowerPoint Presentation</vt:lpstr>
      <vt:lpstr>PowerPoint Presentation</vt:lpstr>
      <vt:lpstr>PowerPoint Presentation</vt:lpstr>
      <vt:lpstr>Our Industry Segments</vt:lpstr>
      <vt:lpstr>Our Service Offerings</vt:lpstr>
      <vt:lpstr>Our Centers of Excellence are Foundations of Our Delivery Organizations</vt:lpstr>
      <vt:lpstr>Industry References</vt:lpstr>
      <vt:lpstr>PowerPoint Presentation</vt:lpstr>
    </vt:vector>
  </TitlesOfParts>
  <Manager>Mrinmoy Purkayastha</Manager>
  <Company>ALTEN Calsoft Lab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TEN Calsoft Labs-Networking &amp; Telecom Practice_v1_0</dc:title>
  <dc:creator>Abin Chacko Moozhiyil</dc:creator>
  <cp:lastModifiedBy>Navyashree Y</cp:lastModifiedBy>
  <cp:revision>91</cp:revision>
  <dcterms:created xsi:type="dcterms:W3CDTF">2014-10-28T06:37:53Z</dcterms:created>
  <dcterms:modified xsi:type="dcterms:W3CDTF">2017-04-04T12:14:46Z</dcterms:modified>
</cp:coreProperties>
</file>